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jpe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1"/>
  </p:notesMasterIdLst>
  <p:sldIdLst>
    <p:sldId id="256" r:id="rId2"/>
    <p:sldId id="258" r:id="rId3"/>
    <p:sldId id="259" r:id="rId4"/>
    <p:sldId id="260" r:id="rId5"/>
    <p:sldId id="261" r:id="rId6"/>
    <p:sldId id="288" r:id="rId7"/>
    <p:sldId id="296" r:id="rId8"/>
    <p:sldId id="297" r:id="rId9"/>
    <p:sldId id="298" r:id="rId10"/>
    <p:sldId id="304" r:id="rId11"/>
    <p:sldId id="305" r:id="rId12"/>
    <p:sldId id="266" r:id="rId13"/>
    <p:sldId id="300" r:id="rId14"/>
    <p:sldId id="303" r:id="rId15"/>
    <p:sldId id="306" r:id="rId16"/>
    <p:sldId id="301" r:id="rId17"/>
    <p:sldId id="290" r:id="rId18"/>
    <p:sldId id="265" r:id="rId19"/>
    <p:sldId id="268" r:id="rId20"/>
    <p:sldId id="269" r:id="rId21"/>
    <p:sldId id="270" r:id="rId22"/>
    <p:sldId id="271" r:id="rId23"/>
    <p:sldId id="302" r:id="rId24"/>
    <p:sldId id="272" r:id="rId25"/>
    <p:sldId id="273" r:id="rId26"/>
    <p:sldId id="274" r:id="rId27"/>
    <p:sldId id="277" r:id="rId28"/>
    <p:sldId id="281" r:id="rId29"/>
    <p:sldId id="280" r:id="rId30"/>
    <p:sldId id="282" r:id="rId31"/>
    <p:sldId id="309" r:id="rId32"/>
    <p:sldId id="283" r:id="rId33"/>
    <p:sldId id="285" r:id="rId34"/>
    <p:sldId id="307" r:id="rId35"/>
    <p:sldId id="278" r:id="rId36"/>
    <p:sldId id="279" r:id="rId37"/>
    <p:sldId id="284" r:id="rId38"/>
    <p:sldId id="295" r:id="rId39"/>
    <p:sldId id="276" r:id="rId40"/>
  </p:sldIdLst>
  <p:sldSz cx="9144000" cy="6858000" type="screen4x3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Estilo medio 1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3" d="100"/>
          <a:sy n="103" d="100"/>
        </p:scale>
        <p:origin x="204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7A358E-CBF7-48B6-98B5-3A5F7BC0488B}" type="doc">
      <dgm:prSet loTypeId="urn:microsoft.com/office/officeart/2005/8/layout/vProcess5" loCatId="process" qsTypeId="urn:microsoft.com/office/officeart/2005/8/quickstyle/3d1" qsCatId="3D" csTypeId="urn:microsoft.com/office/officeart/2005/8/colors/accent1_4" csCatId="accent1" phldr="1"/>
      <dgm:spPr/>
      <dgm:t>
        <a:bodyPr/>
        <a:lstStyle/>
        <a:p>
          <a:endParaRPr lang="es-ES_tradnl"/>
        </a:p>
      </dgm:t>
    </dgm:pt>
    <dgm:pt modelId="{21683E7D-FEFE-4BE3-B9F7-2BCF45DF384B}">
      <dgm:prSet phldrT="[Texto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pPr algn="just"/>
          <a:r>
            <a:rPr lang="es-ES" sz="1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Violación de los derechos fundamentales del niño/a</a:t>
          </a:r>
          <a:endParaRPr lang="es-ES_tradnl" sz="18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6F03FAA-F842-4EE2-A726-E19C42FCA85C}" type="parTrans" cxnId="{05E00331-19B9-4304-9471-F882EC0F235F}">
      <dgm:prSet/>
      <dgm:spPr/>
      <dgm:t>
        <a:bodyPr/>
        <a:lstStyle/>
        <a:p>
          <a:endParaRPr lang="es-ES_tradnl">
            <a:latin typeface="Century Gothic" panose="020B0502020202020204" pitchFamily="34" charset="0"/>
          </a:endParaRPr>
        </a:p>
      </dgm:t>
    </dgm:pt>
    <dgm:pt modelId="{AB8D4934-BF2D-4CAA-8E92-260EAC2C2F3D}" type="sibTrans" cxnId="{05E00331-19B9-4304-9471-F882EC0F235F}">
      <dgm:prSet/>
      <dgm:spPr/>
      <dgm:t>
        <a:bodyPr/>
        <a:lstStyle/>
        <a:p>
          <a:endParaRPr lang="es-ES_tradnl">
            <a:latin typeface="Century Gothic" panose="020B0502020202020204" pitchFamily="34" charset="0"/>
          </a:endParaRPr>
        </a:p>
      </dgm:t>
    </dgm:pt>
    <dgm:pt modelId="{953040FA-C1A2-4A98-BF36-46EAB290BE71}">
      <dgm:prSet phldrT="[Texto]" custT="1"/>
      <dgm:spPr/>
      <dgm:t>
        <a:bodyPr/>
        <a:lstStyle/>
        <a:p>
          <a:pPr algn="just"/>
          <a:r>
            <a:rPr lang="es-ES" sz="18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Niño tratado como un objeto sexual y comercial. Fenómeno global, que se da en todas las partes del mundo</a:t>
          </a:r>
          <a:endParaRPr lang="es-ES_tradnl" sz="18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D76768C-26BA-40BE-AA5F-63E96C163F12}" type="parTrans" cxnId="{DD581119-4B84-469F-9C72-A8DEC06596BB}">
      <dgm:prSet/>
      <dgm:spPr/>
      <dgm:t>
        <a:bodyPr/>
        <a:lstStyle/>
        <a:p>
          <a:endParaRPr lang="es-ES_tradnl">
            <a:latin typeface="Century Gothic" panose="020B0502020202020204" pitchFamily="34" charset="0"/>
          </a:endParaRPr>
        </a:p>
      </dgm:t>
    </dgm:pt>
    <dgm:pt modelId="{27426804-F0AD-470D-9F39-A8D99B51F736}" type="sibTrans" cxnId="{DD581119-4B84-469F-9C72-A8DEC06596BB}">
      <dgm:prSet/>
      <dgm:spPr/>
      <dgm:t>
        <a:bodyPr/>
        <a:lstStyle/>
        <a:p>
          <a:endParaRPr lang="es-ES_tradnl">
            <a:latin typeface="Century Gothic" panose="020B0502020202020204" pitchFamily="34" charset="0"/>
          </a:endParaRPr>
        </a:p>
      </dgm:t>
    </dgm:pt>
    <dgm:pt modelId="{FF11F7F0-564C-4851-9CFC-31ABE41CD8D3}">
      <dgm:prSet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pPr algn="just"/>
          <a:r>
            <a:rPr lang="es-ES" sz="16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Comprende el abuso sexual por adultos y la remuneración en efectivo o en especie para el niño/a o una tercera persona/s</a:t>
          </a:r>
          <a:endParaRPr lang="es-ES" sz="16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6EB0386-8A12-4EDC-AF56-F65B5EC70DA3}" type="parTrans" cxnId="{E863361F-0AC4-4AFE-A4EC-5BA7091BFB1D}">
      <dgm:prSet/>
      <dgm:spPr/>
      <dgm:t>
        <a:bodyPr/>
        <a:lstStyle/>
        <a:p>
          <a:endParaRPr lang="es-ES_tradnl">
            <a:latin typeface="Century Gothic" panose="020B0502020202020204" pitchFamily="34" charset="0"/>
          </a:endParaRPr>
        </a:p>
      </dgm:t>
    </dgm:pt>
    <dgm:pt modelId="{EB934892-576F-493A-A642-EF8B5B9EC6F8}" type="sibTrans" cxnId="{E863361F-0AC4-4AFE-A4EC-5BA7091BFB1D}">
      <dgm:prSet/>
      <dgm:spPr/>
      <dgm:t>
        <a:bodyPr/>
        <a:lstStyle/>
        <a:p>
          <a:endParaRPr lang="es-ES_tradnl">
            <a:latin typeface="Century Gothic" panose="020B0502020202020204" pitchFamily="34" charset="0"/>
          </a:endParaRPr>
        </a:p>
      </dgm:t>
    </dgm:pt>
    <dgm:pt modelId="{9E7CCC2F-2180-42AE-8036-450CDCB98EC0}" type="pres">
      <dgm:prSet presAssocID="{D37A358E-CBF7-48B6-98B5-3A5F7BC0488B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C48D2CDD-BCE8-40A8-ADD3-3391308A7087}" type="pres">
      <dgm:prSet presAssocID="{D37A358E-CBF7-48B6-98B5-3A5F7BC0488B}" presName="dummyMaxCanvas" presStyleCnt="0">
        <dgm:presLayoutVars/>
      </dgm:prSet>
      <dgm:spPr/>
    </dgm:pt>
    <dgm:pt modelId="{D0920AB5-0DE7-402E-BFA4-EFFBEAB9CD2B}" type="pres">
      <dgm:prSet presAssocID="{D37A358E-CBF7-48B6-98B5-3A5F7BC0488B}" presName="ThreeNodes_1" presStyleLbl="node1" presStyleIdx="0" presStyleCnt="3" custLinFactNeighborX="4397" custLinFactNeighborY="-29641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91CF9C00-F716-454C-8371-1A1CB615543E}" type="pres">
      <dgm:prSet presAssocID="{D37A358E-CBF7-48B6-98B5-3A5F7BC0488B}" presName="ThreeNodes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36FE8A72-9A20-4308-BDC9-7755D96A4214}" type="pres">
      <dgm:prSet presAssocID="{D37A358E-CBF7-48B6-98B5-3A5F7BC0488B}" presName="ThreeNodes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081AAA69-BC9C-446F-8F76-307119580EDB}" type="pres">
      <dgm:prSet presAssocID="{D37A358E-CBF7-48B6-98B5-3A5F7BC0488B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9F195AD2-5A81-4D1F-BC56-9F5966409E46}" type="pres">
      <dgm:prSet presAssocID="{D37A358E-CBF7-48B6-98B5-3A5F7BC0488B}" presName="ThreeConn_2-3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FC169FFF-77B1-448A-B7AE-15E5FC28C122}" type="pres">
      <dgm:prSet presAssocID="{D37A358E-CBF7-48B6-98B5-3A5F7BC0488B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3D54240D-7EAE-47EB-9A61-6E5C356F7AB6}" type="pres">
      <dgm:prSet presAssocID="{D37A358E-CBF7-48B6-98B5-3A5F7BC0488B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712971C6-22C3-4EEA-BE23-C30CBD185A8F}" type="pres">
      <dgm:prSet presAssocID="{D37A358E-CBF7-48B6-98B5-3A5F7BC0488B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4F4192BF-0758-4724-9FC0-FF1F06ABF97D}" type="presOf" srcId="{21683E7D-FEFE-4BE3-B9F7-2BCF45DF384B}" destId="{FC169FFF-77B1-448A-B7AE-15E5FC28C122}" srcOrd="1" destOrd="0" presId="urn:microsoft.com/office/officeart/2005/8/layout/vProcess5"/>
    <dgm:cxn modelId="{E863361F-0AC4-4AFE-A4EC-5BA7091BFB1D}" srcId="{D37A358E-CBF7-48B6-98B5-3A5F7BC0488B}" destId="{FF11F7F0-564C-4851-9CFC-31ABE41CD8D3}" srcOrd="1" destOrd="0" parTransId="{F6EB0386-8A12-4EDC-AF56-F65B5EC70DA3}" sibTransId="{EB934892-576F-493A-A642-EF8B5B9EC6F8}"/>
    <dgm:cxn modelId="{70CBD205-89B7-4491-94BB-D4A220CD8071}" type="presOf" srcId="{953040FA-C1A2-4A98-BF36-46EAB290BE71}" destId="{712971C6-22C3-4EEA-BE23-C30CBD185A8F}" srcOrd="1" destOrd="0" presId="urn:microsoft.com/office/officeart/2005/8/layout/vProcess5"/>
    <dgm:cxn modelId="{884B7C44-66A9-4E68-95BC-0C1B64A590E9}" type="presOf" srcId="{21683E7D-FEFE-4BE3-B9F7-2BCF45DF384B}" destId="{D0920AB5-0DE7-402E-BFA4-EFFBEAB9CD2B}" srcOrd="0" destOrd="0" presId="urn:microsoft.com/office/officeart/2005/8/layout/vProcess5"/>
    <dgm:cxn modelId="{5FC5E46B-9FD6-4FF5-9847-689AF5C995FB}" type="presOf" srcId="{FF11F7F0-564C-4851-9CFC-31ABE41CD8D3}" destId="{91CF9C00-F716-454C-8371-1A1CB615543E}" srcOrd="0" destOrd="0" presId="urn:microsoft.com/office/officeart/2005/8/layout/vProcess5"/>
    <dgm:cxn modelId="{21F07EBB-CE45-43EC-8B0F-691E0CA8E308}" type="presOf" srcId="{AB8D4934-BF2D-4CAA-8E92-260EAC2C2F3D}" destId="{081AAA69-BC9C-446F-8F76-307119580EDB}" srcOrd="0" destOrd="0" presId="urn:microsoft.com/office/officeart/2005/8/layout/vProcess5"/>
    <dgm:cxn modelId="{E50E4B16-A545-4CD6-9975-3754E39E7017}" type="presOf" srcId="{953040FA-C1A2-4A98-BF36-46EAB290BE71}" destId="{36FE8A72-9A20-4308-BDC9-7755D96A4214}" srcOrd="0" destOrd="0" presId="urn:microsoft.com/office/officeart/2005/8/layout/vProcess5"/>
    <dgm:cxn modelId="{8EBD3AE5-10D2-45C6-9368-89D9B1D545A5}" type="presOf" srcId="{EB934892-576F-493A-A642-EF8B5B9EC6F8}" destId="{9F195AD2-5A81-4D1F-BC56-9F5966409E46}" srcOrd="0" destOrd="0" presId="urn:microsoft.com/office/officeart/2005/8/layout/vProcess5"/>
    <dgm:cxn modelId="{DD581119-4B84-469F-9C72-A8DEC06596BB}" srcId="{D37A358E-CBF7-48B6-98B5-3A5F7BC0488B}" destId="{953040FA-C1A2-4A98-BF36-46EAB290BE71}" srcOrd="2" destOrd="0" parTransId="{FD76768C-26BA-40BE-AA5F-63E96C163F12}" sibTransId="{27426804-F0AD-470D-9F39-A8D99B51F736}"/>
    <dgm:cxn modelId="{05E00331-19B9-4304-9471-F882EC0F235F}" srcId="{D37A358E-CBF7-48B6-98B5-3A5F7BC0488B}" destId="{21683E7D-FEFE-4BE3-B9F7-2BCF45DF384B}" srcOrd="0" destOrd="0" parTransId="{06F03FAA-F842-4EE2-A726-E19C42FCA85C}" sibTransId="{AB8D4934-BF2D-4CAA-8E92-260EAC2C2F3D}"/>
    <dgm:cxn modelId="{C838A36B-D3AA-4E68-B49E-AE3149320715}" type="presOf" srcId="{FF11F7F0-564C-4851-9CFC-31ABE41CD8D3}" destId="{3D54240D-7EAE-47EB-9A61-6E5C356F7AB6}" srcOrd="1" destOrd="0" presId="urn:microsoft.com/office/officeart/2005/8/layout/vProcess5"/>
    <dgm:cxn modelId="{AB5B34F5-2BCF-4167-B487-F12DC061D7ED}" type="presOf" srcId="{D37A358E-CBF7-48B6-98B5-3A5F7BC0488B}" destId="{9E7CCC2F-2180-42AE-8036-450CDCB98EC0}" srcOrd="0" destOrd="0" presId="urn:microsoft.com/office/officeart/2005/8/layout/vProcess5"/>
    <dgm:cxn modelId="{0CEC4A27-24CC-43EC-B56F-000309660D7F}" type="presParOf" srcId="{9E7CCC2F-2180-42AE-8036-450CDCB98EC0}" destId="{C48D2CDD-BCE8-40A8-ADD3-3391308A7087}" srcOrd="0" destOrd="0" presId="urn:microsoft.com/office/officeart/2005/8/layout/vProcess5"/>
    <dgm:cxn modelId="{8129A408-A7FF-4242-9BF2-1A74F98DFFAB}" type="presParOf" srcId="{9E7CCC2F-2180-42AE-8036-450CDCB98EC0}" destId="{D0920AB5-0DE7-402E-BFA4-EFFBEAB9CD2B}" srcOrd="1" destOrd="0" presId="urn:microsoft.com/office/officeart/2005/8/layout/vProcess5"/>
    <dgm:cxn modelId="{884F7C34-F0AB-424C-A86A-45F09CC781B9}" type="presParOf" srcId="{9E7CCC2F-2180-42AE-8036-450CDCB98EC0}" destId="{91CF9C00-F716-454C-8371-1A1CB615543E}" srcOrd="2" destOrd="0" presId="urn:microsoft.com/office/officeart/2005/8/layout/vProcess5"/>
    <dgm:cxn modelId="{26A6D729-7E8D-47C6-9619-26AA89184509}" type="presParOf" srcId="{9E7CCC2F-2180-42AE-8036-450CDCB98EC0}" destId="{36FE8A72-9A20-4308-BDC9-7755D96A4214}" srcOrd="3" destOrd="0" presId="urn:microsoft.com/office/officeart/2005/8/layout/vProcess5"/>
    <dgm:cxn modelId="{631BCE68-A482-4A77-8ACC-06970A20CD9F}" type="presParOf" srcId="{9E7CCC2F-2180-42AE-8036-450CDCB98EC0}" destId="{081AAA69-BC9C-446F-8F76-307119580EDB}" srcOrd="4" destOrd="0" presId="urn:microsoft.com/office/officeart/2005/8/layout/vProcess5"/>
    <dgm:cxn modelId="{FF289CB8-C919-4F6F-AD74-779CFCDC6843}" type="presParOf" srcId="{9E7CCC2F-2180-42AE-8036-450CDCB98EC0}" destId="{9F195AD2-5A81-4D1F-BC56-9F5966409E46}" srcOrd="5" destOrd="0" presId="urn:microsoft.com/office/officeart/2005/8/layout/vProcess5"/>
    <dgm:cxn modelId="{2CC44595-EBEA-42A9-8FB0-AF395412C80D}" type="presParOf" srcId="{9E7CCC2F-2180-42AE-8036-450CDCB98EC0}" destId="{FC169FFF-77B1-448A-B7AE-15E5FC28C122}" srcOrd="6" destOrd="0" presId="urn:microsoft.com/office/officeart/2005/8/layout/vProcess5"/>
    <dgm:cxn modelId="{74C726DA-3C81-482B-9B1D-8B2450D609FA}" type="presParOf" srcId="{9E7CCC2F-2180-42AE-8036-450CDCB98EC0}" destId="{3D54240D-7EAE-47EB-9A61-6E5C356F7AB6}" srcOrd="7" destOrd="0" presId="urn:microsoft.com/office/officeart/2005/8/layout/vProcess5"/>
    <dgm:cxn modelId="{A9F92234-EEDD-4828-8896-530A8D622FD0}" type="presParOf" srcId="{9E7CCC2F-2180-42AE-8036-450CDCB98EC0}" destId="{712971C6-22C3-4EEA-BE23-C30CBD185A8F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7C998AC-EA96-F745-AFAB-25F69D296F1B}" type="doc">
      <dgm:prSet loTypeId="urn:microsoft.com/office/officeart/2005/8/layout/radial4" loCatId="" qsTypeId="urn:microsoft.com/office/officeart/2005/8/quickstyle/3d1" qsCatId="3D" csTypeId="urn:microsoft.com/office/officeart/2005/8/colors/accent1_5" csCatId="accent1" phldr="1"/>
      <dgm:spPr/>
      <dgm:t>
        <a:bodyPr/>
        <a:lstStyle/>
        <a:p>
          <a:endParaRPr lang="es-ES"/>
        </a:p>
      </dgm:t>
    </dgm:pt>
    <dgm:pt modelId="{D6776C15-DE08-204A-8794-ED551901114A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ESCNNA</a:t>
          </a:r>
          <a:endParaRPr lang="es-E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FEBD9CA-05B5-B04C-894B-C3B16B36D530}" type="parTrans" cxnId="{554CE800-67BD-DB4C-B685-14C2CFC5B6F9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9B3D05D-1390-6E42-9422-A3E83B0BCEE5}" type="sibTrans" cxnId="{554CE800-67BD-DB4C-B685-14C2CFC5B6F9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790836A-7724-B14A-8ECB-5CF4777766D0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Trata de Niños con fines de Explotación Sexual</a:t>
          </a:r>
          <a:endParaRPr lang="es-E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1A4908-E26E-7347-AC64-40F0B5A3CDA4}" type="parTrans" cxnId="{DC981B71-0C4E-F841-8D63-A71D483233E1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D33E0DA-6E17-F746-8389-54709F4EBE02}" type="sibTrans" cxnId="{DC981B71-0C4E-F841-8D63-A71D483233E1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B0BA945-4DFF-6E45-A1EE-8D888B6366B1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Pornografía Infantil</a:t>
          </a:r>
          <a:endParaRPr lang="es-E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5E81A8-4947-7141-B1F5-F92E00A4F6A4}" type="parTrans" cxnId="{FDE95138-309B-764E-BB9F-1BE1971D4393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5647040-B339-BC4F-86F9-06BBC7480D58}" type="sibTrans" cxnId="{FDE95138-309B-764E-BB9F-1BE1971D4393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AFC4FA8-8D03-3C4E-B78F-3A248FE87EF4}">
      <dgm:prSet phldrT="[Texto]" custT="1"/>
      <dgm:spPr/>
      <dgm:t>
        <a:bodyPr/>
        <a:lstStyle/>
        <a:p>
          <a:r>
            <a:rPr lang="es-ES" sz="1600" dirty="0" smtClean="0">
              <a:latin typeface="Arial" panose="020B0604020202020204" pitchFamily="34" charset="0"/>
              <a:cs typeface="Arial" panose="020B0604020202020204" pitchFamily="34" charset="0"/>
            </a:rPr>
            <a:t>Otras formas de ESCNNA</a:t>
          </a:r>
          <a:endParaRPr lang="es-E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8DCE01D-66D0-2848-A8BE-B6D9E915092F}" type="parTrans" cxnId="{2FED0BD7-39D4-4A43-89E2-6BA590583EBB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F002428-7BF6-EB44-8658-249CF5723175}" type="sibTrans" cxnId="{2FED0BD7-39D4-4A43-89E2-6BA590583EBB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8696B0-3E18-3A4B-96D9-92BC6557E127}">
      <dgm:prSet phldrT="[Texto]" custT="1"/>
      <dgm:spPr/>
      <dgm:t>
        <a:bodyPr/>
        <a:lstStyle/>
        <a:p>
          <a:r>
            <a:rPr lang="es-ES" sz="1600" b="1" dirty="0" smtClean="0">
              <a:latin typeface="Arial" panose="020B0604020202020204" pitchFamily="34" charset="0"/>
              <a:cs typeface="Arial" panose="020B0604020202020204" pitchFamily="34" charset="0"/>
            </a:rPr>
            <a:t>Turismo sexual Infantil</a:t>
          </a:r>
          <a:endParaRPr lang="es-ES" sz="16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C77551-C1E4-C241-A360-9A229E10E044}" type="parTrans" cxnId="{EEB4B954-8137-B744-BF2E-F7927E1EC8C6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E768E0B-7317-944C-9BA8-C2BFAAE7BD10}" type="sibTrans" cxnId="{EEB4B954-8137-B744-BF2E-F7927E1EC8C6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2114CDF-51DE-3A45-BF16-324442B9589C}">
      <dgm:prSet custT="1"/>
      <dgm:spPr/>
      <dgm:t>
        <a:bodyPr/>
        <a:lstStyle/>
        <a:p>
          <a:r>
            <a:rPr lang="es-ES" sz="1600" dirty="0" smtClean="0">
              <a:latin typeface="Arial" panose="020B0604020202020204" pitchFamily="34" charset="0"/>
              <a:cs typeface="Arial" panose="020B0604020202020204" pitchFamily="34" charset="0"/>
            </a:rPr>
            <a:t>Matrimonios con niños</a:t>
          </a:r>
          <a:endParaRPr lang="es-ES" sz="16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81D6160-3BA0-C14A-8393-F8CE5450252D}" type="parTrans" cxnId="{2ECDD928-1E56-4D40-8BF3-2341D7687395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BF2F07-BB1B-5144-8B0C-93E59BC71100}" type="sibTrans" cxnId="{2ECDD928-1E56-4D40-8BF3-2341D7687395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A450A70-8DFC-C140-888C-8B592EE6EEE8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Prostitución infantil</a:t>
          </a:r>
          <a:endParaRPr lang="es-ES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F8462E3-9A38-E248-9EE4-43B32D415EB2}" type="parTrans" cxnId="{A8C0FB8C-8E49-0244-8887-6041B2B37111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2236D2-B480-8A41-B548-DE9FD87AD511}" type="sibTrans" cxnId="{A8C0FB8C-8E49-0244-8887-6041B2B37111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985446-7FE0-1543-ADAA-CCF633C5EF75}" type="pres">
      <dgm:prSet presAssocID="{D7C998AC-EA96-F745-AFAB-25F69D296F1B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1400E6B9-C37C-1047-85DE-E588106BC1DA}" type="pres">
      <dgm:prSet presAssocID="{D6776C15-DE08-204A-8794-ED551901114A}" presName="centerShape" presStyleLbl="node0" presStyleIdx="0" presStyleCnt="1"/>
      <dgm:spPr/>
      <dgm:t>
        <a:bodyPr/>
        <a:lstStyle/>
        <a:p>
          <a:endParaRPr lang="es-ES"/>
        </a:p>
      </dgm:t>
    </dgm:pt>
    <dgm:pt modelId="{2E426CCB-B7A8-524E-85DA-EFF067331275}" type="pres">
      <dgm:prSet presAssocID="{171A4908-E26E-7347-AC64-40F0B5A3CDA4}" presName="parTrans" presStyleLbl="bgSibTrans2D1" presStyleIdx="0" presStyleCnt="4" custAng="8845492" custFlipVert="0" custFlipHor="1" custScaleX="39633" custScaleY="15870" custLinFactNeighborX="30231" custLinFactNeighborY="70921"/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CFFF8046-EBED-A748-AB2F-6F5C3F5D5F06}" type="pres">
      <dgm:prSet presAssocID="{3790836A-7724-B14A-8ECB-5CF4777766D0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D0771B2-06CA-9641-A15B-23C058DB9C27}" type="pres">
      <dgm:prSet presAssocID="{CF8462E3-9A38-E248-9EE4-43B32D415EB2}" presName="parTrans" presStyleLbl="bgSibTrans2D1" presStyleIdx="1" presStyleCnt="4" custAng="3444542" custFlipVert="1" custScaleX="37331" custScaleY="15870" custLinFactNeighborX="6046" custLinFactNeighborY="67974"/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4156852C-2AB7-D54C-817F-EA126ABD1E45}" type="pres">
      <dgm:prSet presAssocID="{1A450A70-8DFC-C140-888C-8B592EE6EEE8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A126B3C-D434-484B-858F-968687470DB7}" type="pres">
      <dgm:prSet presAssocID="{2A5E81A8-4947-7141-B1F5-F92E00A4F6A4}" presName="parTrans" presStyleLbl="bgSibTrans2D1" presStyleIdx="2" presStyleCnt="4" custScaleX="38905" custScaleY="15870" custLinFactNeighborX="-22939" custLinFactNeighborY="71997"/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9798D4D6-23F0-A74D-B4A1-1253F308C172}" type="pres">
      <dgm:prSet presAssocID="{1B0BA945-4DFF-6E45-A1EE-8D888B6366B1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63D27D9-3CCE-4C4F-80E5-36BC4F8A1249}" type="pres">
      <dgm:prSet presAssocID="{38DCE01D-66D0-2848-A8BE-B6D9E915092F}" presName="parTrans" presStyleLbl="bgSibTrans2D1" presStyleIdx="3" presStyleCnt="4" custAng="10975455" custFlipVert="0" custScaleX="35680" custScaleY="15870" custLinFactNeighborX="-28889" custLinFactNeighborY="16479"/>
      <dgm:spPr>
        <a:prstGeom prst="rect">
          <a:avLst/>
        </a:prstGeom>
      </dgm:spPr>
      <dgm:t>
        <a:bodyPr/>
        <a:lstStyle/>
        <a:p>
          <a:endParaRPr lang="es-ES"/>
        </a:p>
      </dgm:t>
    </dgm:pt>
    <dgm:pt modelId="{5A30A636-8FF8-8A4C-8E4F-26756887FA06}" type="pres">
      <dgm:prSet presAssocID="{EAFC4FA8-8D03-3C4E-B78F-3A248FE87EF4}" presName="node" presStyleLbl="node1" presStyleIdx="3" presStyleCnt="4" custScaleY="154756" custRadScaleRad="97539" custRadScaleInc="1557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FE1849C1-C067-1E46-8744-1D23020F333F}" type="presOf" srcId="{CF8462E3-9A38-E248-9EE4-43B32D415EB2}" destId="{7D0771B2-06CA-9641-A15B-23C058DB9C27}" srcOrd="0" destOrd="0" presId="urn:microsoft.com/office/officeart/2005/8/layout/radial4"/>
    <dgm:cxn modelId="{9619A368-F3C8-1C40-A750-48A1EC067EDC}" type="presOf" srcId="{3790836A-7724-B14A-8ECB-5CF4777766D0}" destId="{CFFF8046-EBED-A748-AB2F-6F5C3F5D5F06}" srcOrd="0" destOrd="0" presId="urn:microsoft.com/office/officeart/2005/8/layout/radial4"/>
    <dgm:cxn modelId="{2F12A78D-5F3E-9549-A701-2D5D27A713D0}" type="presOf" srcId="{1B0BA945-4DFF-6E45-A1EE-8D888B6366B1}" destId="{9798D4D6-23F0-A74D-B4A1-1253F308C172}" srcOrd="0" destOrd="0" presId="urn:microsoft.com/office/officeart/2005/8/layout/radial4"/>
    <dgm:cxn modelId="{BE1037C3-FEFE-E941-B243-CE7FE37A7766}" type="presOf" srcId="{1A450A70-8DFC-C140-888C-8B592EE6EEE8}" destId="{4156852C-2AB7-D54C-817F-EA126ABD1E45}" srcOrd="0" destOrd="0" presId="urn:microsoft.com/office/officeart/2005/8/layout/radial4"/>
    <dgm:cxn modelId="{FDE95138-309B-764E-BB9F-1BE1971D4393}" srcId="{D6776C15-DE08-204A-8794-ED551901114A}" destId="{1B0BA945-4DFF-6E45-A1EE-8D888B6366B1}" srcOrd="2" destOrd="0" parTransId="{2A5E81A8-4947-7141-B1F5-F92E00A4F6A4}" sibTransId="{C5647040-B339-BC4F-86F9-06BBC7480D58}"/>
    <dgm:cxn modelId="{3AB2431E-3ED9-E948-9943-7713C85A754D}" type="presOf" srcId="{D7C998AC-EA96-F745-AFAB-25F69D296F1B}" destId="{7F985446-7FE0-1543-ADAA-CCF633C5EF75}" srcOrd="0" destOrd="0" presId="urn:microsoft.com/office/officeart/2005/8/layout/radial4"/>
    <dgm:cxn modelId="{2ECDD928-1E56-4D40-8BF3-2341D7687395}" srcId="{EAFC4FA8-8D03-3C4E-B78F-3A248FE87EF4}" destId="{62114CDF-51DE-3A45-BF16-324442B9589C}" srcOrd="1" destOrd="0" parTransId="{181D6160-3BA0-C14A-8393-F8CE5450252D}" sibTransId="{08BF2F07-BB1B-5144-8B0C-93E59BC71100}"/>
    <dgm:cxn modelId="{25CE9C72-A548-954E-896C-B549C8978206}" type="presOf" srcId="{62114CDF-51DE-3A45-BF16-324442B9589C}" destId="{5A30A636-8FF8-8A4C-8E4F-26756887FA06}" srcOrd="0" destOrd="2" presId="urn:microsoft.com/office/officeart/2005/8/layout/radial4"/>
    <dgm:cxn modelId="{EF24A8ED-3E00-EE40-B122-5F0C0EAE7FB6}" type="presOf" srcId="{38DCE01D-66D0-2848-A8BE-B6D9E915092F}" destId="{463D27D9-3CCE-4C4F-80E5-36BC4F8A1249}" srcOrd="0" destOrd="0" presId="urn:microsoft.com/office/officeart/2005/8/layout/radial4"/>
    <dgm:cxn modelId="{554CE800-67BD-DB4C-B685-14C2CFC5B6F9}" srcId="{D7C998AC-EA96-F745-AFAB-25F69D296F1B}" destId="{D6776C15-DE08-204A-8794-ED551901114A}" srcOrd="0" destOrd="0" parTransId="{FFEBD9CA-05B5-B04C-894B-C3B16B36D530}" sibTransId="{49B3D05D-1390-6E42-9422-A3E83B0BCEE5}"/>
    <dgm:cxn modelId="{EEB4B954-8137-B744-BF2E-F7927E1EC8C6}" srcId="{EAFC4FA8-8D03-3C4E-B78F-3A248FE87EF4}" destId="{088696B0-3E18-3A4B-96D9-92BC6557E127}" srcOrd="0" destOrd="0" parTransId="{EDC77551-C1E4-C241-A360-9A229E10E044}" sibTransId="{5E768E0B-7317-944C-9BA8-C2BFAAE7BD10}"/>
    <dgm:cxn modelId="{A8C0FB8C-8E49-0244-8887-6041B2B37111}" srcId="{D6776C15-DE08-204A-8794-ED551901114A}" destId="{1A450A70-8DFC-C140-888C-8B592EE6EEE8}" srcOrd="1" destOrd="0" parTransId="{CF8462E3-9A38-E248-9EE4-43B32D415EB2}" sibTransId="{332236D2-B480-8A41-B548-DE9FD87AD511}"/>
    <dgm:cxn modelId="{ABAA540E-50D1-8B43-9F9A-958B18EE2997}" type="presOf" srcId="{EAFC4FA8-8D03-3C4E-B78F-3A248FE87EF4}" destId="{5A30A636-8FF8-8A4C-8E4F-26756887FA06}" srcOrd="0" destOrd="0" presId="urn:microsoft.com/office/officeart/2005/8/layout/radial4"/>
    <dgm:cxn modelId="{5BF8FB6D-8FC7-8E46-98B4-502515DC879E}" type="presOf" srcId="{D6776C15-DE08-204A-8794-ED551901114A}" destId="{1400E6B9-C37C-1047-85DE-E588106BC1DA}" srcOrd="0" destOrd="0" presId="urn:microsoft.com/office/officeart/2005/8/layout/radial4"/>
    <dgm:cxn modelId="{4DBD4666-C3E7-5040-B148-8D003DD4D4A0}" type="presOf" srcId="{171A4908-E26E-7347-AC64-40F0B5A3CDA4}" destId="{2E426CCB-B7A8-524E-85DA-EFF067331275}" srcOrd="0" destOrd="0" presId="urn:microsoft.com/office/officeart/2005/8/layout/radial4"/>
    <dgm:cxn modelId="{DC981B71-0C4E-F841-8D63-A71D483233E1}" srcId="{D6776C15-DE08-204A-8794-ED551901114A}" destId="{3790836A-7724-B14A-8ECB-5CF4777766D0}" srcOrd="0" destOrd="0" parTransId="{171A4908-E26E-7347-AC64-40F0B5A3CDA4}" sibTransId="{AD33E0DA-6E17-F746-8389-54709F4EBE02}"/>
    <dgm:cxn modelId="{2FED0BD7-39D4-4A43-89E2-6BA590583EBB}" srcId="{D6776C15-DE08-204A-8794-ED551901114A}" destId="{EAFC4FA8-8D03-3C4E-B78F-3A248FE87EF4}" srcOrd="3" destOrd="0" parTransId="{38DCE01D-66D0-2848-A8BE-B6D9E915092F}" sibTransId="{1F002428-7BF6-EB44-8658-249CF5723175}"/>
    <dgm:cxn modelId="{92EF2223-B697-E84B-AA8C-DCF03108BF30}" type="presOf" srcId="{2A5E81A8-4947-7141-B1F5-F92E00A4F6A4}" destId="{8A126B3C-D434-484B-858F-968687470DB7}" srcOrd="0" destOrd="0" presId="urn:microsoft.com/office/officeart/2005/8/layout/radial4"/>
    <dgm:cxn modelId="{99EFE676-44FA-FD42-9D3C-908F5F79C6A2}" type="presOf" srcId="{088696B0-3E18-3A4B-96D9-92BC6557E127}" destId="{5A30A636-8FF8-8A4C-8E4F-26756887FA06}" srcOrd="0" destOrd="1" presId="urn:microsoft.com/office/officeart/2005/8/layout/radial4"/>
    <dgm:cxn modelId="{7DA4A7DE-CD59-5D41-9B0B-BF6D39476A6E}" type="presParOf" srcId="{7F985446-7FE0-1543-ADAA-CCF633C5EF75}" destId="{1400E6B9-C37C-1047-85DE-E588106BC1DA}" srcOrd="0" destOrd="0" presId="urn:microsoft.com/office/officeart/2005/8/layout/radial4"/>
    <dgm:cxn modelId="{7AE42677-93E3-8345-8916-3B19DD40D656}" type="presParOf" srcId="{7F985446-7FE0-1543-ADAA-CCF633C5EF75}" destId="{2E426CCB-B7A8-524E-85DA-EFF067331275}" srcOrd="1" destOrd="0" presId="urn:microsoft.com/office/officeart/2005/8/layout/radial4"/>
    <dgm:cxn modelId="{3184B355-55A1-D642-BD4E-750DE678AE6E}" type="presParOf" srcId="{7F985446-7FE0-1543-ADAA-CCF633C5EF75}" destId="{CFFF8046-EBED-A748-AB2F-6F5C3F5D5F06}" srcOrd="2" destOrd="0" presId="urn:microsoft.com/office/officeart/2005/8/layout/radial4"/>
    <dgm:cxn modelId="{A7B5A1D4-0E04-E440-B398-5803CC8F6A5A}" type="presParOf" srcId="{7F985446-7FE0-1543-ADAA-CCF633C5EF75}" destId="{7D0771B2-06CA-9641-A15B-23C058DB9C27}" srcOrd="3" destOrd="0" presId="urn:microsoft.com/office/officeart/2005/8/layout/radial4"/>
    <dgm:cxn modelId="{F32C72A8-42BC-9A44-8EE9-32B38A7C6F94}" type="presParOf" srcId="{7F985446-7FE0-1543-ADAA-CCF633C5EF75}" destId="{4156852C-2AB7-D54C-817F-EA126ABD1E45}" srcOrd="4" destOrd="0" presId="urn:microsoft.com/office/officeart/2005/8/layout/radial4"/>
    <dgm:cxn modelId="{CDD080E2-897C-DD41-B4F3-5BF0224934A5}" type="presParOf" srcId="{7F985446-7FE0-1543-ADAA-CCF633C5EF75}" destId="{8A126B3C-D434-484B-858F-968687470DB7}" srcOrd="5" destOrd="0" presId="urn:microsoft.com/office/officeart/2005/8/layout/radial4"/>
    <dgm:cxn modelId="{0F690752-79D2-454B-BA0E-B271D9B04E24}" type="presParOf" srcId="{7F985446-7FE0-1543-ADAA-CCF633C5EF75}" destId="{9798D4D6-23F0-A74D-B4A1-1253F308C172}" srcOrd="6" destOrd="0" presId="urn:microsoft.com/office/officeart/2005/8/layout/radial4"/>
    <dgm:cxn modelId="{F4FBA0E9-6D37-4943-A013-5B3B0A7109FA}" type="presParOf" srcId="{7F985446-7FE0-1543-ADAA-CCF633C5EF75}" destId="{463D27D9-3CCE-4C4F-80E5-36BC4F8A1249}" srcOrd="7" destOrd="0" presId="urn:microsoft.com/office/officeart/2005/8/layout/radial4"/>
    <dgm:cxn modelId="{389ADB5C-A304-C149-93D0-E40D92C92B20}" type="presParOf" srcId="{7F985446-7FE0-1543-ADAA-CCF633C5EF75}" destId="{5A30A636-8FF8-8A4C-8E4F-26756887FA06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7F2B53F-2CD8-47C5-993A-A6CEF1A3E8D2}" type="doc">
      <dgm:prSet loTypeId="urn:microsoft.com/office/officeart/2011/layout/TabList" loCatId="list" qsTypeId="urn:microsoft.com/office/officeart/2005/8/quickstyle/simple5" qsCatId="simple" csTypeId="urn:microsoft.com/office/officeart/2005/8/colors/accent0_3" csCatId="mainScheme" phldr="1"/>
      <dgm:spPr/>
      <dgm:t>
        <a:bodyPr/>
        <a:lstStyle/>
        <a:p>
          <a:endParaRPr lang="es-ES_tradnl"/>
        </a:p>
      </dgm:t>
    </dgm:pt>
    <dgm:pt modelId="{41CD343D-A748-4863-B175-107164DA6243}">
      <dgm:prSet phldrT="[Texto]" custT="1"/>
      <dgm:spPr/>
      <dgm:t>
        <a:bodyPr/>
        <a:lstStyle/>
        <a:p>
          <a:r>
            <a:rPr lang="es-ES" sz="2400" dirty="0" smtClean="0">
              <a:latin typeface="Arial" panose="020B0604020202020204" pitchFamily="34" charset="0"/>
              <a:cs typeface="Arial" panose="020B0604020202020204" pitchFamily="34" charset="0"/>
            </a:rPr>
            <a:t>1. Sensación de anonimato</a:t>
          </a:r>
          <a:endParaRPr lang="es-ES_tradnl" sz="2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C1AA66B-A7A4-4947-B7A4-26AD91FEAB8F}" type="parTrans" cxnId="{A697D314-B229-439F-A5C6-EA5A718E522B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8B655FD-8E6D-4701-A7EA-5A152923897C}" type="sibTrans" cxnId="{A697D314-B229-439F-A5C6-EA5A718E522B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EAAC709-B648-4903-9AC4-7905C66A861D}">
      <dgm:prSet phldrT="[Texto]" custT="1"/>
      <dgm:spPr/>
      <dgm:t>
        <a:bodyPr/>
        <a:lstStyle/>
        <a:p>
          <a:r>
            <a:rPr lang="es-ES" sz="2400" dirty="0" smtClean="0">
              <a:latin typeface="Arial" panose="020B0604020202020204" pitchFamily="34" charset="0"/>
              <a:cs typeface="Arial" panose="020B0604020202020204" pitchFamily="34" charset="0"/>
            </a:rPr>
            <a:t>2. Impunidad</a:t>
          </a:r>
          <a:endParaRPr lang="es-ES_tradnl" sz="2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7558639-072F-4E05-A187-DFA46864FF73}" type="parTrans" cxnId="{685B018B-1923-47D5-9519-DBC35A3B6B69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ED9127-E4BD-452B-841E-3391375A63F1}" type="sibTrans" cxnId="{685B018B-1923-47D5-9519-DBC35A3B6B69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32AA7FC-C8F4-4C1C-9156-0A495A9CAFBE}">
      <dgm:prSet phldrT="[Texto]" custT="1"/>
      <dgm:spPr/>
      <dgm:t>
        <a:bodyPr/>
        <a:lstStyle/>
        <a:p>
          <a:r>
            <a:rPr lang="es-ES" sz="2400" dirty="0" smtClean="0">
              <a:latin typeface="Arial" panose="020B0604020202020204" pitchFamily="34" charset="0"/>
              <a:cs typeface="Arial" panose="020B0604020202020204" pitchFamily="34" charset="0"/>
            </a:rPr>
            <a:t>3.Desequilibrio de poder</a:t>
          </a:r>
          <a:endParaRPr lang="es-ES_tradnl" sz="2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13A7A6C-BB6E-4B0D-A214-989ACC0AD87B}" type="parTrans" cxnId="{89AA116E-F261-4D0C-8525-17A1B46A1AD2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549A128-88FA-42CA-8903-BD3F095717C3}" type="sibTrans" cxnId="{89AA116E-F261-4D0C-8525-17A1B46A1AD2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5DBEA19-56F8-4313-8586-4F3626739BE0}">
      <dgm:prSet phldrT="[Texto]" custT="1"/>
      <dgm:spPr/>
      <dgm:t>
        <a:bodyPr/>
        <a:lstStyle/>
        <a:p>
          <a:r>
            <a:rPr lang="es-ES" sz="2000" dirty="0" smtClean="0">
              <a:latin typeface="Arial" panose="020B0604020202020204" pitchFamily="34" charset="0"/>
              <a:cs typeface="Arial" panose="020B0604020202020204" pitchFamily="34" charset="0"/>
            </a:rPr>
            <a:t>Persona al verse en otro país donde se considera desconocido se vale de la “invisibilidad social” para realizar el abuso</a:t>
          </a:r>
          <a:endParaRPr lang="es-ES_tradnl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8BE3644-6DAB-4FC4-8A88-CFE339655150}" type="parTrans" cxnId="{02BF0AEA-0582-4798-8776-2180ACEC597C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1229B28-635D-43E2-ACB2-48537A5ED281}" type="sibTrans" cxnId="{02BF0AEA-0582-4798-8776-2180ACEC597C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4424063-E337-4187-99AD-902D7DB9BC02}">
      <dgm:prSet phldrT="[Texto]" custT="1"/>
      <dgm:spPr/>
      <dgm:t>
        <a:bodyPr/>
        <a:lstStyle/>
        <a:p>
          <a:r>
            <a:rPr lang="es-ES" sz="2000" dirty="0" smtClean="0">
              <a:latin typeface="Arial" panose="020B0604020202020204" pitchFamily="34" charset="0"/>
              <a:cs typeface="Arial" panose="020B0604020202020204" pitchFamily="34" charset="0"/>
            </a:rPr>
            <a:t>Las leyes internacionales aún no protegen a los menores de edad de forma efectiva. Pocos agresores encausados a pesar de los acuerdos internacionales.</a:t>
          </a:r>
          <a:endParaRPr lang="es-ES_tradnl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F377BE-E88A-41E6-B94C-AFB24F0B7C77}" type="parTrans" cxnId="{DBB4CF55-336E-4939-A755-DE9B3689A198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CAE635F-2196-4177-8229-2AD4AF98DA89}" type="sibTrans" cxnId="{DBB4CF55-336E-4939-A755-DE9B3689A198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43A6B65-D000-4D12-94DA-D5358E911B61}">
      <dgm:prSet phldrT="[Texto]" custT="1"/>
      <dgm:spPr/>
      <dgm:t>
        <a:bodyPr/>
        <a:lstStyle/>
        <a:p>
          <a:r>
            <a:rPr lang="es-ES" sz="2000" dirty="0" smtClean="0">
              <a:latin typeface="Arial" panose="020B0604020202020204" pitchFamily="34" charset="0"/>
              <a:cs typeface="Arial" panose="020B0604020202020204" pitchFamily="34" charset="0"/>
            </a:rPr>
            <a:t>Agresores pueden justificar el abuso ya que el niño/a obtiene un beneficio económico o comercial que necesita y que le ayuda a “mejorar” su situación de pobreza o necesidad</a:t>
          </a:r>
          <a:endParaRPr lang="es-ES_tradnl" sz="20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34501A9-01AA-4C6B-9B31-BADAE69CFB60}" type="parTrans" cxnId="{7D881D16-54BB-4B51-A31A-1C032CAE27A1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8501F82-0668-4E10-A872-9CAF1A4BC94E}" type="sibTrans" cxnId="{7D881D16-54BB-4B51-A31A-1C032CAE27A1}">
      <dgm:prSet/>
      <dgm:spPr/>
      <dgm:t>
        <a:bodyPr/>
        <a:lstStyle/>
        <a:p>
          <a:endParaRPr lang="es-ES_tradnl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03429D-64D3-499B-B441-882E973F8584}" type="pres">
      <dgm:prSet presAssocID="{E7F2B53F-2CD8-47C5-993A-A6CEF1A3E8D2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  <dgm:t>
        <a:bodyPr/>
        <a:lstStyle/>
        <a:p>
          <a:endParaRPr lang="es-ES_tradnl"/>
        </a:p>
      </dgm:t>
    </dgm:pt>
    <dgm:pt modelId="{516B1B8E-F9CD-48BD-B15E-76913C093D2F}" type="pres">
      <dgm:prSet presAssocID="{41CD343D-A748-4863-B175-107164DA6243}" presName="composite" presStyleCnt="0"/>
      <dgm:spPr/>
    </dgm:pt>
    <dgm:pt modelId="{7A02C6F9-FF65-4CA7-8E87-349C8B445D45}" type="pres">
      <dgm:prSet presAssocID="{41CD343D-A748-4863-B175-107164DA6243}" presName="FirstChild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F6A71D41-29BF-4D91-A40F-8FE118035D76}" type="pres">
      <dgm:prSet presAssocID="{41CD343D-A748-4863-B175-107164DA6243}" presName="Parent" presStyleLbl="alignNode1" presStyleIdx="0" presStyleCnt="3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BF97636C-0460-4B72-A0BB-BA112A1BC6F2}" type="pres">
      <dgm:prSet presAssocID="{41CD343D-A748-4863-B175-107164DA6243}" presName="Accent" presStyleLbl="parChTrans1D1" presStyleIdx="0" presStyleCnt="3"/>
      <dgm:spPr/>
    </dgm:pt>
    <dgm:pt modelId="{31684FAE-3390-4BF2-BEA1-156FAB4AF030}" type="pres">
      <dgm:prSet presAssocID="{08B655FD-8E6D-4701-A7EA-5A152923897C}" presName="sibTrans" presStyleCnt="0"/>
      <dgm:spPr/>
    </dgm:pt>
    <dgm:pt modelId="{D30011A9-4B66-4B01-B9DC-75FE6154C61C}" type="pres">
      <dgm:prSet presAssocID="{4EAAC709-B648-4903-9AC4-7905C66A861D}" presName="composite" presStyleCnt="0"/>
      <dgm:spPr/>
    </dgm:pt>
    <dgm:pt modelId="{6092FE0A-FE6E-4B59-91D3-743F43E9B77E}" type="pres">
      <dgm:prSet presAssocID="{4EAAC709-B648-4903-9AC4-7905C66A861D}" presName="FirstChild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34848F55-7AC1-4CBF-A00A-6CBC7C030D0A}" type="pres">
      <dgm:prSet presAssocID="{4EAAC709-B648-4903-9AC4-7905C66A861D}" presName="Parent" presStyleLbl="alignNode1" presStyleIdx="1" presStyleCnt="3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828D22D7-FD25-4198-8A85-F71C5A1B5B91}" type="pres">
      <dgm:prSet presAssocID="{4EAAC709-B648-4903-9AC4-7905C66A861D}" presName="Accent" presStyleLbl="parChTrans1D1" presStyleIdx="1" presStyleCnt="3"/>
      <dgm:spPr/>
    </dgm:pt>
    <dgm:pt modelId="{16CD406F-B253-4763-A66C-B5DF5AF3C70B}" type="pres">
      <dgm:prSet presAssocID="{B8ED9127-E4BD-452B-841E-3391375A63F1}" presName="sibTrans" presStyleCnt="0"/>
      <dgm:spPr/>
    </dgm:pt>
    <dgm:pt modelId="{B2807698-FE0E-44CE-AEFD-D5841EE47A7E}" type="pres">
      <dgm:prSet presAssocID="{832AA7FC-C8F4-4C1C-9156-0A495A9CAFBE}" presName="composite" presStyleCnt="0"/>
      <dgm:spPr/>
    </dgm:pt>
    <dgm:pt modelId="{B3553B0E-626C-459E-A1BF-05A14FD534A9}" type="pres">
      <dgm:prSet presAssocID="{832AA7FC-C8F4-4C1C-9156-0A495A9CAFBE}" presName="FirstChild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15F1B873-B7F8-4A61-8CCF-B7801070FC55}" type="pres">
      <dgm:prSet presAssocID="{832AA7FC-C8F4-4C1C-9156-0A495A9CAFBE}" presName="Parent" presStyleLbl="alignNode1" presStyleIdx="2" presStyleCnt="3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176FBB1F-B522-42DD-AF9A-CEFAAEFB7019}" type="pres">
      <dgm:prSet presAssocID="{832AA7FC-C8F4-4C1C-9156-0A495A9CAFBE}" presName="Accent" presStyleLbl="parChTrans1D1" presStyleIdx="2" presStyleCnt="3"/>
      <dgm:spPr/>
    </dgm:pt>
  </dgm:ptLst>
  <dgm:cxnLst>
    <dgm:cxn modelId="{6F08D727-1D4E-4EAF-9728-225543C9AAF0}" type="presOf" srcId="{95DBEA19-56F8-4313-8586-4F3626739BE0}" destId="{7A02C6F9-FF65-4CA7-8E87-349C8B445D45}" srcOrd="0" destOrd="0" presId="urn:microsoft.com/office/officeart/2011/layout/TabList"/>
    <dgm:cxn modelId="{E0DC09F2-6E21-42BB-A2D3-4E4CB7FFA567}" type="presOf" srcId="{C43A6B65-D000-4D12-94DA-D5358E911B61}" destId="{B3553B0E-626C-459E-A1BF-05A14FD534A9}" srcOrd="0" destOrd="0" presId="urn:microsoft.com/office/officeart/2011/layout/TabList"/>
    <dgm:cxn modelId="{48BCE317-FF53-47FB-BC7A-F7F85BB7703C}" type="presOf" srcId="{832AA7FC-C8F4-4C1C-9156-0A495A9CAFBE}" destId="{15F1B873-B7F8-4A61-8CCF-B7801070FC55}" srcOrd="0" destOrd="0" presId="urn:microsoft.com/office/officeart/2011/layout/TabList"/>
    <dgm:cxn modelId="{89AA116E-F261-4D0C-8525-17A1B46A1AD2}" srcId="{E7F2B53F-2CD8-47C5-993A-A6CEF1A3E8D2}" destId="{832AA7FC-C8F4-4C1C-9156-0A495A9CAFBE}" srcOrd="2" destOrd="0" parTransId="{E13A7A6C-BB6E-4B0D-A214-989ACC0AD87B}" sibTransId="{A549A128-88FA-42CA-8903-BD3F095717C3}"/>
    <dgm:cxn modelId="{A3897991-B9F6-446B-820E-D237E2267F49}" type="presOf" srcId="{4EAAC709-B648-4903-9AC4-7905C66A861D}" destId="{34848F55-7AC1-4CBF-A00A-6CBC7C030D0A}" srcOrd="0" destOrd="0" presId="urn:microsoft.com/office/officeart/2011/layout/TabList"/>
    <dgm:cxn modelId="{685B018B-1923-47D5-9519-DBC35A3B6B69}" srcId="{E7F2B53F-2CD8-47C5-993A-A6CEF1A3E8D2}" destId="{4EAAC709-B648-4903-9AC4-7905C66A861D}" srcOrd="1" destOrd="0" parTransId="{C7558639-072F-4E05-A187-DFA46864FF73}" sibTransId="{B8ED9127-E4BD-452B-841E-3391375A63F1}"/>
    <dgm:cxn modelId="{DBB4CF55-336E-4939-A755-DE9B3689A198}" srcId="{4EAAC709-B648-4903-9AC4-7905C66A861D}" destId="{24424063-E337-4187-99AD-902D7DB9BC02}" srcOrd="0" destOrd="0" parTransId="{82F377BE-E88A-41E6-B94C-AFB24F0B7C77}" sibTransId="{2CAE635F-2196-4177-8229-2AD4AF98DA89}"/>
    <dgm:cxn modelId="{02BF0AEA-0582-4798-8776-2180ACEC597C}" srcId="{41CD343D-A748-4863-B175-107164DA6243}" destId="{95DBEA19-56F8-4313-8586-4F3626739BE0}" srcOrd="0" destOrd="0" parTransId="{88BE3644-6DAB-4FC4-8A88-CFE339655150}" sibTransId="{F1229B28-635D-43E2-ACB2-48537A5ED281}"/>
    <dgm:cxn modelId="{7D881D16-54BB-4B51-A31A-1C032CAE27A1}" srcId="{832AA7FC-C8F4-4C1C-9156-0A495A9CAFBE}" destId="{C43A6B65-D000-4D12-94DA-D5358E911B61}" srcOrd="0" destOrd="0" parTransId="{234501A9-01AA-4C6B-9B31-BADAE69CFB60}" sibTransId="{F8501F82-0668-4E10-A872-9CAF1A4BC94E}"/>
    <dgm:cxn modelId="{EA902264-37FE-4F96-9604-0A79B90518DE}" type="presOf" srcId="{24424063-E337-4187-99AD-902D7DB9BC02}" destId="{6092FE0A-FE6E-4B59-91D3-743F43E9B77E}" srcOrd="0" destOrd="0" presId="urn:microsoft.com/office/officeart/2011/layout/TabList"/>
    <dgm:cxn modelId="{884E144D-1A3B-4FE2-BEBF-C5E922637513}" type="presOf" srcId="{41CD343D-A748-4863-B175-107164DA6243}" destId="{F6A71D41-29BF-4D91-A40F-8FE118035D76}" srcOrd="0" destOrd="0" presId="urn:microsoft.com/office/officeart/2011/layout/TabList"/>
    <dgm:cxn modelId="{A697D314-B229-439F-A5C6-EA5A718E522B}" srcId="{E7F2B53F-2CD8-47C5-993A-A6CEF1A3E8D2}" destId="{41CD343D-A748-4863-B175-107164DA6243}" srcOrd="0" destOrd="0" parTransId="{2C1AA66B-A7A4-4947-B7A4-26AD91FEAB8F}" sibTransId="{08B655FD-8E6D-4701-A7EA-5A152923897C}"/>
    <dgm:cxn modelId="{D2E20A3E-57AC-4B63-A12F-419683BEF12A}" type="presOf" srcId="{E7F2B53F-2CD8-47C5-993A-A6CEF1A3E8D2}" destId="{3403429D-64D3-499B-B441-882E973F8584}" srcOrd="0" destOrd="0" presId="urn:microsoft.com/office/officeart/2011/layout/TabList"/>
    <dgm:cxn modelId="{8F0433B6-9434-4CCB-855D-082213A2C365}" type="presParOf" srcId="{3403429D-64D3-499B-B441-882E973F8584}" destId="{516B1B8E-F9CD-48BD-B15E-76913C093D2F}" srcOrd="0" destOrd="0" presId="urn:microsoft.com/office/officeart/2011/layout/TabList"/>
    <dgm:cxn modelId="{D2B3949B-57BE-4B18-836B-F551EB676653}" type="presParOf" srcId="{516B1B8E-F9CD-48BD-B15E-76913C093D2F}" destId="{7A02C6F9-FF65-4CA7-8E87-349C8B445D45}" srcOrd="0" destOrd="0" presId="urn:microsoft.com/office/officeart/2011/layout/TabList"/>
    <dgm:cxn modelId="{2ECDFC7D-B0E6-4E24-93E2-FE2793036767}" type="presParOf" srcId="{516B1B8E-F9CD-48BD-B15E-76913C093D2F}" destId="{F6A71D41-29BF-4D91-A40F-8FE118035D76}" srcOrd="1" destOrd="0" presId="urn:microsoft.com/office/officeart/2011/layout/TabList"/>
    <dgm:cxn modelId="{2A6CBEC3-00C6-49C1-A528-C6E0EB1D494D}" type="presParOf" srcId="{516B1B8E-F9CD-48BD-B15E-76913C093D2F}" destId="{BF97636C-0460-4B72-A0BB-BA112A1BC6F2}" srcOrd="2" destOrd="0" presId="urn:microsoft.com/office/officeart/2011/layout/TabList"/>
    <dgm:cxn modelId="{B9062EFC-0FBA-45C7-BBEA-4C97AF07458B}" type="presParOf" srcId="{3403429D-64D3-499B-B441-882E973F8584}" destId="{31684FAE-3390-4BF2-BEA1-156FAB4AF030}" srcOrd="1" destOrd="0" presId="urn:microsoft.com/office/officeart/2011/layout/TabList"/>
    <dgm:cxn modelId="{EDE97B91-6318-4533-A8E7-06FCA3328793}" type="presParOf" srcId="{3403429D-64D3-499B-B441-882E973F8584}" destId="{D30011A9-4B66-4B01-B9DC-75FE6154C61C}" srcOrd="2" destOrd="0" presId="urn:microsoft.com/office/officeart/2011/layout/TabList"/>
    <dgm:cxn modelId="{02C24148-A2DA-4195-8B03-6609745538CB}" type="presParOf" srcId="{D30011A9-4B66-4B01-B9DC-75FE6154C61C}" destId="{6092FE0A-FE6E-4B59-91D3-743F43E9B77E}" srcOrd="0" destOrd="0" presId="urn:microsoft.com/office/officeart/2011/layout/TabList"/>
    <dgm:cxn modelId="{872524B9-EA74-4CE0-896D-2619BE5CC84E}" type="presParOf" srcId="{D30011A9-4B66-4B01-B9DC-75FE6154C61C}" destId="{34848F55-7AC1-4CBF-A00A-6CBC7C030D0A}" srcOrd="1" destOrd="0" presId="urn:microsoft.com/office/officeart/2011/layout/TabList"/>
    <dgm:cxn modelId="{9849BFA3-0066-41C5-A962-CBC496BAE839}" type="presParOf" srcId="{D30011A9-4B66-4B01-B9DC-75FE6154C61C}" destId="{828D22D7-FD25-4198-8A85-F71C5A1B5B91}" srcOrd="2" destOrd="0" presId="urn:microsoft.com/office/officeart/2011/layout/TabList"/>
    <dgm:cxn modelId="{FB509C79-8CC3-49EB-A02E-DF65869B06BA}" type="presParOf" srcId="{3403429D-64D3-499B-B441-882E973F8584}" destId="{16CD406F-B253-4763-A66C-B5DF5AF3C70B}" srcOrd="3" destOrd="0" presId="urn:microsoft.com/office/officeart/2011/layout/TabList"/>
    <dgm:cxn modelId="{85A80715-BC4A-498D-8E01-761DC51CC4E8}" type="presParOf" srcId="{3403429D-64D3-499B-B441-882E973F8584}" destId="{B2807698-FE0E-44CE-AEFD-D5841EE47A7E}" srcOrd="4" destOrd="0" presId="urn:microsoft.com/office/officeart/2011/layout/TabList"/>
    <dgm:cxn modelId="{8C97F399-585E-40CB-9434-3907BC2A7E8C}" type="presParOf" srcId="{B2807698-FE0E-44CE-AEFD-D5841EE47A7E}" destId="{B3553B0E-626C-459E-A1BF-05A14FD534A9}" srcOrd="0" destOrd="0" presId="urn:microsoft.com/office/officeart/2011/layout/TabList"/>
    <dgm:cxn modelId="{397E8A5C-BB37-481A-90C2-3A940F66B555}" type="presParOf" srcId="{B2807698-FE0E-44CE-AEFD-D5841EE47A7E}" destId="{15F1B873-B7F8-4A61-8CCF-B7801070FC55}" srcOrd="1" destOrd="0" presId="urn:microsoft.com/office/officeart/2011/layout/TabList"/>
    <dgm:cxn modelId="{1C0A2E51-303A-4F4B-8093-B63D1388C5DA}" type="presParOf" srcId="{B2807698-FE0E-44CE-AEFD-D5841EE47A7E}" destId="{176FBB1F-B522-42DD-AF9A-CEFAAEFB7019}" srcOrd="2" destOrd="0" presId="urn:microsoft.com/office/officeart/2011/layout/Tab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069D0B7-FE69-43B7-956F-D4BA8B627CDD}" type="doc">
      <dgm:prSet loTypeId="urn:microsoft.com/office/officeart/2005/8/layout/process4" loCatId="list" qsTypeId="urn:microsoft.com/office/officeart/2005/8/quickstyle/3d3" qsCatId="3D" csTypeId="urn:microsoft.com/office/officeart/2005/8/colors/accent0_3" csCatId="mainScheme" phldr="1"/>
      <dgm:spPr/>
      <dgm:t>
        <a:bodyPr/>
        <a:lstStyle/>
        <a:p>
          <a:endParaRPr lang="es-ES_tradnl"/>
        </a:p>
      </dgm:t>
    </dgm:pt>
    <dgm:pt modelId="{918019A5-70A7-4C5F-8CA2-752F08AD4689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1. Conocimiento del fenómeno de la ESCNNA-T</a:t>
          </a:r>
          <a:endParaRPr lang="es-ES_tradnl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6C2BDEE-3809-4D0C-A6D5-0D6923E56100}" type="parTrans" cxnId="{1C7475F6-6AB4-4989-A6DE-D8FC9A3E1517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5B30519-F34A-4549-A8CB-C4C720C56DC3}" type="sibTrans" cxnId="{1C7475F6-6AB4-4989-A6DE-D8FC9A3E1517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131879-4465-45AC-A970-7A3D67E5CE3B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Características, incidencia, víctimas, formas de explotación sexual, etc. </a:t>
          </a:r>
          <a:endParaRPr lang="es-ES_tradnl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848459B-3415-4B64-BD5D-753E333B2D18}" type="parTrans" cxnId="{C3D1C598-5473-466E-901A-7CB9C4024FF8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D8681D3-6DD9-4375-A9D9-5ECE7AE494B8}" type="sibTrans" cxnId="{C3D1C598-5473-466E-901A-7CB9C4024FF8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1235ED1-7DD0-4ED0-B072-B0770166017F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2. Incorporación políticas de infancia en industrias, agencias y empresas del ámbito publico y privado</a:t>
          </a:r>
          <a:endParaRPr lang="es-ES_tradnl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4F7F5F-5EAE-4807-861E-BA6986A25314}" type="parTrans" cxnId="{1F18733F-CD69-43AC-A247-2E3ABD2B406D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3089CBA-8B08-493F-BBC2-DC5A7C216307}" type="sibTrans" cxnId="{1F18733F-CD69-43AC-A247-2E3ABD2B406D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F7F39DD-FC3E-43BF-8AE6-119B63499A88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Políticas que respeten y promuevan los derechos de la infancia con todos los agentes implicados (cadenas hoteleras, proveedores, etc.) sensibles y comprometidos con la protección a la infancia</a:t>
          </a:r>
          <a:endParaRPr lang="es-ES_tradnl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30F20B6-AACE-411F-9B84-76D1BFEB3E62}" type="parTrans" cxnId="{7B83F7E1-8B16-4027-B529-BB74EF487D80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9C6471D-DB86-4EE0-9EA6-6FE153BAC548}" type="sibTrans" cxnId="{7B83F7E1-8B16-4027-B529-BB74EF487D80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C6C32643-63AB-4E57-AF09-318C4AC606F2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3. Conocimiento, difusión, creación de instrumentos de protección</a:t>
          </a:r>
          <a:endParaRPr lang="es-ES_tradnl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B7D7741-FDD1-4691-8938-D08FE56F0161}" type="parTrans" cxnId="{A2F2CE2A-6C08-4B9A-B26D-5C29C344C951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A75E750D-680B-469F-BC14-771FDFB80CCA}" type="sibTrans" cxnId="{A2F2CE2A-6C08-4B9A-B26D-5C29C344C951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4BEF0B0-61AB-4F47-B14C-33ADAE540EDF}">
      <dgm:prSet phldrT="[Texto]"/>
      <dgm:spPr/>
      <dgm:t>
        <a:bodyPr/>
        <a:lstStyle/>
        <a:p>
          <a:r>
            <a:rPr lang="es-ES" dirty="0" smtClean="0">
              <a:latin typeface="Arial" panose="020B0604020202020204" pitchFamily="34" charset="0"/>
              <a:cs typeface="Arial" panose="020B0604020202020204" pitchFamily="34" charset="0"/>
            </a:rPr>
            <a:t>Como el Código de conducta o la Red Española contra la explotación sexual infantil y adolescente (RESCIA)</a:t>
          </a:r>
          <a:endParaRPr lang="es-ES_tradnl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C0EA276-07B5-4CA0-A9A9-0F542EE908BC}" type="parTrans" cxnId="{0308BA03-9B3A-4958-8A5F-384249B608AC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0F45449-68E3-43EF-87B9-3559BD658552}" type="sibTrans" cxnId="{0308BA03-9B3A-4958-8A5F-384249B608AC}">
      <dgm:prSet/>
      <dgm:spPr/>
      <dgm:t>
        <a:bodyPr/>
        <a:lstStyle/>
        <a:p>
          <a:endParaRPr lang="es-ES_tradnl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C2557D3-AA28-4F29-A1C6-04866ED415A0}" type="pres">
      <dgm:prSet presAssocID="{F069D0B7-FE69-43B7-956F-D4BA8B627CD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_tradnl"/>
        </a:p>
      </dgm:t>
    </dgm:pt>
    <dgm:pt modelId="{442D8D3F-F8C0-4575-B495-03FDC6A78ED4}" type="pres">
      <dgm:prSet presAssocID="{C6C32643-63AB-4E57-AF09-318C4AC606F2}" presName="boxAndChildren" presStyleCnt="0"/>
      <dgm:spPr/>
    </dgm:pt>
    <dgm:pt modelId="{1E33A08B-1240-4B67-85AA-5846E3CB0A03}" type="pres">
      <dgm:prSet presAssocID="{C6C32643-63AB-4E57-AF09-318C4AC606F2}" presName="parentTextBox" presStyleLbl="node1" presStyleIdx="0" presStyleCnt="3"/>
      <dgm:spPr/>
      <dgm:t>
        <a:bodyPr/>
        <a:lstStyle/>
        <a:p>
          <a:endParaRPr lang="es-ES_tradnl"/>
        </a:p>
      </dgm:t>
    </dgm:pt>
    <dgm:pt modelId="{84D82E72-8022-4835-99AB-FD11DF3D1E49}" type="pres">
      <dgm:prSet presAssocID="{C6C32643-63AB-4E57-AF09-318C4AC606F2}" presName="entireBox" presStyleLbl="node1" presStyleIdx="0" presStyleCnt="3"/>
      <dgm:spPr/>
      <dgm:t>
        <a:bodyPr/>
        <a:lstStyle/>
        <a:p>
          <a:endParaRPr lang="es-ES_tradnl"/>
        </a:p>
      </dgm:t>
    </dgm:pt>
    <dgm:pt modelId="{1E61324D-4E15-462E-AACF-C75E980A7815}" type="pres">
      <dgm:prSet presAssocID="{C6C32643-63AB-4E57-AF09-318C4AC606F2}" presName="descendantBox" presStyleCnt="0"/>
      <dgm:spPr/>
    </dgm:pt>
    <dgm:pt modelId="{9D105846-FE12-438D-8610-39B1BFC929F0}" type="pres">
      <dgm:prSet presAssocID="{34BEF0B0-61AB-4F47-B14C-33ADAE540EDF}" presName="childTextBox" presStyleLbl="fg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09A138CF-E191-40CB-86C3-2BA233D80701}" type="pres">
      <dgm:prSet presAssocID="{33089CBA-8B08-493F-BBC2-DC5A7C216307}" presName="sp" presStyleCnt="0"/>
      <dgm:spPr/>
    </dgm:pt>
    <dgm:pt modelId="{66756317-FD91-4427-AD4D-1726225C1C6B}" type="pres">
      <dgm:prSet presAssocID="{E1235ED1-7DD0-4ED0-B072-B0770166017F}" presName="arrowAndChildren" presStyleCnt="0"/>
      <dgm:spPr/>
    </dgm:pt>
    <dgm:pt modelId="{3E32456F-381C-4452-BC9D-982D541FC13A}" type="pres">
      <dgm:prSet presAssocID="{E1235ED1-7DD0-4ED0-B072-B0770166017F}" presName="parentTextArrow" presStyleLbl="node1" presStyleIdx="0" presStyleCnt="3"/>
      <dgm:spPr/>
      <dgm:t>
        <a:bodyPr/>
        <a:lstStyle/>
        <a:p>
          <a:endParaRPr lang="es-ES_tradnl"/>
        </a:p>
      </dgm:t>
    </dgm:pt>
    <dgm:pt modelId="{72DB6F79-D29A-4B93-B478-7175C8CA80FC}" type="pres">
      <dgm:prSet presAssocID="{E1235ED1-7DD0-4ED0-B072-B0770166017F}" presName="arrow" presStyleLbl="node1" presStyleIdx="1" presStyleCnt="3"/>
      <dgm:spPr/>
      <dgm:t>
        <a:bodyPr/>
        <a:lstStyle/>
        <a:p>
          <a:endParaRPr lang="es-ES_tradnl"/>
        </a:p>
      </dgm:t>
    </dgm:pt>
    <dgm:pt modelId="{56222801-5853-4C45-9810-F23A10AF36C1}" type="pres">
      <dgm:prSet presAssocID="{E1235ED1-7DD0-4ED0-B072-B0770166017F}" presName="descendantArrow" presStyleCnt="0"/>
      <dgm:spPr/>
    </dgm:pt>
    <dgm:pt modelId="{A459DC3C-AFD5-4DAB-A536-E980329FB743}" type="pres">
      <dgm:prSet presAssocID="{9F7F39DD-FC3E-43BF-8AE6-119B63499A88}" presName="childTextArrow" presStyleLbl="fg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  <dgm:pt modelId="{AB24CED5-28B7-41DD-A531-0D95BD42D949}" type="pres">
      <dgm:prSet presAssocID="{F5B30519-F34A-4549-A8CB-C4C720C56DC3}" presName="sp" presStyleCnt="0"/>
      <dgm:spPr/>
    </dgm:pt>
    <dgm:pt modelId="{7C8203F8-F551-426A-B21B-76966DB19B7B}" type="pres">
      <dgm:prSet presAssocID="{918019A5-70A7-4C5F-8CA2-752F08AD4689}" presName="arrowAndChildren" presStyleCnt="0"/>
      <dgm:spPr/>
    </dgm:pt>
    <dgm:pt modelId="{476DF636-CCB1-4B72-B16E-CAD4A81ADF9F}" type="pres">
      <dgm:prSet presAssocID="{918019A5-70A7-4C5F-8CA2-752F08AD4689}" presName="parentTextArrow" presStyleLbl="node1" presStyleIdx="1" presStyleCnt="3"/>
      <dgm:spPr/>
      <dgm:t>
        <a:bodyPr/>
        <a:lstStyle/>
        <a:p>
          <a:endParaRPr lang="es-ES_tradnl"/>
        </a:p>
      </dgm:t>
    </dgm:pt>
    <dgm:pt modelId="{B3BE23BA-3721-4E7C-A8BB-0D594FE472D3}" type="pres">
      <dgm:prSet presAssocID="{918019A5-70A7-4C5F-8CA2-752F08AD4689}" presName="arrow" presStyleLbl="node1" presStyleIdx="2" presStyleCnt="3"/>
      <dgm:spPr/>
      <dgm:t>
        <a:bodyPr/>
        <a:lstStyle/>
        <a:p>
          <a:endParaRPr lang="es-ES_tradnl"/>
        </a:p>
      </dgm:t>
    </dgm:pt>
    <dgm:pt modelId="{0351EBAD-2124-489C-BFE7-A3C35DAFBB8E}" type="pres">
      <dgm:prSet presAssocID="{918019A5-70A7-4C5F-8CA2-752F08AD4689}" presName="descendantArrow" presStyleCnt="0"/>
      <dgm:spPr/>
    </dgm:pt>
    <dgm:pt modelId="{4B98862A-5E40-4653-80C0-6087830B101C}" type="pres">
      <dgm:prSet presAssocID="{C9131879-4465-45AC-A970-7A3D67E5CE3B}" presName="childTextArrow" presStyleLbl="fg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_tradnl"/>
        </a:p>
      </dgm:t>
    </dgm:pt>
  </dgm:ptLst>
  <dgm:cxnLst>
    <dgm:cxn modelId="{B1252FF4-6E01-4BEC-B20F-74857A1B7CC9}" type="presOf" srcId="{C9131879-4465-45AC-A970-7A3D67E5CE3B}" destId="{4B98862A-5E40-4653-80C0-6087830B101C}" srcOrd="0" destOrd="0" presId="urn:microsoft.com/office/officeart/2005/8/layout/process4"/>
    <dgm:cxn modelId="{4834638A-8A55-473F-B49D-85B013D58EBF}" type="presOf" srcId="{918019A5-70A7-4C5F-8CA2-752F08AD4689}" destId="{B3BE23BA-3721-4E7C-A8BB-0D594FE472D3}" srcOrd="1" destOrd="0" presId="urn:microsoft.com/office/officeart/2005/8/layout/process4"/>
    <dgm:cxn modelId="{7B83F7E1-8B16-4027-B529-BB74EF487D80}" srcId="{E1235ED1-7DD0-4ED0-B072-B0770166017F}" destId="{9F7F39DD-FC3E-43BF-8AE6-119B63499A88}" srcOrd="0" destOrd="0" parTransId="{B30F20B6-AACE-411F-9B84-76D1BFEB3E62}" sibTransId="{C9C6471D-DB86-4EE0-9EA6-6FE153BAC548}"/>
    <dgm:cxn modelId="{2AAFD317-4290-4B87-9420-7C6B1B0FE1A0}" type="presOf" srcId="{E1235ED1-7DD0-4ED0-B072-B0770166017F}" destId="{72DB6F79-D29A-4B93-B478-7175C8CA80FC}" srcOrd="1" destOrd="0" presId="urn:microsoft.com/office/officeart/2005/8/layout/process4"/>
    <dgm:cxn modelId="{CC78B567-9B13-4873-869F-70D7D19961EF}" type="presOf" srcId="{E1235ED1-7DD0-4ED0-B072-B0770166017F}" destId="{3E32456F-381C-4452-BC9D-982D541FC13A}" srcOrd="0" destOrd="0" presId="urn:microsoft.com/office/officeart/2005/8/layout/process4"/>
    <dgm:cxn modelId="{8B472534-E175-4C15-A46A-8CEE6C3685D0}" type="presOf" srcId="{9F7F39DD-FC3E-43BF-8AE6-119B63499A88}" destId="{A459DC3C-AFD5-4DAB-A536-E980329FB743}" srcOrd="0" destOrd="0" presId="urn:microsoft.com/office/officeart/2005/8/layout/process4"/>
    <dgm:cxn modelId="{F471E8D6-E44B-4665-BEE4-B5E2C3E3B3C8}" type="presOf" srcId="{34BEF0B0-61AB-4F47-B14C-33ADAE540EDF}" destId="{9D105846-FE12-438D-8610-39B1BFC929F0}" srcOrd="0" destOrd="0" presId="urn:microsoft.com/office/officeart/2005/8/layout/process4"/>
    <dgm:cxn modelId="{6484230C-E229-41BA-B3C9-D8A4F725DDCA}" type="presOf" srcId="{F069D0B7-FE69-43B7-956F-D4BA8B627CDD}" destId="{6C2557D3-AA28-4F29-A1C6-04866ED415A0}" srcOrd="0" destOrd="0" presId="urn:microsoft.com/office/officeart/2005/8/layout/process4"/>
    <dgm:cxn modelId="{C3D1C598-5473-466E-901A-7CB9C4024FF8}" srcId="{918019A5-70A7-4C5F-8CA2-752F08AD4689}" destId="{C9131879-4465-45AC-A970-7A3D67E5CE3B}" srcOrd="0" destOrd="0" parTransId="{6848459B-3415-4B64-BD5D-753E333B2D18}" sibTransId="{7D8681D3-6DD9-4375-A9D9-5ECE7AE494B8}"/>
    <dgm:cxn modelId="{1F18733F-CD69-43AC-A247-2E3ABD2B406D}" srcId="{F069D0B7-FE69-43B7-956F-D4BA8B627CDD}" destId="{E1235ED1-7DD0-4ED0-B072-B0770166017F}" srcOrd="1" destOrd="0" parTransId="{E24F7F5F-5EAE-4807-861E-BA6986A25314}" sibTransId="{33089CBA-8B08-493F-BBC2-DC5A7C216307}"/>
    <dgm:cxn modelId="{0308BA03-9B3A-4958-8A5F-384249B608AC}" srcId="{C6C32643-63AB-4E57-AF09-318C4AC606F2}" destId="{34BEF0B0-61AB-4F47-B14C-33ADAE540EDF}" srcOrd="0" destOrd="0" parTransId="{DC0EA276-07B5-4CA0-A9A9-0F542EE908BC}" sibTransId="{80F45449-68E3-43EF-87B9-3559BD658552}"/>
    <dgm:cxn modelId="{04E7490D-6A35-4F56-9AEE-D4C7B86FCFFA}" type="presOf" srcId="{918019A5-70A7-4C5F-8CA2-752F08AD4689}" destId="{476DF636-CCB1-4B72-B16E-CAD4A81ADF9F}" srcOrd="0" destOrd="0" presId="urn:microsoft.com/office/officeart/2005/8/layout/process4"/>
    <dgm:cxn modelId="{A2F2CE2A-6C08-4B9A-B26D-5C29C344C951}" srcId="{F069D0B7-FE69-43B7-956F-D4BA8B627CDD}" destId="{C6C32643-63AB-4E57-AF09-318C4AC606F2}" srcOrd="2" destOrd="0" parTransId="{7B7D7741-FDD1-4691-8938-D08FE56F0161}" sibTransId="{A75E750D-680B-469F-BC14-771FDFB80CCA}"/>
    <dgm:cxn modelId="{6B7FBEA0-9BD4-463A-B782-3DAACEFFB39B}" type="presOf" srcId="{C6C32643-63AB-4E57-AF09-318C4AC606F2}" destId="{1E33A08B-1240-4B67-85AA-5846E3CB0A03}" srcOrd="0" destOrd="0" presId="urn:microsoft.com/office/officeart/2005/8/layout/process4"/>
    <dgm:cxn modelId="{2C130AF7-48E0-4F32-B1E7-021ECBF9A1C2}" type="presOf" srcId="{C6C32643-63AB-4E57-AF09-318C4AC606F2}" destId="{84D82E72-8022-4835-99AB-FD11DF3D1E49}" srcOrd="1" destOrd="0" presId="urn:microsoft.com/office/officeart/2005/8/layout/process4"/>
    <dgm:cxn modelId="{1C7475F6-6AB4-4989-A6DE-D8FC9A3E1517}" srcId="{F069D0B7-FE69-43B7-956F-D4BA8B627CDD}" destId="{918019A5-70A7-4C5F-8CA2-752F08AD4689}" srcOrd="0" destOrd="0" parTransId="{86C2BDEE-3809-4D0C-A6D5-0D6923E56100}" sibTransId="{F5B30519-F34A-4549-A8CB-C4C720C56DC3}"/>
    <dgm:cxn modelId="{7493C48D-C895-462C-9A0A-5424913CA943}" type="presParOf" srcId="{6C2557D3-AA28-4F29-A1C6-04866ED415A0}" destId="{442D8D3F-F8C0-4575-B495-03FDC6A78ED4}" srcOrd="0" destOrd="0" presId="urn:microsoft.com/office/officeart/2005/8/layout/process4"/>
    <dgm:cxn modelId="{F2A0A34B-B827-447F-B7EE-E471E7D0274B}" type="presParOf" srcId="{442D8D3F-F8C0-4575-B495-03FDC6A78ED4}" destId="{1E33A08B-1240-4B67-85AA-5846E3CB0A03}" srcOrd="0" destOrd="0" presId="urn:microsoft.com/office/officeart/2005/8/layout/process4"/>
    <dgm:cxn modelId="{F939707A-0777-481B-80DE-4F3C2C31D3B0}" type="presParOf" srcId="{442D8D3F-F8C0-4575-B495-03FDC6A78ED4}" destId="{84D82E72-8022-4835-99AB-FD11DF3D1E49}" srcOrd="1" destOrd="0" presId="urn:microsoft.com/office/officeart/2005/8/layout/process4"/>
    <dgm:cxn modelId="{3417B835-C0FB-4FFF-877E-E8A2D056705E}" type="presParOf" srcId="{442D8D3F-F8C0-4575-B495-03FDC6A78ED4}" destId="{1E61324D-4E15-462E-AACF-C75E980A7815}" srcOrd="2" destOrd="0" presId="urn:microsoft.com/office/officeart/2005/8/layout/process4"/>
    <dgm:cxn modelId="{525F9D01-9696-4C2F-A6F6-5854FE61B891}" type="presParOf" srcId="{1E61324D-4E15-462E-AACF-C75E980A7815}" destId="{9D105846-FE12-438D-8610-39B1BFC929F0}" srcOrd="0" destOrd="0" presId="urn:microsoft.com/office/officeart/2005/8/layout/process4"/>
    <dgm:cxn modelId="{59ADD4FD-45DA-476D-9201-23B1E2700294}" type="presParOf" srcId="{6C2557D3-AA28-4F29-A1C6-04866ED415A0}" destId="{09A138CF-E191-40CB-86C3-2BA233D80701}" srcOrd="1" destOrd="0" presId="urn:microsoft.com/office/officeart/2005/8/layout/process4"/>
    <dgm:cxn modelId="{8EAA2365-33CF-4228-91A5-1E006AF3DB7F}" type="presParOf" srcId="{6C2557D3-AA28-4F29-A1C6-04866ED415A0}" destId="{66756317-FD91-4427-AD4D-1726225C1C6B}" srcOrd="2" destOrd="0" presId="urn:microsoft.com/office/officeart/2005/8/layout/process4"/>
    <dgm:cxn modelId="{6337CABD-C08A-4C91-86CC-A21AFCE544BD}" type="presParOf" srcId="{66756317-FD91-4427-AD4D-1726225C1C6B}" destId="{3E32456F-381C-4452-BC9D-982D541FC13A}" srcOrd="0" destOrd="0" presId="urn:microsoft.com/office/officeart/2005/8/layout/process4"/>
    <dgm:cxn modelId="{A2E863C1-8950-4119-999C-E304600961D2}" type="presParOf" srcId="{66756317-FD91-4427-AD4D-1726225C1C6B}" destId="{72DB6F79-D29A-4B93-B478-7175C8CA80FC}" srcOrd="1" destOrd="0" presId="urn:microsoft.com/office/officeart/2005/8/layout/process4"/>
    <dgm:cxn modelId="{6A6FA041-99D2-42D6-9AB3-33B474FFFE99}" type="presParOf" srcId="{66756317-FD91-4427-AD4D-1726225C1C6B}" destId="{56222801-5853-4C45-9810-F23A10AF36C1}" srcOrd="2" destOrd="0" presId="urn:microsoft.com/office/officeart/2005/8/layout/process4"/>
    <dgm:cxn modelId="{086187AE-CEAD-44C9-828B-11CFB43C17CE}" type="presParOf" srcId="{56222801-5853-4C45-9810-F23A10AF36C1}" destId="{A459DC3C-AFD5-4DAB-A536-E980329FB743}" srcOrd="0" destOrd="0" presId="urn:microsoft.com/office/officeart/2005/8/layout/process4"/>
    <dgm:cxn modelId="{5ADB38F5-42B2-412D-AFF8-4828EF9E34CB}" type="presParOf" srcId="{6C2557D3-AA28-4F29-A1C6-04866ED415A0}" destId="{AB24CED5-28B7-41DD-A531-0D95BD42D949}" srcOrd="3" destOrd="0" presId="urn:microsoft.com/office/officeart/2005/8/layout/process4"/>
    <dgm:cxn modelId="{9181D07D-76F6-47FE-89AD-3A0C13AB8FFB}" type="presParOf" srcId="{6C2557D3-AA28-4F29-A1C6-04866ED415A0}" destId="{7C8203F8-F551-426A-B21B-76966DB19B7B}" srcOrd="4" destOrd="0" presId="urn:microsoft.com/office/officeart/2005/8/layout/process4"/>
    <dgm:cxn modelId="{4B75312A-E3F3-41E9-ADE8-B9B108B0637B}" type="presParOf" srcId="{7C8203F8-F551-426A-B21B-76966DB19B7B}" destId="{476DF636-CCB1-4B72-B16E-CAD4A81ADF9F}" srcOrd="0" destOrd="0" presId="urn:microsoft.com/office/officeart/2005/8/layout/process4"/>
    <dgm:cxn modelId="{CCD292F4-DF00-4006-9E85-86B81EFAE1E8}" type="presParOf" srcId="{7C8203F8-F551-426A-B21B-76966DB19B7B}" destId="{B3BE23BA-3721-4E7C-A8BB-0D594FE472D3}" srcOrd="1" destOrd="0" presId="urn:microsoft.com/office/officeart/2005/8/layout/process4"/>
    <dgm:cxn modelId="{A2F50133-AFE9-4DE7-9F15-856EBFACDA23}" type="presParOf" srcId="{7C8203F8-F551-426A-B21B-76966DB19B7B}" destId="{0351EBAD-2124-489C-BFE7-A3C35DAFBB8E}" srcOrd="2" destOrd="0" presId="urn:microsoft.com/office/officeart/2005/8/layout/process4"/>
    <dgm:cxn modelId="{C7F39784-CFB7-47D9-BBAB-2A82A4524115}" type="presParOf" srcId="{0351EBAD-2124-489C-BFE7-A3C35DAFBB8E}" destId="{4B98862A-5E40-4653-80C0-6087830B101C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1182B06-719A-F64C-8890-790006E4DA86}" type="doc">
      <dgm:prSet loTypeId="urn:microsoft.com/office/officeart/2009/layout/CircleArrowProcess" loCatId="" qsTypeId="urn:microsoft.com/office/officeart/2005/8/quickstyle/3d2" qsCatId="3D" csTypeId="urn:microsoft.com/office/officeart/2005/8/colors/accent0_3" csCatId="mainScheme" phldr="1"/>
      <dgm:spPr/>
      <dgm:t>
        <a:bodyPr/>
        <a:lstStyle/>
        <a:p>
          <a:endParaRPr lang="es-ES"/>
        </a:p>
      </dgm:t>
    </dgm:pt>
    <dgm:pt modelId="{9717994F-EB07-D446-B648-9D54134ED5FF}">
      <dgm:prSet phldrT="[Texto]" custT="1"/>
      <dgm:spPr/>
      <dgm:t>
        <a:bodyPr/>
        <a:lstStyle/>
        <a:p>
          <a:r>
            <a:rPr lang="es-ES" sz="1800" b="1" smtClean="0">
              <a:latin typeface="Arial" panose="020B0604020202020204" pitchFamily="34" charset="0"/>
              <a:cs typeface="Arial" panose="020B0604020202020204" pitchFamily="34" charset="0"/>
            </a:rPr>
            <a:t>DICEN</a:t>
          </a:r>
          <a:endParaRPr lang="es-E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8D5F5B4-8AFC-E545-867F-1B4AAF4C8E9B}" type="parTrans" cxnId="{2D6341F9-A23A-C842-A472-60A603A4C2F8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7D77827-104C-6341-80B3-12CE472C9D6C}" type="sibTrans" cxnId="{2D6341F9-A23A-C842-A472-60A603A4C2F8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9F13E03-FDBE-104E-BA3E-D9F94E695CE7}">
      <dgm:prSet phldrT="[Texto]" custT="1"/>
      <dgm:spPr/>
      <dgm:t>
        <a:bodyPr/>
        <a:lstStyle/>
        <a:p>
          <a:r>
            <a:rPr lang="es-ES" sz="1800" b="1" smtClean="0">
              <a:latin typeface="Arial" panose="020B0604020202020204" pitchFamily="34" charset="0"/>
              <a:cs typeface="Arial" panose="020B0604020202020204" pitchFamily="34" charset="0"/>
            </a:rPr>
            <a:t>HACEN</a:t>
          </a:r>
          <a:endParaRPr lang="es-E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4DA1C1E-4310-3443-B648-736C6FAEB6FC}" type="parTrans" cxnId="{02964637-471F-6349-B0BE-37D9F055D1D0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D6539C0-6C11-D744-9F02-133A03061A8A}" type="sibTrans" cxnId="{02964637-471F-6349-B0BE-37D9F055D1D0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53B0588-9CCF-F44A-AA34-16D907122F57}">
      <dgm:prSet phldrT="[Texto]" custT="1"/>
      <dgm:spPr/>
      <dgm:t>
        <a:bodyPr/>
        <a:lstStyle/>
        <a:p>
          <a:r>
            <a:rPr lang="es-ES" sz="1800" b="1" smtClean="0">
              <a:latin typeface="Arial" panose="020B0604020202020204" pitchFamily="34" charset="0"/>
              <a:cs typeface="Arial" panose="020B0604020202020204" pitchFamily="34" charset="0"/>
            </a:rPr>
            <a:t>ACTÚAN</a:t>
          </a:r>
          <a:endParaRPr lang="es-ES" sz="18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FC31812-17F0-C741-AC54-E3CA4349D2DC}" type="parTrans" cxnId="{4E5F2796-ABF2-3141-98F7-8CD3CACF913D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8CB7561-B278-A04C-9865-969557F3C7D1}" type="sibTrans" cxnId="{4E5F2796-ABF2-3141-98F7-8CD3CACF913D}">
      <dgm:prSet/>
      <dgm:spPr/>
      <dgm:t>
        <a:bodyPr/>
        <a:lstStyle/>
        <a:p>
          <a:endParaRPr lang="es-ES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2C9DA19-E2BE-0344-BC9B-5C0A09610274}" type="pres">
      <dgm:prSet presAssocID="{41182B06-719A-F64C-8890-790006E4DA86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s-ES"/>
        </a:p>
      </dgm:t>
    </dgm:pt>
    <dgm:pt modelId="{7DEBE803-1B50-2541-A6D7-51A05120647E}" type="pres">
      <dgm:prSet presAssocID="{9717994F-EB07-D446-B648-9D54134ED5FF}" presName="Accent1" presStyleCnt="0"/>
      <dgm:spPr/>
      <dgm:t>
        <a:bodyPr/>
        <a:lstStyle/>
        <a:p>
          <a:endParaRPr lang="es-ES"/>
        </a:p>
      </dgm:t>
    </dgm:pt>
    <dgm:pt modelId="{1139903F-E095-144C-8E63-091C6CB8C36A}" type="pres">
      <dgm:prSet presAssocID="{9717994F-EB07-D446-B648-9D54134ED5FF}" presName="Accent" presStyleLbl="node1" presStyleIdx="0" presStyleCnt="3" custLinFactNeighborX="-1830" custLinFactNeighborY="-961"/>
      <dgm:spPr/>
      <dgm:t>
        <a:bodyPr/>
        <a:lstStyle/>
        <a:p>
          <a:endParaRPr lang="es-ES"/>
        </a:p>
      </dgm:t>
    </dgm:pt>
    <dgm:pt modelId="{27E79EE7-41B3-9449-A13D-C79DBF257109}" type="pres">
      <dgm:prSet presAssocID="{9717994F-EB07-D446-B648-9D54134ED5FF}" presName="Parent1" presStyleLbl="revTx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62A581C-BABE-AB45-8C0D-F8759F1BA9D2}" type="pres">
      <dgm:prSet presAssocID="{99F13E03-FDBE-104E-BA3E-D9F94E695CE7}" presName="Accent2" presStyleCnt="0"/>
      <dgm:spPr/>
      <dgm:t>
        <a:bodyPr/>
        <a:lstStyle/>
        <a:p>
          <a:endParaRPr lang="es-ES"/>
        </a:p>
      </dgm:t>
    </dgm:pt>
    <dgm:pt modelId="{B0F59337-9755-0646-91C3-C49C7444F05A}" type="pres">
      <dgm:prSet presAssocID="{99F13E03-FDBE-104E-BA3E-D9F94E695CE7}" presName="Accent" presStyleLbl="node1" presStyleIdx="1" presStyleCnt="3"/>
      <dgm:spPr/>
      <dgm:t>
        <a:bodyPr/>
        <a:lstStyle/>
        <a:p>
          <a:endParaRPr lang="es-ES"/>
        </a:p>
      </dgm:t>
    </dgm:pt>
    <dgm:pt modelId="{2DE5441D-ED92-D540-B6CD-957C2A610BB7}" type="pres">
      <dgm:prSet presAssocID="{99F13E03-FDBE-104E-BA3E-D9F94E695CE7}" presName="Parent2" presStyleLbl="revTx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5114341-5823-0B41-94A8-A8CC0E6B0AD7}" type="pres">
      <dgm:prSet presAssocID="{653B0588-9CCF-F44A-AA34-16D907122F57}" presName="Accent3" presStyleCnt="0"/>
      <dgm:spPr/>
      <dgm:t>
        <a:bodyPr/>
        <a:lstStyle/>
        <a:p>
          <a:endParaRPr lang="es-ES"/>
        </a:p>
      </dgm:t>
    </dgm:pt>
    <dgm:pt modelId="{CF93AD5A-EC65-964F-9139-55B0A1BBFFED}" type="pres">
      <dgm:prSet presAssocID="{653B0588-9CCF-F44A-AA34-16D907122F57}" presName="Accent" presStyleLbl="node1" presStyleIdx="2" presStyleCnt="3"/>
      <dgm:spPr/>
      <dgm:t>
        <a:bodyPr/>
        <a:lstStyle/>
        <a:p>
          <a:endParaRPr lang="es-ES"/>
        </a:p>
      </dgm:t>
    </dgm:pt>
    <dgm:pt modelId="{6A90CC22-AC12-8548-9110-88EFDA594F47}" type="pres">
      <dgm:prSet presAssocID="{653B0588-9CCF-F44A-AA34-16D907122F57}" presName="Parent3" presStyleLbl="revTx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E92A5948-8B09-4376-98A2-FA691AA75DA0}" type="presOf" srcId="{99F13E03-FDBE-104E-BA3E-D9F94E695CE7}" destId="{2DE5441D-ED92-D540-B6CD-957C2A610BB7}" srcOrd="0" destOrd="0" presId="urn:microsoft.com/office/officeart/2009/layout/CircleArrowProcess"/>
    <dgm:cxn modelId="{4E5F2796-ABF2-3141-98F7-8CD3CACF913D}" srcId="{41182B06-719A-F64C-8890-790006E4DA86}" destId="{653B0588-9CCF-F44A-AA34-16D907122F57}" srcOrd="2" destOrd="0" parTransId="{4FC31812-17F0-C741-AC54-E3CA4349D2DC}" sibTransId="{D8CB7561-B278-A04C-9865-969557F3C7D1}"/>
    <dgm:cxn modelId="{66E6C4F5-3BE8-4DB4-B8E4-C2D3538203C0}" type="presOf" srcId="{41182B06-719A-F64C-8890-790006E4DA86}" destId="{D2C9DA19-E2BE-0344-BC9B-5C0A09610274}" srcOrd="0" destOrd="0" presId="urn:microsoft.com/office/officeart/2009/layout/CircleArrowProcess"/>
    <dgm:cxn modelId="{A1D6A251-2F16-44D8-ADD7-A0389AC1ACAC}" type="presOf" srcId="{9717994F-EB07-D446-B648-9D54134ED5FF}" destId="{27E79EE7-41B3-9449-A13D-C79DBF257109}" srcOrd="0" destOrd="0" presId="urn:microsoft.com/office/officeart/2009/layout/CircleArrowProcess"/>
    <dgm:cxn modelId="{02964637-471F-6349-B0BE-37D9F055D1D0}" srcId="{41182B06-719A-F64C-8890-790006E4DA86}" destId="{99F13E03-FDBE-104E-BA3E-D9F94E695CE7}" srcOrd="1" destOrd="0" parTransId="{F4DA1C1E-4310-3443-B648-736C6FAEB6FC}" sibTransId="{ED6539C0-6C11-D744-9F02-133A03061A8A}"/>
    <dgm:cxn modelId="{2D6341F9-A23A-C842-A472-60A603A4C2F8}" srcId="{41182B06-719A-F64C-8890-790006E4DA86}" destId="{9717994F-EB07-D446-B648-9D54134ED5FF}" srcOrd="0" destOrd="0" parTransId="{B8D5F5B4-8AFC-E545-867F-1B4AAF4C8E9B}" sibTransId="{97D77827-104C-6341-80B3-12CE472C9D6C}"/>
    <dgm:cxn modelId="{120D5694-FFCD-4984-A87F-7D23B0B0608B}" type="presOf" srcId="{653B0588-9CCF-F44A-AA34-16D907122F57}" destId="{6A90CC22-AC12-8548-9110-88EFDA594F47}" srcOrd="0" destOrd="0" presId="urn:microsoft.com/office/officeart/2009/layout/CircleArrowProcess"/>
    <dgm:cxn modelId="{2E7AAB6D-6A0F-49C4-80E0-0D8EF30F2360}" type="presParOf" srcId="{D2C9DA19-E2BE-0344-BC9B-5C0A09610274}" destId="{7DEBE803-1B50-2541-A6D7-51A05120647E}" srcOrd="0" destOrd="0" presId="urn:microsoft.com/office/officeart/2009/layout/CircleArrowProcess"/>
    <dgm:cxn modelId="{B5CB8F00-93B8-4D02-B8BD-13FE0D62CDC6}" type="presParOf" srcId="{7DEBE803-1B50-2541-A6D7-51A05120647E}" destId="{1139903F-E095-144C-8E63-091C6CB8C36A}" srcOrd="0" destOrd="0" presId="urn:microsoft.com/office/officeart/2009/layout/CircleArrowProcess"/>
    <dgm:cxn modelId="{9434F153-9630-4AF3-8033-CB8469408A2A}" type="presParOf" srcId="{D2C9DA19-E2BE-0344-BC9B-5C0A09610274}" destId="{27E79EE7-41B3-9449-A13D-C79DBF257109}" srcOrd="1" destOrd="0" presId="urn:microsoft.com/office/officeart/2009/layout/CircleArrowProcess"/>
    <dgm:cxn modelId="{D4354D0C-15C9-4239-B56A-0CE9689FE84E}" type="presParOf" srcId="{D2C9DA19-E2BE-0344-BC9B-5C0A09610274}" destId="{962A581C-BABE-AB45-8C0D-F8759F1BA9D2}" srcOrd="2" destOrd="0" presId="urn:microsoft.com/office/officeart/2009/layout/CircleArrowProcess"/>
    <dgm:cxn modelId="{2C1C50A3-017D-400D-AFD7-30AFB3093B3F}" type="presParOf" srcId="{962A581C-BABE-AB45-8C0D-F8759F1BA9D2}" destId="{B0F59337-9755-0646-91C3-C49C7444F05A}" srcOrd="0" destOrd="0" presId="urn:microsoft.com/office/officeart/2009/layout/CircleArrowProcess"/>
    <dgm:cxn modelId="{5F08294F-F6B6-4401-A38E-36754391A3A3}" type="presParOf" srcId="{D2C9DA19-E2BE-0344-BC9B-5C0A09610274}" destId="{2DE5441D-ED92-D540-B6CD-957C2A610BB7}" srcOrd="3" destOrd="0" presId="urn:microsoft.com/office/officeart/2009/layout/CircleArrowProcess"/>
    <dgm:cxn modelId="{29D63282-42D0-4F0E-8545-9FD2CDC3FE97}" type="presParOf" srcId="{D2C9DA19-E2BE-0344-BC9B-5C0A09610274}" destId="{D5114341-5823-0B41-94A8-A8CC0E6B0AD7}" srcOrd="4" destOrd="0" presId="urn:microsoft.com/office/officeart/2009/layout/CircleArrowProcess"/>
    <dgm:cxn modelId="{9F7ADFD1-BA2B-4041-9752-CFF5200CB8F2}" type="presParOf" srcId="{D5114341-5823-0B41-94A8-A8CC0E6B0AD7}" destId="{CF93AD5A-EC65-964F-9139-55B0A1BBFFED}" srcOrd="0" destOrd="0" presId="urn:microsoft.com/office/officeart/2009/layout/CircleArrowProcess"/>
    <dgm:cxn modelId="{B4A62145-0159-4AE0-BD8A-86BBEB62E77F}" type="presParOf" srcId="{D2C9DA19-E2BE-0344-BC9B-5C0A09610274}" destId="{6A90CC22-AC12-8548-9110-88EFDA594F47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1/layout/TabList">
  <dgm:title val="Lista de fichas"/>
  <dgm:desc val="Se usa para mostrar bloques de información no secuencial o agrupados. Funciona bien con listas con una cantidad pequeña de texto de Nivel 1. El primer elemento de Nivel 2 se muestra junto al texto de Nivel 1. El resto de texto de Nivel 2 aparece debajo del texto de Nivel 1.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927138-8864-4DF5-8804-E44E462B688A}" type="datetimeFigureOut">
              <a:rPr lang="es-ES_tradnl" smtClean="0"/>
              <a:t>02/11/2017</a:t>
            </a:fld>
            <a:endParaRPr lang="es-ES_tradn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_tradn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233185-4867-44F6-9BC3-CCA44D239414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22888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1pPr>
            <a:lvl2pPr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2pPr>
            <a:lvl3pPr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3pPr>
            <a:lvl4pPr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4pPr>
            <a:lvl5pPr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5pPr>
            <a:lvl6pPr marL="2321227" indent="-211021" defTabSz="41471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6pPr>
            <a:lvl7pPr marL="2743269" indent="-211021" defTabSz="41471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7pPr>
            <a:lvl8pPr marL="3165310" indent="-211021" defTabSz="41471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8pPr>
            <a:lvl9pPr marL="3587351" indent="-211021" defTabSz="414715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844083" algn="l"/>
                <a:tab pos="1688165" algn="l"/>
                <a:tab pos="2532248" algn="l"/>
                <a:tab pos="3376331" algn="l"/>
                <a:tab pos="4220413" algn="l"/>
                <a:tab pos="5064496" algn="l"/>
                <a:tab pos="5908578" algn="l"/>
                <a:tab pos="6752661" algn="l"/>
                <a:tab pos="7596744" algn="l"/>
                <a:tab pos="8440826" algn="l"/>
                <a:tab pos="9284909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9pPr>
          </a:lstStyle>
          <a:p>
            <a:fld id="{14EA901D-6214-4124-AD1F-257868F09582}" type="slidenum">
              <a:rPr lang="es-ES" altLang="es-ES">
                <a:solidFill>
                  <a:srgbClr val="000000"/>
                </a:solidFill>
              </a:rPr>
              <a:pPr/>
              <a:t>2</a:t>
            </a:fld>
            <a:endParaRPr lang="es-ES" altLang="es-ES">
              <a:solidFill>
                <a:srgbClr val="000000"/>
              </a:solidFill>
            </a:endParaRPr>
          </a:p>
        </p:txBody>
      </p:sp>
      <p:sp>
        <p:nvSpPr>
          <p:cNvPr id="6147" name="Text Box 1"/>
          <p:cNvSpPr txBox="1">
            <a:spLocks noChangeArrowheads="1"/>
          </p:cNvSpPr>
          <p:nvPr/>
        </p:nvSpPr>
        <p:spPr bwMode="auto">
          <a:xfrm>
            <a:off x="3884463" y="8685878"/>
            <a:ext cx="2972004" cy="4567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87731" tIns="43866" rIns="87731" bIns="43866" anchor="b"/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1pPr>
            <a:lvl2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2pPr>
            <a:lvl3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3pPr>
            <a:lvl4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4pPr>
            <a:lvl5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bg1"/>
                </a:solidFill>
                <a:latin typeface="Arial" charset="0"/>
                <a:ea typeface="MS PGothic" pitchFamily="32" charset="-128"/>
              </a:defRPr>
            </a:lvl9pPr>
          </a:lstStyle>
          <a:p>
            <a:pPr algn="r" eaLnBrk="1" hangingPunct="1">
              <a:buSzPct val="100000"/>
            </a:pPr>
            <a:fld id="{ED5227A3-184B-4589-8403-CED4502AA4F8}" type="slidenum">
              <a:rPr lang="es-ES" altLang="es-ES" sz="1100">
                <a:solidFill>
                  <a:srgbClr val="000000"/>
                </a:solidFill>
              </a:rPr>
              <a:pPr algn="r" eaLnBrk="1" hangingPunct="1">
                <a:buSzPct val="100000"/>
              </a:pPr>
              <a:t>2</a:t>
            </a:fld>
            <a:endParaRPr lang="es-ES" altLang="es-ES" sz="1100">
              <a:solidFill>
                <a:srgbClr val="000000"/>
              </a:solidFill>
            </a:endParaRPr>
          </a:p>
        </p:txBody>
      </p:sp>
      <p:sp>
        <p:nvSpPr>
          <p:cNvPr id="614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solidFill>
            <a:srgbClr val="FFFFFF"/>
          </a:solidFill>
          <a:ln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sp>
      <p:sp>
        <p:nvSpPr>
          <p:cNvPr id="6149" name="Text Box 3"/>
          <p:cNvSpPr txBox="1">
            <a:spLocks noChangeArrowheads="1"/>
          </p:cNvSpPr>
          <p:nvPr/>
        </p:nvSpPr>
        <p:spPr bwMode="auto">
          <a:xfrm>
            <a:off x="685494" y="4342939"/>
            <a:ext cx="5487013" cy="4114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4408" tIns="42204" rIns="84408" bIns="42204" anchor="ctr"/>
          <a:lstStyle/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</a:pPr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21722276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029F4E1-8BBE-4E25-B563-9A7156B36376}" type="slidenum">
              <a:rPr lang="es-ES" altLang="es-ES" smtClean="0"/>
              <a:pPr eaLnBrk="1" hangingPunct="1"/>
              <a:t>36</a:t>
            </a:fld>
            <a:endParaRPr lang="es-ES" altLang="es-E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/>
          </a:p>
        </p:txBody>
      </p:sp>
    </p:spTree>
    <p:extLst>
      <p:ext uri="{BB962C8B-B14F-4D97-AF65-F5344CB8AC3E}">
        <p14:creationId xmlns:p14="http://schemas.microsoft.com/office/powerpoint/2010/main" val="26859772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029F4E1-8BBE-4E25-B563-9A7156B36376}" type="slidenum">
              <a:rPr lang="es-ES" altLang="es-ES" smtClean="0"/>
              <a:pPr eaLnBrk="1" hangingPunct="1"/>
              <a:t>37</a:t>
            </a:fld>
            <a:endParaRPr lang="es-ES" altLang="es-E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/>
          </a:p>
        </p:txBody>
      </p:sp>
    </p:spTree>
    <p:extLst>
      <p:ext uri="{BB962C8B-B14F-4D97-AF65-F5344CB8AC3E}">
        <p14:creationId xmlns:p14="http://schemas.microsoft.com/office/powerpoint/2010/main" val="36816813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029F4E1-8BBE-4E25-B563-9A7156B36376}" type="slidenum">
              <a:rPr lang="es-ES" altLang="es-ES" smtClean="0"/>
              <a:pPr eaLnBrk="1" hangingPunct="1"/>
              <a:t>14</a:t>
            </a:fld>
            <a:endParaRPr lang="es-ES" altLang="es-E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/>
          </a:p>
        </p:txBody>
      </p:sp>
    </p:spTree>
    <p:extLst>
      <p:ext uri="{BB962C8B-B14F-4D97-AF65-F5344CB8AC3E}">
        <p14:creationId xmlns:p14="http://schemas.microsoft.com/office/powerpoint/2010/main" val="25622018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029F4E1-8BBE-4E25-B563-9A7156B36376}" type="slidenum">
              <a:rPr lang="es-ES" altLang="es-ES" smtClean="0"/>
              <a:pPr eaLnBrk="1" hangingPunct="1"/>
              <a:t>26</a:t>
            </a:fld>
            <a:endParaRPr lang="es-ES" altLang="es-E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/>
          </a:p>
        </p:txBody>
      </p:sp>
    </p:spTree>
    <p:extLst>
      <p:ext uri="{BB962C8B-B14F-4D97-AF65-F5344CB8AC3E}">
        <p14:creationId xmlns:p14="http://schemas.microsoft.com/office/powerpoint/2010/main" val="42206271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029F4E1-8BBE-4E25-B563-9A7156B36376}" type="slidenum">
              <a:rPr lang="es-ES" altLang="es-ES" smtClean="0"/>
              <a:pPr eaLnBrk="1" hangingPunct="1"/>
              <a:t>27</a:t>
            </a:fld>
            <a:endParaRPr lang="es-ES" altLang="es-E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/>
          </a:p>
        </p:txBody>
      </p:sp>
    </p:spTree>
    <p:extLst>
      <p:ext uri="{BB962C8B-B14F-4D97-AF65-F5344CB8AC3E}">
        <p14:creationId xmlns:p14="http://schemas.microsoft.com/office/powerpoint/2010/main" val="27657496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029F4E1-8BBE-4E25-B563-9A7156B36376}" type="slidenum">
              <a:rPr lang="es-ES" altLang="es-ES" smtClean="0"/>
              <a:pPr eaLnBrk="1" hangingPunct="1"/>
              <a:t>28</a:t>
            </a:fld>
            <a:endParaRPr lang="es-ES" altLang="es-E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/>
          </a:p>
        </p:txBody>
      </p:sp>
    </p:spTree>
    <p:extLst>
      <p:ext uri="{BB962C8B-B14F-4D97-AF65-F5344CB8AC3E}">
        <p14:creationId xmlns:p14="http://schemas.microsoft.com/office/powerpoint/2010/main" val="3867946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029F4E1-8BBE-4E25-B563-9A7156B36376}" type="slidenum">
              <a:rPr lang="es-ES" altLang="es-ES" smtClean="0"/>
              <a:pPr eaLnBrk="1" hangingPunct="1"/>
              <a:t>29</a:t>
            </a:fld>
            <a:endParaRPr lang="es-ES" altLang="es-E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/>
          </a:p>
        </p:txBody>
      </p:sp>
    </p:spTree>
    <p:extLst>
      <p:ext uri="{BB962C8B-B14F-4D97-AF65-F5344CB8AC3E}">
        <p14:creationId xmlns:p14="http://schemas.microsoft.com/office/powerpoint/2010/main" val="42830170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029F4E1-8BBE-4E25-B563-9A7156B36376}" type="slidenum">
              <a:rPr lang="es-ES" altLang="es-ES" smtClean="0"/>
              <a:pPr eaLnBrk="1" hangingPunct="1"/>
              <a:t>30</a:t>
            </a:fld>
            <a:endParaRPr lang="es-ES" altLang="es-E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/>
          </a:p>
        </p:txBody>
      </p:sp>
    </p:spTree>
    <p:extLst>
      <p:ext uri="{BB962C8B-B14F-4D97-AF65-F5344CB8AC3E}">
        <p14:creationId xmlns:p14="http://schemas.microsoft.com/office/powerpoint/2010/main" val="7886316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61C0AB57-AD3B-42FA-B93B-67B1256228F0}" type="slidenum">
              <a:rPr lang="es-ES" altLang="es-ES"/>
              <a:pPr eaLnBrk="1" hangingPunct="1">
                <a:spcBef>
                  <a:spcPct val="0"/>
                </a:spcBef>
              </a:pPr>
              <a:t>31</a:t>
            </a:fld>
            <a:endParaRPr lang="es-ES" altLang="es-ES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5240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029F4E1-8BBE-4E25-B563-9A7156B36376}" type="slidenum">
              <a:rPr lang="es-ES" altLang="es-ES" smtClean="0"/>
              <a:pPr eaLnBrk="1" hangingPunct="1"/>
              <a:t>35</a:t>
            </a:fld>
            <a:endParaRPr lang="es-ES" altLang="es-ES" smtClean="0"/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s-ES" altLang="es-ES" dirty="0" smtClean="0"/>
          </a:p>
        </p:txBody>
      </p:sp>
    </p:spTree>
    <p:extLst>
      <p:ext uri="{BB962C8B-B14F-4D97-AF65-F5344CB8AC3E}">
        <p14:creationId xmlns:p14="http://schemas.microsoft.com/office/powerpoint/2010/main" val="1734173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847CFC-816F-41D0-AAC0-9BF4FEBC753E}" type="datetimeFigureOut">
              <a:rPr lang="es-ES" smtClean="0"/>
              <a:t>02/11/2017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2FADFE-3B8F-471C-ABF0-DBC7717ECBBC}" type="slidenum">
              <a:rPr lang="es-ES" smtClean="0"/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2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image" Target="../media/image15.png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jpe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0" Type="http://schemas.openxmlformats.org/officeDocument/2006/relationships/image" Target="../media/image11.jpe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rtve.es/alacarta/videos/telediario/codigo-conducta-contra-turismo-sexual-abuso-menores/1586424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olicia.es/formulario_generico.php?ordenes=6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s://www.gdt.guardiacivil.es/webgdt/denuncia.php" TargetMode="External"/><Relationship Id="rId4" Type="http://schemas.openxmlformats.org/officeDocument/2006/relationships/hyperlink" Target="mailto:trata@policia.es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5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9.jpeg"/><Relationship Id="rId4" Type="http://schemas.openxmlformats.org/officeDocument/2006/relationships/image" Target="../media/image38.jpe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Relationship Id="rId9" Type="http://schemas.openxmlformats.org/officeDocument/2006/relationships/image" Target="../media/image33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emf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7.emf"/><Relationship Id="rId17" Type="http://schemas.openxmlformats.org/officeDocument/2006/relationships/image" Target="../media/image62.png"/><Relationship Id="rId2" Type="http://schemas.openxmlformats.org/officeDocument/2006/relationships/image" Target="../media/image47.png"/><Relationship Id="rId16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hyperlink" Target="http://www.ecpat-spain.org/code.asp?sec=9" TargetMode="External"/><Relationship Id="rId3" Type="http://schemas.openxmlformats.org/officeDocument/2006/relationships/hyperlink" Target="http://www.ecpat-spain.org/" TargetMode="External"/><Relationship Id="rId7" Type="http://schemas.openxmlformats.org/officeDocument/2006/relationships/hyperlink" Target="http://www.riu.com/es/sostenibilidad/inicio.jsp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youtube.com/watch?v=FNNe3j3DKKk&amp;feature=youtu.be" TargetMode="External"/><Relationship Id="rId5" Type="http://schemas.openxmlformats.org/officeDocument/2006/relationships/hyperlink" Target="http://www.ecpat-spain.org/empresa.asp?sec=13" TargetMode="External"/><Relationship Id="rId4" Type="http://schemas.openxmlformats.org/officeDocument/2006/relationships/hyperlink" Target="http://www.ecpat-spain.org/programas.asp" TargetMode="External"/><Relationship Id="rId9" Type="http://schemas.openxmlformats.org/officeDocument/2006/relationships/image" Target="../media/image3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portchildsextourism.eu" TargetMode="External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6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diagramLayout" Target="../diagrams/layout2.xml"/><Relationship Id="rId7" Type="http://schemas.openxmlformats.org/officeDocument/2006/relationships/image" Target="../media/image15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mt-KNqT7sgY" TargetMode="External"/><Relationship Id="rId2" Type="http://schemas.openxmlformats.org/officeDocument/2006/relationships/hyperlink" Target="https://www.youtube.com/watch?v=3-EYIY287LI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4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" y="5517232"/>
            <a:ext cx="4360072" cy="1232543"/>
          </a:xfrm>
          <a:prstGeom prst="rect">
            <a:avLst/>
          </a:prstGeom>
        </p:spPr>
      </p:pic>
      <p:sp>
        <p:nvSpPr>
          <p:cNvPr id="4" name="Documento 3"/>
          <p:cNvSpPr/>
          <p:nvPr/>
        </p:nvSpPr>
        <p:spPr>
          <a:xfrm flipH="1">
            <a:off x="304800" y="346075"/>
            <a:ext cx="8128000" cy="5634038"/>
          </a:xfrm>
          <a:prstGeom prst="flowChartDocument">
            <a:avLst/>
          </a:prstGeom>
          <a:noFill/>
          <a:ln w="38100" cmpd="sng">
            <a:solidFill>
              <a:srgbClr val="10253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/>
          </a:p>
        </p:txBody>
      </p:sp>
      <p:sp>
        <p:nvSpPr>
          <p:cNvPr id="7" name="Documento 6"/>
          <p:cNvSpPr/>
          <p:nvPr/>
        </p:nvSpPr>
        <p:spPr>
          <a:xfrm>
            <a:off x="304800" y="188641"/>
            <a:ext cx="8423275" cy="2774554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/>
          </a:p>
        </p:txBody>
      </p:sp>
      <p:sp>
        <p:nvSpPr>
          <p:cNvPr id="14342" name="CuadroTexto 8"/>
          <p:cNvSpPr txBox="1">
            <a:spLocks noChangeArrowheads="1"/>
          </p:cNvSpPr>
          <p:nvPr/>
        </p:nvSpPr>
        <p:spPr bwMode="auto">
          <a:xfrm>
            <a:off x="6078538" y="3629025"/>
            <a:ext cx="1841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eaLnBrk="1" hangingPunct="1"/>
            <a:endParaRPr lang="es-ES" sz="1800"/>
          </a:p>
        </p:txBody>
      </p:sp>
      <p:pic>
        <p:nvPicPr>
          <p:cNvPr id="14344" name="Imagen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302" y="4437112"/>
            <a:ext cx="3035075" cy="107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uadroTexto 1"/>
          <p:cNvSpPr txBox="1"/>
          <p:nvPr/>
        </p:nvSpPr>
        <p:spPr>
          <a:xfrm>
            <a:off x="795338" y="542700"/>
            <a:ext cx="7497015" cy="21467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_tradnl" sz="2400" b="1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a iniciativa global para la protección de </a:t>
            </a:r>
            <a:r>
              <a:rPr lang="es-ES_tradnl" sz="24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s-ES_tradnl" sz="2400" b="1" i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ños/as y adolescentes  frente a la explotación sexual comercial</a:t>
            </a:r>
          </a:p>
          <a:p>
            <a:pPr>
              <a:lnSpc>
                <a:spcPct val="150000"/>
              </a:lnSpc>
            </a:pPr>
            <a:endParaRPr lang="es-E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304800" y="3193977"/>
            <a:ext cx="482887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Responsabilidad social en la prevención de situaciones de violencia contra la infancia.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Explotación y </a:t>
            </a:r>
            <a:r>
              <a:rPr lang="es-E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urismo </a:t>
            </a:r>
            <a:r>
              <a:rPr lang="es-ES" sz="2000" b="1" dirty="0">
                <a:latin typeface="Arial" panose="020B0604020202020204" pitchFamily="34" charset="0"/>
                <a:cs typeface="Arial" panose="020B0604020202020204" pitchFamily="34" charset="0"/>
              </a:rPr>
              <a:t>sexual Infantil</a:t>
            </a:r>
          </a:p>
        </p:txBody>
      </p:sp>
      <p:pic>
        <p:nvPicPr>
          <p:cNvPr id="12" name="Picture 16" descr="C:\Users\T\Desktop\Hercules_07-09-13\ESIA_ECPAT España_Actividades_2013\ESIA_ECPAT España_2013_Jornada_Tráfico\RED-ESCIA_Logo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360" y="2918029"/>
            <a:ext cx="3376420" cy="937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2002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0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7" y="6164366"/>
            <a:ext cx="2339751" cy="661421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12" y="0"/>
            <a:ext cx="6418662" cy="6814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5178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332656"/>
            <a:ext cx="8080200" cy="6408435"/>
          </a:xfrm>
          <a:prstGeom prst="rect">
            <a:avLst/>
          </a:prstGeom>
        </p:spPr>
      </p:pic>
      <p:pic>
        <p:nvPicPr>
          <p:cNvPr id="2" name="10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033" y="6021288"/>
            <a:ext cx="2339751" cy="66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9576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adroTexto 9"/>
          <p:cNvSpPr txBox="1"/>
          <p:nvPr/>
        </p:nvSpPr>
        <p:spPr>
          <a:xfrm>
            <a:off x="0" y="-8613"/>
            <a:ext cx="9144000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ESCNNA vs ASI</a:t>
            </a:r>
          </a:p>
        </p:txBody>
      </p:sp>
      <p:pic>
        <p:nvPicPr>
          <p:cNvPr id="14" name="13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193" y="6012264"/>
            <a:ext cx="2877806" cy="813523"/>
          </a:xfrm>
          <a:prstGeom prst="rect">
            <a:avLst/>
          </a:prstGeom>
        </p:spPr>
      </p:pic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058391"/>
              </p:ext>
            </p:extLst>
          </p:nvPr>
        </p:nvGraphicFramePr>
        <p:xfrm>
          <a:off x="179512" y="908720"/>
          <a:ext cx="8784976" cy="401324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392488"/>
                <a:gridCol w="4392488"/>
              </a:tblGrid>
              <a:tr h="739282">
                <a:tc>
                  <a:txBody>
                    <a:bodyPr/>
                    <a:lstStyle/>
                    <a:p>
                      <a:pPr algn="ctr"/>
                      <a:endParaRPr lang="es-ES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ES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ESCNNA</a:t>
                      </a:r>
                      <a:endParaRPr lang="es-ES_tradnl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ES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ES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Abuso sexual Infantil</a:t>
                      </a:r>
                      <a:endParaRPr lang="es-ES_tradnl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Verdana" panose="020B060403050404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</a:tr>
              <a:tr h="1056117">
                <a:tc>
                  <a:txBody>
                    <a:bodyPr/>
                    <a:lstStyle/>
                    <a:p>
                      <a:pPr algn="ctr"/>
                      <a:endParaRPr lang="es-ES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s-E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resor es un extraño para el niño/a</a:t>
                      </a:r>
                      <a:endParaRPr lang="es-ES_trad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</a:t>
                      </a:r>
                      <a:r>
                        <a:rPr lang="es-E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lto porcentaje de agresores son personas conocidas  del entorno del niño/a (80%)</a:t>
                      </a:r>
                      <a:endParaRPr lang="es-ES_trad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</a:tr>
              <a:tr h="739282">
                <a:tc>
                  <a:txBody>
                    <a:bodyPr/>
                    <a:lstStyle/>
                    <a:p>
                      <a:r>
                        <a:rPr lang="es-E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milia</a:t>
                      </a:r>
                      <a:r>
                        <a:rPr lang="es-E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uede ser conocedora de la explotación (medio de supervivencia)</a:t>
                      </a:r>
                      <a:endParaRPr lang="es-ES_trad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uso suele ser oculto al contexto familiar (secreto)</a:t>
                      </a:r>
                      <a:endParaRPr lang="es-ES_trad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739282">
                <a:tc>
                  <a:txBody>
                    <a:bodyPr/>
                    <a:lstStyle/>
                    <a:p>
                      <a:r>
                        <a:rPr lang="es-E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uede expresar y verbalizar  emociones</a:t>
                      </a:r>
                      <a:r>
                        <a:rPr lang="es-E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y </a:t>
                      </a:r>
                      <a:r>
                        <a:rPr lang="es-E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tuaciones relacionadas con</a:t>
                      </a:r>
                      <a:r>
                        <a:rPr lang="es-E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la ESC</a:t>
                      </a:r>
                      <a:endParaRPr lang="es-ES_trad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E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ele ser reticente a hablar de las situaciones</a:t>
                      </a:r>
                      <a:r>
                        <a:rPr lang="es-ES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 abuso</a:t>
                      </a:r>
                      <a:endParaRPr lang="es-ES_trad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739282">
                <a:tc>
                  <a:txBody>
                    <a:bodyPr/>
                    <a:lstStyle/>
                    <a:p>
                      <a:r>
                        <a:rPr lang="es-E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 de violencia visible y “normalizada” socialmente</a:t>
                      </a:r>
                      <a:endParaRPr lang="es-ES_trad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S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 de violencia desconocida pero rechazada y denunciada socialmente</a:t>
                      </a:r>
                      <a:endParaRPr lang="es-ES_tradnl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8730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7"/>
          <p:cNvSpPr txBox="1"/>
          <p:nvPr/>
        </p:nvSpPr>
        <p:spPr>
          <a:xfrm>
            <a:off x="411163" y="157163"/>
            <a:ext cx="8543925" cy="61063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000" b="1" dirty="0">
                <a:solidFill>
                  <a:schemeClr val="bg1"/>
                </a:solidFill>
                <a:latin typeface="Verdana"/>
                <a:cs typeface="Verdana"/>
              </a:rPr>
              <a:t>Factores en el desarrollo de la </a:t>
            </a:r>
            <a:r>
              <a:rPr lang="es-ES" sz="2000" b="1" dirty="0" smtClean="0">
                <a:solidFill>
                  <a:schemeClr val="bg1"/>
                </a:solidFill>
                <a:latin typeface="Verdana"/>
                <a:cs typeface="Verdana"/>
              </a:rPr>
              <a:t>ESCNNA</a:t>
            </a:r>
            <a:endParaRPr lang="es-ES" sz="20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sp>
        <p:nvSpPr>
          <p:cNvPr id="18" name="CuadroTexto 17"/>
          <p:cNvSpPr txBox="1"/>
          <p:nvPr/>
        </p:nvSpPr>
        <p:spPr>
          <a:xfrm>
            <a:off x="3792538" y="5813425"/>
            <a:ext cx="1571264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a</a:t>
            </a:r>
          </a:p>
        </p:txBody>
      </p:sp>
      <p:sp>
        <p:nvSpPr>
          <p:cNvPr id="19" name="Pentágono 18"/>
          <p:cNvSpPr/>
          <p:nvPr/>
        </p:nvSpPr>
        <p:spPr>
          <a:xfrm rot="5400000">
            <a:off x="2570252" y="-379413"/>
            <a:ext cx="4224337" cy="8161338"/>
          </a:xfrm>
          <a:prstGeom prst="homePlate">
            <a:avLst>
              <a:gd name="adj" fmla="val 9412"/>
            </a:avLst>
          </a:prstGeom>
          <a:solidFill>
            <a:schemeClr val="bg1">
              <a:lumMod val="95000"/>
            </a:schemeClr>
          </a:solidFill>
          <a:ln>
            <a:solidFill>
              <a:srgbClr val="1025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931863" y="1589088"/>
            <a:ext cx="3531736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es Culturales y Sociales</a:t>
            </a:r>
          </a:p>
        </p:txBody>
      </p:sp>
      <p:sp>
        <p:nvSpPr>
          <p:cNvPr id="21" name="CuadroTexto 20"/>
          <p:cNvSpPr txBox="1"/>
          <p:nvPr/>
        </p:nvSpPr>
        <p:spPr>
          <a:xfrm>
            <a:off x="755576" y="2085975"/>
            <a:ext cx="3592587" cy="407988"/>
          </a:xfrm>
          <a:prstGeom prst="roundRect">
            <a:avLst/>
          </a:prstGeom>
          <a:solidFill>
            <a:schemeClr val="bg1"/>
          </a:solidFill>
          <a:ln w="12700" cmpd="sng"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Consumismo</a:t>
            </a:r>
          </a:p>
        </p:txBody>
      </p:sp>
      <p:sp>
        <p:nvSpPr>
          <p:cNvPr id="22" name="CuadroTexto 21"/>
          <p:cNvSpPr txBox="1"/>
          <p:nvPr/>
        </p:nvSpPr>
        <p:spPr>
          <a:xfrm>
            <a:off x="755576" y="2614613"/>
            <a:ext cx="3592587" cy="715089"/>
          </a:xfrm>
          <a:prstGeom prst="roundRect">
            <a:avLst/>
          </a:prstGeom>
          <a:solidFill>
            <a:schemeClr val="bg1"/>
          </a:solidFill>
          <a:ln w="12700" cmpd="sng"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"/>
            </a:defPPr>
          </a:lstStyle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Cultura de NO respeto hacia los Derechos Humanos</a:t>
            </a:r>
          </a:p>
        </p:txBody>
      </p:sp>
      <p:sp>
        <p:nvSpPr>
          <p:cNvPr id="23" name="CuadroTexto 22"/>
          <p:cNvSpPr txBox="1"/>
          <p:nvPr/>
        </p:nvSpPr>
        <p:spPr>
          <a:xfrm>
            <a:off x="755575" y="3405188"/>
            <a:ext cx="3592587" cy="1022350"/>
          </a:xfrm>
          <a:prstGeom prst="roundRect">
            <a:avLst/>
          </a:prstGeom>
          <a:solidFill>
            <a:schemeClr val="bg1"/>
          </a:solidFill>
          <a:ln w="12700" cmpd="sng"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"/>
            </a:defPPr>
          </a:lstStyle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Tolerancia hacia la violencia y las </a:t>
            </a:r>
          </a:p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desigualdades sociales</a:t>
            </a:r>
          </a:p>
        </p:txBody>
      </p:sp>
      <p:sp>
        <p:nvSpPr>
          <p:cNvPr id="24" name="CuadroTexto 23"/>
          <p:cNvSpPr txBox="1"/>
          <p:nvPr/>
        </p:nvSpPr>
        <p:spPr>
          <a:xfrm>
            <a:off x="755576" y="4548982"/>
            <a:ext cx="3592586" cy="715962"/>
          </a:xfrm>
          <a:prstGeom prst="roundRect">
            <a:avLst/>
          </a:prstGeom>
          <a:solidFill>
            <a:schemeClr val="bg1"/>
          </a:solidFill>
          <a:ln w="12700" cmpd="sng"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"/>
            </a:defPPr>
          </a:lstStyle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Conceptos erróneos sobre la salud sexual</a:t>
            </a:r>
          </a:p>
        </p:txBody>
      </p:sp>
      <p:sp>
        <p:nvSpPr>
          <p:cNvPr id="34825" name="CuadroTexto 24"/>
          <p:cNvSpPr txBox="1">
            <a:spLocks noChangeArrowheads="1"/>
          </p:cNvSpPr>
          <p:nvPr/>
        </p:nvSpPr>
        <p:spPr bwMode="auto">
          <a:xfrm>
            <a:off x="4700588" y="1589088"/>
            <a:ext cx="32115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s-ES" sz="1800" b="1" dirty="0">
                <a:solidFill>
                  <a:srgbClr val="10253F"/>
                </a:solidFill>
              </a:rPr>
              <a:t>Factores Económicos y Políticos</a:t>
            </a:r>
          </a:p>
        </p:txBody>
      </p:sp>
      <p:sp>
        <p:nvSpPr>
          <p:cNvPr id="26" name="CuadroTexto 25"/>
          <p:cNvSpPr txBox="1"/>
          <p:nvPr/>
        </p:nvSpPr>
        <p:spPr>
          <a:xfrm>
            <a:off x="4700588" y="2078038"/>
            <a:ext cx="3544887" cy="1327150"/>
          </a:xfrm>
          <a:prstGeom prst="roundRect">
            <a:avLst/>
          </a:prstGeom>
          <a:solidFill>
            <a:schemeClr val="bg1"/>
          </a:solidFill>
          <a:ln w="12700" cmpd="sng"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"/>
            </a:defPPr>
          </a:lstStyle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Debilidad del Estado y ausencia de políticas sociales para la </a:t>
            </a:r>
          </a:p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protección </a:t>
            </a:r>
          </a:p>
        </p:txBody>
      </p:sp>
      <p:sp>
        <p:nvSpPr>
          <p:cNvPr id="27" name="CuadroTexto 26"/>
          <p:cNvSpPr txBox="1"/>
          <p:nvPr/>
        </p:nvSpPr>
        <p:spPr>
          <a:xfrm>
            <a:off x="4772983" y="3590925"/>
            <a:ext cx="3472491" cy="406400"/>
          </a:xfrm>
          <a:prstGeom prst="roundRect">
            <a:avLst/>
          </a:prstGeom>
          <a:solidFill>
            <a:schemeClr val="bg1"/>
          </a:solidFill>
          <a:ln w="12700" cmpd="sng"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"/>
            </a:defPPr>
          </a:lstStyle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Impunidad y corrupción</a:t>
            </a:r>
          </a:p>
        </p:txBody>
      </p:sp>
      <p:sp>
        <p:nvSpPr>
          <p:cNvPr id="28" name="CuadroTexto 27"/>
          <p:cNvSpPr txBox="1"/>
          <p:nvPr/>
        </p:nvSpPr>
        <p:spPr>
          <a:xfrm>
            <a:off x="4772984" y="4293096"/>
            <a:ext cx="3472490" cy="715962"/>
          </a:xfrm>
          <a:prstGeom prst="roundRect">
            <a:avLst/>
          </a:prstGeom>
          <a:solidFill>
            <a:schemeClr val="bg1"/>
          </a:solidFill>
          <a:ln w="12700" cmpd="sng"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s-ES"/>
            </a:defPPr>
          </a:lstStyle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Desconocimiento sobre la dinámica de la ESCNNA</a:t>
            </a:r>
          </a:p>
        </p:txBody>
      </p:sp>
      <p:pic>
        <p:nvPicPr>
          <p:cNvPr id="25" name="24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193" y="6012264"/>
            <a:ext cx="2877806" cy="8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571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1371600"/>
            <a:ext cx="9144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>
              <a:lnSpc>
                <a:spcPct val="150000"/>
              </a:lnSpc>
            </a:pPr>
            <a:r>
              <a:rPr lang="es-ES_tradnl" altLang="es-ES" sz="1400">
                <a:solidFill>
                  <a:srgbClr val="333399"/>
                </a:solidFill>
              </a:rPr>
              <a:t>	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8" name="7 Rectángulo"/>
          <p:cNvSpPr/>
          <p:nvPr/>
        </p:nvSpPr>
        <p:spPr>
          <a:xfrm>
            <a:off x="0" y="0"/>
            <a:ext cx="88392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2000" b="1" dirty="0">
                <a:latin typeface="Century Gothic" pitchFamily="34" charset="0"/>
              </a:rPr>
              <a:t>MARCO DE TRABAJO</a:t>
            </a:r>
          </a:p>
          <a:p>
            <a:pPr>
              <a:lnSpc>
                <a:spcPct val="150000"/>
              </a:lnSpc>
              <a:defRPr/>
            </a:pPr>
            <a:endParaRPr lang="es-ES" sz="2000" b="1" dirty="0">
              <a:latin typeface="Century Gothic" pitchFamily="34" charset="0"/>
            </a:endParaRPr>
          </a:p>
        </p:txBody>
      </p:sp>
      <p:sp>
        <p:nvSpPr>
          <p:cNvPr id="12" name="11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ónde ocurre</a:t>
            </a:r>
            <a:endParaRPr lang="es-ES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6205077"/>
            <a:ext cx="2195734" cy="620709"/>
          </a:xfrm>
          <a:prstGeom prst="rect">
            <a:avLst/>
          </a:prstGeom>
        </p:spPr>
      </p:pic>
      <p:sp>
        <p:nvSpPr>
          <p:cNvPr id="7" name="6 CuadroTexto"/>
          <p:cNvSpPr txBox="1"/>
          <p:nvPr/>
        </p:nvSpPr>
        <p:spPr>
          <a:xfrm>
            <a:off x="166548" y="685800"/>
            <a:ext cx="896448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s-ES" b="1" dirty="0" smtClean="0">
                <a:solidFill>
                  <a:schemeClr val="tx2">
                    <a:lumMod val="50000"/>
                  </a:schemeClr>
                </a:solidFill>
                <a:latin typeface="Verdana"/>
                <a:cs typeface="Verdana"/>
              </a:rPr>
              <a:t>ESCNNA-T es un fenómeno de </a:t>
            </a:r>
            <a:r>
              <a:rPr lang="es-ES" b="1" u="sng" dirty="0" smtClean="0">
                <a:solidFill>
                  <a:schemeClr val="tx2">
                    <a:lumMod val="50000"/>
                  </a:schemeClr>
                </a:solidFill>
                <a:latin typeface="Verdana"/>
                <a:cs typeface="Verdana"/>
              </a:rPr>
              <a:t>escala mundial</a:t>
            </a:r>
            <a:r>
              <a:rPr lang="es-ES" b="1" dirty="0" smtClean="0">
                <a:solidFill>
                  <a:schemeClr val="tx2">
                    <a:lumMod val="50000"/>
                  </a:schemeClr>
                </a:solidFill>
                <a:latin typeface="Verdana"/>
                <a:cs typeface="Verdana"/>
              </a:rPr>
              <a:t>. Hoy todos los países son considerados emisores y de destino frente a esta forma de explotación.</a:t>
            </a:r>
            <a:endParaRPr lang="es-ES_tradnl" dirty="0">
              <a:latin typeface="Century Gothic" panose="020B050202020202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833265"/>
            <a:ext cx="6191250" cy="200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252" y="4293096"/>
            <a:ext cx="375285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4136058"/>
            <a:ext cx="2398787" cy="1145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0349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smtClean="0"/>
              <a:t>Vídeo:</a:t>
            </a:r>
          </a:p>
          <a:p>
            <a:pPr marL="0" indent="0">
              <a:buNone/>
            </a:pPr>
            <a:r>
              <a:rPr lang="es-ES" dirty="0" smtClean="0"/>
              <a:t>Actúa contra la ESCIA</a:t>
            </a:r>
            <a:endParaRPr lang="es-ES" dirty="0"/>
          </a:p>
        </p:txBody>
      </p:sp>
      <p:pic>
        <p:nvPicPr>
          <p:cNvPr id="4" name="10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6205077"/>
            <a:ext cx="2195734" cy="620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750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57200" y="620688"/>
            <a:ext cx="8229600" cy="5505475"/>
          </a:xfrm>
        </p:spPr>
        <p:txBody>
          <a:bodyPr>
            <a:normAutofit/>
          </a:bodyPr>
          <a:lstStyle/>
          <a:p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Hay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lguno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vídeos que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quizá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drían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tilizar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yo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los he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mpleado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alguna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ez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y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vocan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reacciones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mportane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en el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úblico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 Son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mpaña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ensbilización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ngo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sta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ero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quizá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se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drían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ñadir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lguna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á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ctuale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obre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ata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Human </a:t>
            </a:r>
            <a:r>
              <a:rPr lang="es-ES" sz="2000" dirty="0" err="1">
                <a:latin typeface="Arial" panose="020B0604020202020204" pitchFamily="34" charset="0"/>
                <a:cs typeface="Arial" panose="020B0604020202020204" pitchFamily="34" charset="0"/>
              </a:rPr>
              <a:t>Trafficking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 UN.GIFT: https://www.youtube.com/watch?v=3-EYIY287LI</a:t>
            </a:r>
            <a:endParaRPr lang="es-ES" sz="2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Human </a:t>
            </a:r>
            <a:r>
              <a:rPr lang="es-ES" sz="2000" dirty="0" err="1">
                <a:latin typeface="Arial" panose="020B0604020202020204" pitchFamily="34" charset="0"/>
                <a:cs typeface="Arial" panose="020B0604020202020204" pitchFamily="34" charset="0"/>
              </a:rPr>
              <a:t>Trafficking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2000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 Sexual </a:t>
            </a:r>
            <a:r>
              <a:rPr lang="es-ES" sz="2000" dirty="0" err="1">
                <a:latin typeface="Arial" panose="020B0604020202020204" pitchFamily="34" charset="0"/>
                <a:cs typeface="Arial" panose="020B0604020202020204" pitchFamily="34" charset="0"/>
              </a:rPr>
              <a:t>purposes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. The </a:t>
            </a:r>
            <a:r>
              <a:rPr lang="es-ES" sz="2000" dirty="0" err="1">
                <a:latin typeface="Arial" panose="020B0604020202020204" pitchFamily="34" charset="0"/>
                <a:cs typeface="Arial" panose="020B0604020202020204" pitchFamily="34" charset="0"/>
              </a:rPr>
              <a:t>Body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 Shop: </a:t>
            </a:r>
            <a:r>
              <a:rPr lang="es-ES" sz="2000" dirty="0" err="1">
                <a:latin typeface="Arial" panose="020B0604020202020204" pitchFamily="34" charset="0"/>
                <a:cs typeface="Arial" panose="020B0604020202020204" pitchFamily="34" charset="0"/>
              </a:rPr>
              <a:t>https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://</a:t>
            </a:r>
            <a:r>
              <a:rPr lang="es-ES" sz="2000" dirty="0" err="1">
                <a:latin typeface="Arial" panose="020B0604020202020204" pitchFamily="34" charset="0"/>
                <a:cs typeface="Arial" panose="020B0604020202020204" pitchFamily="34" charset="0"/>
              </a:rPr>
              <a:t>www.youtube.com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s-ES" sz="2000" dirty="0" err="1">
                <a:latin typeface="Arial" panose="020B0604020202020204" pitchFamily="34" charset="0"/>
                <a:cs typeface="Arial" panose="020B0604020202020204" pitchFamily="34" charset="0"/>
              </a:rPr>
              <a:t>watch?v</a:t>
            </a: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=mt-KNqT7sgY 	</a:t>
            </a:r>
            <a:endParaRPr lang="ca-E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obre las 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íctima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ca-ES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estimonios</a:t>
            </a:r>
            <a:r>
              <a:rPr lang="ca-E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en 1ª persona):</a:t>
            </a:r>
          </a:p>
          <a:p>
            <a:pPr lvl="1"/>
            <a:r>
              <a:rPr lang="ca-E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Red NNACE:  </a:t>
            </a:r>
            <a:r>
              <a:rPr lang="ca-ES" sz="2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a-E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https://www.youtube.com/watch?v=klTM9pID4ek&amp;feature=endscreen</a:t>
            </a:r>
            <a:endParaRPr lang="ca-E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906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7538" y="2260600"/>
            <a:ext cx="3257550" cy="2855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uadroTexto 31"/>
          <p:cNvSpPr txBox="1">
            <a:spLocks noChangeArrowheads="1"/>
          </p:cNvSpPr>
          <p:nvPr/>
        </p:nvSpPr>
        <p:spPr bwMode="auto">
          <a:xfrm>
            <a:off x="646113" y="1755775"/>
            <a:ext cx="4857750" cy="3699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>
              <a:lnSpc>
                <a:spcPct val="150000"/>
              </a:lnSpc>
            </a:pPr>
            <a:r>
              <a:rPr lang="es-ES" sz="1600" dirty="0">
                <a:latin typeface="Arial" panose="020B0604020202020204" pitchFamily="34" charset="0"/>
                <a:cs typeface="Arial" panose="020B0604020202020204" pitchFamily="34" charset="0"/>
              </a:rPr>
              <a:t>Consiste en “</a:t>
            </a:r>
            <a:r>
              <a:rPr lang="es-ES" altLang="ja-JP" sz="1600" i="1" dirty="0">
                <a:latin typeface="Arial" panose="020B0604020202020204" pitchFamily="34" charset="0"/>
                <a:cs typeface="Arial" panose="020B0604020202020204" pitchFamily="34" charset="0"/>
              </a:rPr>
              <a:t>la explotación sexual de niños/as y adolescentes por persona o personas que se trasladan desde su lugar de origen o país natal con el objetivo de utilizar a niños/as y adolescentes en actividades sexuales que implican alguna forma de remuneración (en dinero o especie –indumentaria, alimentos o algún otro tipo de atención-). También puede implicar a la persona que se desplaza dentro de su propio país con este objetivo</a:t>
            </a:r>
            <a:r>
              <a:rPr lang="es-ES" sz="1600" i="1" dirty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r>
              <a:rPr lang="es-ES" altLang="ja-JP" sz="1600" i="1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 eaLnBrk="1" hangingPunct="1">
              <a:lnSpc>
                <a:spcPct val="150000"/>
              </a:lnSpc>
            </a:pPr>
            <a:r>
              <a:rPr lang="es-ES" sz="1400" i="1" dirty="0">
                <a:latin typeface="Arial" panose="020B0604020202020204" pitchFamily="34" charset="0"/>
                <a:cs typeface="Arial" panose="020B0604020202020204" pitchFamily="34" charset="0"/>
              </a:rPr>
              <a:t>ECPAT International (2008)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411163" y="157163"/>
            <a:ext cx="8543925" cy="1230312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000" b="1" dirty="0">
                <a:solidFill>
                  <a:schemeClr val="bg1"/>
                </a:solidFill>
                <a:latin typeface="Verdana"/>
                <a:cs typeface="Verdana"/>
              </a:rPr>
              <a:t>La Explotación Sexual Infantil asociada a los Viajes y el Turismo (Turismo Sexual Infantil)</a:t>
            </a: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193" y="6012264"/>
            <a:ext cx="2877806" cy="8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3567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6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193" y="6012264"/>
            <a:ext cx="2877806" cy="813523"/>
          </a:xfrm>
          <a:prstGeom prst="rect">
            <a:avLst/>
          </a:prstGeom>
        </p:spPr>
      </p:pic>
      <p:sp>
        <p:nvSpPr>
          <p:cNvPr id="9" name="CuadroTexto 9"/>
          <p:cNvSpPr txBox="1"/>
          <p:nvPr/>
        </p:nvSpPr>
        <p:spPr>
          <a:xfrm>
            <a:off x="0" y="0"/>
            <a:ext cx="9143999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Datos sobre la ESCNNA-en los viajes y el turismo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06" r="74288" b="11161"/>
          <a:stretch/>
        </p:blipFill>
        <p:spPr>
          <a:xfrm>
            <a:off x="107504" y="2383697"/>
            <a:ext cx="1593273" cy="4489792"/>
          </a:xfrm>
          <a:prstGeom prst="rect">
            <a:avLst/>
          </a:prstGeom>
        </p:spPr>
      </p:pic>
      <p:sp>
        <p:nvSpPr>
          <p:cNvPr id="5" name="4 CuadroTexto"/>
          <p:cNvSpPr txBox="1"/>
          <p:nvPr/>
        </p:nvSpPr>
        <p:spPr>
          <a:xfrm>
            <a:off x="107504" y="894506"/>
            <a:ext cx="88569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s-ES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i </a:t>
            </a:r>
            <a:r>
              <a:rPr lang="es-ES" b="1" u="sng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millos de niños/as y adolescentes son víctimas de explotación sexual cada año en el mundo </a:t>
            </a:r>
            <a:r>
              <a:rPr lang="es-ES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 en su gran mayoría son niñas</a:t>
            </a:r>
            <a:r>
              <a:rPr lang="es-ES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1259632" y="1922032"/>
            <a:ext cx="78881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s-ES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vulnerabilidad de los niños y las niñas frente a esta forma de explotación se ha duplicado en los últimos 20 años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10 CuadroTexto"/>
          <p:cNvSpPr txBox="1"/>
          <p:nvPr/>
        </p:nvSpPr>
        <p:spPr>
          <a:xfrm>
            <a:off x="1939930" y="2903984"/>
            <a:ext cx="72078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s-ES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pesar de esto, en Europa, el número de detenciones continúa siendo extremadamente bajo. No hay mecanismos ágiles de denuncia ni condenas efectivas para los agresores 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1790502" y="4166928"/>
            <a:ext cx="71287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s-ES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estima que </a:t>
            </a:r>
            <a:r>
              <a:rPr lang="es-ES" b="1" u="sng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0.000 personas </a:t>
            </a:r>
            <a:r>
              <a:rPr lang="es-ES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ajan al extranjero anualmente para mantener relaciones sexuales con NNA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1758094" y="5050050"/>
            <a:ext cx="72209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s-ES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s de </a:t>
            </a:r>
            <a:r>
              <a:rPr lang="es-ES" b="1" u="sng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millón de imágenes </a:t>
            </a:r>
            <a:r>
              <a:rPr lang="es-ES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entre 10.000 y 20.000 </a:t>
            </a:r>
            <a:r>
              <a:rPr lang="es-ES" b="1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ñ@s</a:t>
            </a:r>
            <a:r>
              <a:rPr lang="es-ES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íctimas de abuso sexual circulan por Internet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12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03" name="Agrupar 1073"/>
          <p:cNvGrpSpPr>
            <a:grpSpLocks/>
          </p:cNvGrpSpPr>
          <p:nvPr/>
        </p:nvGrpSpPr>
        <p:grpSpPr bwMode="auto">
          <a:xfrm>
            <a:off x="990600" y="1492250"/>
            <a:ext cx="7461250" cy="4010025"/>
            <a:chOff x="2794632" y="1867339"/>
            <a:chExt cx="7500937" cy="4260850"/>
          </a:xfrm>
        </p:grpSpPr>
        <p:sp>
          <p:nvSpPr>
            <p:cNvPr id="25616" name="Freeform 4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4636132" y="6064689"/>
              <a:ext cx="33337" cy="57150"/>
            </a:xfrm>
            <a:custGeom>
              <a:avLst/>
              <a:gdLst>
                <a:gd name="T0" fmla="*/ 0 w 73"/>
                <a:gd name="T1" fmla="*/ 0 h 20"/>
                <a:gd name="T2" fmla="*/ 2147483647 w 73"/>
                <a:gd name="T3" fmla="*/ 2147483647 h 20"/>
                <a:gd name="T4" fmla="*/ 2147483647 w 73"/>
                <a:gd name="T5" fmla="*/ 2147483647 h 20"/>
                <a:gd name="T6" fmla="*/ 2147483647 w 73"/>
                <a:gd name="T7" fmla="*/ 2147483647 h 20"/>
                <a:gd name="T8" fmla="*/ 2147483647 w 73"/>
                <a:gd name="T9" fmla="*/ 2147483647 h 20"/>
                <a:gd name="T10" fmla="*/ 2147483647 w 73"/>
                <a:gd name="T11" fmla="*/ 2147483647 h 20"/>
                <a:gd name="T12" fmla="*/ 2147483647 w 73"/>
                <a:gd name="T13" fmla="*/ 2147483647 h 20"/>
                <a:gd name="T14" fmla="*/ 2147483647 w 73"/>
                <a:gd name="T15" fmla="*/ 2147483647 h 20"/>
                <a:gd name="T16" fmla="*/ 2147483647 w 73"/>
                <a:gd name="T17" fmla="*/ 2147483647 h 20"/>
                <a:gd name="T18" fmla="*/ 2147483647 w 73"/>
                <a:gd name="T19" fmla="*/ 2147483647 h 20"/>
                <a:gd name="T20" fmla="*/ 2147483647 w 73"/>
                <a:gd name="T21" fmla="*/ 2147483647 h 20"/>
                <a:gd name="T22" fmla="*/ 2147483647 w 73"/>
                <a:gd name="T23" fmla="*/ 2147483647 h 20"/>
                <a:gd name="T24" fmla="*/ 2147483647 w 73"/>
                <a:gd name="T25" fmla="*/ 2147483647 h 20"/>
                <a:gd name="T26" fmla="*/ 2147483647 w 73"/>
                <a:gd name="T27" fmla="*/ 2147483647 h 20"/>
                <a:gd name="T28" fmla="*/ 2147483647 w 73"/>
                <a:gd name="T29" fmla="*/ 2147483647 h 20"/>
                <a:gd name="T30" fmla="*/ 2147483647 w 73"/>
                <a:gd name="T31" fmla="*/ 2147483647 h 20"/>
                <a:gd name="T32" fmla="*/ 2147483647 w 73"/>
                <a:gd name="T33" fmla="*/ 0 h 20"/>
                <a:gd name="T34" fmla="*/ 0 w 73"/>
                <a:gd name="T35" fmla="*/ 0 h 2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73" h="20">
                  <a:moveTo>
                    <a:pt x="0" y="0"/>
                  </a:moveTo>
                  <a:lnTo>
                    <a:pt x="1" y="5"/>
                  </a:lnTo>
                  <a:lnTo>
                    <a:pt x="4" y="10"/>
                  </a:lnTo>
                  <a:lnTo>
                    <a:pt x="8" y="14"/>
                  </a:lnTo>
                  <a:lnTo>
                    <a:pt x="13" y="20"/>
                  </a:lnTo>
                  <a:lnTo>
                    <a:pt x="16" y="17"/>
                  </a:lnTo>
                  <a:lnTo>
                    <a:pt x="19" y="13"/>
                  </a:lnTo>
                  <a:lnTo>
                    <a:pt x="23" y="11"/>
                  </a:lnTo>
                  <a:lnTo>
                    <a:pt x="27" y="10"/>
                  </a:lnTo>
                  <a:lnTo>
                    <a:pt x="36" y="8"/>
                  </a:lnTo>
                  <a:lnTo>
                    <a:pt x="46" y="7"/>
                  </a:lnTo>
                  <a:lnTo>
                    <a:pt x="54" y="7"/>
                  </a:lnTo>
                  <a:lnTo>
                    <a:pt x="63" y="6"/>
                  </a:lnTo>
                  <a:lnTo>
                    <a:pt x="66" y="5"/>
                  </a:lnTo>
                  <a:lnTo>
                    <a:pt x="69" y="4"/>
                  </a:lnTo>
                  <a:lnTo>
                    <a:pt x="71" y="2"/>
                  </a:lnTo>
                  <a:lnTo>
                    <a:pt x="7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076" name="Freeform 8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4388981" y="4896827"/>
              <a:ext cx="261735" cy="1130154"/>
            </a:xfrm>
            <a:custGeom>
              <a:avLst/>
              <a:gdLst>
                <a:gd name="T0" fmla="*/ 418 w 598"/>
                <a:gd name="T1" fmla="*/ 2021 h 2158"/>
                <a:gd name="T2" fmla="*/ 342 w 598"/>
                <a:gd name="T3" fmla="*/ 1955 h 2158"/>
                <a:gd name="T4" fmla="*/ 339 w 598"/>
                <a:gd name="T5" fmla="*/ 1893 h 2158"/>
                <a:gd name="T6" fmla="*/ 345 w 598"/>
                <a:gd name="T7" fmla="*/ 1843 h 2158"/>
                <a:gd name="T8" fmla="*/ 362 w 598"/>
                <a:gd name="T9" fmla="*/ 1791 h 2158"/>
                <a:gd name="T10" fmla="*/ 354 w 598"/>
                <a:gd name="T11" fmla="*/ 1740 h 2158"/>
                <a:gd name="T12" fmla="*/ 332 w 598"/>
                <a:gd name="T13" fmla="*/ 1683 h 2158"/>
                <a:gd name="T14" fmla="*/ 303 w 598"/>
                <a:gd name="T15" fmla="*/ 1581 h 2158"/>
                <a:gd name="T16" fmla="*/ 226 w 598"/>
                <a:gd name="T17" fmla="*/ 1460 h 2158"/>
                <a:gd name="T18" fmla="*/ 206 w 598"/>
                <a:gd name="T19" fmla="*/ 1381 h 2158"/>
                <a:gd name="T20" fmla="*/ 217 w 598"/>
                <a:gd name="T21" fmla="*/ 1299 h 2158"/>
                <a:gd name="T22" fmla="*/ 208 w 598"/>
                <a:gd name="T23" fmla="*/ 1235 h 2158"/>
                <a:gd name="T24" fmla="*/ 185 w 598"/>
                <a:gd name="T25" fmla="*/ 1165 h 2158"/>
                <a:gd name="T26" fmla="*/ 211 w 598"/>
                <a:gd name="T27" fmla="*/ 1123 h 2158"/>
                <a:gd name="T28" fmla="*/ 195 w 598"/>
                <a:gd name="T29" fmla="*/ 1082 h 2158"/>
                <a:gd name="T30" fmla="*/ 211 w 598"/>
                <a:gd name="T31" fmla="*/ 1025 h 2158"/>
                <a:gd name="T32" fmla="*/ 210 w 598"/>
                <a:gd name="T33" fmla="*/ 993 h 2158"/>
                <a:gd name="T34" fmla="*/ 187 w 598"/>
                <a:gd name="T35" fmla="*/ 927 h 2158"/>
                <a:gd name="T36" fmla="*/ 136 w 598"/>
                <a:gd name="T37" fmla="*/ 852 h 2158"/>
                <a:gd name="T38" fmla="*/ 134 w 598"/>
                <a:gd name="T39" fmla="*/ 686 h 2158"/>
                <a:gd name="T40" fmla="*/ 183 w 598"/>
                <a:gd name="T41" fmla="*/ 584 h 2158"/>
                <a:gd name="T42" fmla="*/ 189 w 598"/>
                <a:gd name="T43" fmla="*/ 522 h 2158"/>
                <a:gd name="T44" fmla="*/ 160 w 598"/>
                <a:gd name="T45" fmla="*/ 459 h 2158"/>
                <a:gd name="T46" fmla="*/ 182 w 598"/>
                <a:gd name="T47" fmla="*/ 406 h 2158"/>
                <a:gd name="T48" fmla="*/ 229 w 598"/>
                <a:gd name="T49" fmla="*/ 346 h 2158"/>
                <a:gd name="T50" fmla="*/ 200 w 598"/>
                <a:gd name="T51" fmla="*/ 308 h 2158"/>
                <a:gd name="T52" fmla="*/ 148 w 598"/>
                <a:gd name="T53" fmla="*/ 222 h 2158"/>
                <a:gd name="T54" fmla="*/ 129 w 598"/>
                <a:gd name="T55" fmla="*/ 125 h 2158"/>
                <a:gd name="T56" fmla="*/ 91 w 598"/>
                <a:gd name="T57" fmla="*/ 37 h 2158"/>
                <a:gd name="T58" fmla="*/ 0 w 598"/>
                <a:gd name="T59" fmla="*/ 44 h 2158"/>
                <a:gd name="T60" fmla="*/ 31 w 598"/>
                <a:gd name="T61" fmla="*/ 200 h 2158"/>
                <a:gd name="T62" fmla="*/ 42 w 598"/>
                <a:gd name="T63" fmla="*/ 304 h 2158"/>
                <a:gd name="T64" fmla="*/ 27 w 598"/>
                <a:gd name="T65" fmla="*/ 374 h 2158"/>
                <a:gd name="T66" fmla="*/ 52 w 598"/>
                <a:gd name="T67" fmla="*/ 524 h 2158"/>
                <a:gd name="T68" fmla="*/ 46 w 598"/>
                <a:gd name="T69" fmla="*/ 649 h 2158"/>
                <a:gd name="T70" fmla="*/ 36 w 598"/>
                <a:gd name="T71" fmla="*/ 718 h 2158"/>
                <a:gd name="T72" fmla="*/ 52 w 598"/>
                <a:gd name="T73" fmla="*/ 767 h 2158"/>
                <a:gd name="T74" fmla="*/ 64 w 598"/>
                <a:gd name="T75" fmla="*/ 871 h 2158"/>
                <a:gd name="T76" fmla="*/ 81 w 598"/>
                <a:gd name="T77" fmla="*/ 913 h 2158"/>
                <a:gd name="T78" fmla="*/ 73 w 598"/>
                <a:gd name="T79" fmla="*/ 1045 h 2158"/>
                <a:gd name="T80" fmla="*/ 63 w 598"/>
                <a:gd name="T81" fmla="*/ 1152 h 2158"/>
                <a:gd name="T82" fmla="*/ 40 w 598"/>
                <a:gd name="T83" fmla="*/ 1188 h 2158"/>
                <a:gd name="T84" fmla="*/ 60 w 598"/>
                <a:gd name="T85" fmla="*/ 1258 h 2158"/>
                <a:gd name="T86" fmla="*/ 106 w 598"/>
                <a:gd name="T87" fmla="*/ 1343 h 2158"/>
                <a:gd name="T88" fmla="*/ 93 w 598"/>
                <a:gd name="T89" fmla="*/ 1396 h 2158"/>
                <a:gd name="T90" fmla="*/ 106 w 598"/>
                <a:gd name="T91" fmla="*/ 1449 h 2158"/>
                <a:gd name="T92" fmla="*/ 164 w 598"/>
                <a:gd name="T93" fmla="*/ 1467 h 2158"/>
                <a:gd name="T94" fmla="*/ 209 w 598"/>
                <a:gd name="T95" fmla="*/ 1621 h 2158"/>
                <a:gd name="T96" fmla="*/ 227 w 598"/>
                <a:gd name="T97" fmla="*/ 1709 h 2158"/>
                <a:gd name="T98" fmla="*/ 151 w 598"/>
                <a:gd name="T99" fmla="*/ 1749 h 2158"/>
                <a:gd name="T100" fmla="*/ 207 w 598"/>
                <a:gd name="T101" fmla="*/ 1776 h 2158"/>
                <a:gd name="T102" fmla="*/ 250 w 598"/>
                <a:gd name="T103" fmla="*/ 1820 h 2158"/>
                <a:gd name="T104" fmla="*/ 275 w 598"/>
                <a:gd name="T105" fmla="*/ 1871 h 2158"/>
                <a:gd name="T106" fmla="*/ 308 w 598"/>
                <a:gd name="T107" fmla="*/ 1961 h 2158"/>
                <a:gd name="T108" fmla="*/ 359 w 598"/>
                <a:gd name="T109" fmla="*/ 2013 h 2158"/>
                <a:gd name="T110" fmla="*/ 393 w 598"/>
                <a:gd name="T111" fmla="*/ 2048 h 2158"/>
                <a:gd name="T112" fmla="*/ 424 w 598"/>
                <a:gd name="T113" fmla="*/ 2074 h 2158"/>
                <a:gd name="T114" fmla="*/ 465 w 598"/>
                <a:gd name="T115" fmla="*/ 2110 h 2158"/>
                <a:gd name="T116" fmla="*/ 519 w 598"/>
                <a:gd name="T117" fmla="*/ 2140 h 2158"/>
                <a:gd name="T118" fmla="*/ 538 w 598"/>
                <a:gd name="T119" fmla="*/ 2151 h 2158"/>
                <a:gd name="T120" fmla="*/ 586 w 598"/>
                <a:gd name="T121" fmla="*/ 2098 h 2158"/>
                <a:gd name="T122" fmla="*/ 591 w 598"/>
                <a:gd name="T123" fmla="*/ 2071 h 2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8" h="2158">
                  <a:moveTo>
                    <a:pt x="491" y="2046"/>
                  </a:moveTo>
                  <a:lnTo>
                    <a:pt x="480" y="2045"/>
                  </a:lnTo>
                  <a:lnTo>
                    <a:pt x="469" y="2043"/>
                  </a:lnTo>
                  <a:lnTo>
                    <a:pt x="456" y="2039"/>
                  </a:lnTo>
                  <a:lnTo>
                    <a:pt x="444" y="2034"/>
                  </a:lnTo>
                  <a:lnTo>
                    <a:pt x="431" y="2028"/>
                  </a:lnTo>
                  <a:lnTo>
                    <a:pt x="418" y="2021"/>
                  </a:lnTo>
                  <a:lnTo>
                    <a:pt x="405" y="2013"/>
                  </a:lnTo>
                  <a:lnTo>
                    <a:pt x="392" y="2003"/>
                  </a:lnTo>
                  <a:lnTo>
                    <a:pt x="379" y="1994"/>
                  </a:lnTo>
                  <a:lnTo>
                    <a:pt x="368" y="1985"/>
                  </a:lnTo>
                  <a:lnTo>
                    <a:pt x="357" y="1976"/>
                  </a:lnTo>
                  <a:lnTo>
                    <a:pt x="349" y="1966"/>
                  </a:lnTo>
                  <a:lnTo>
                    <a:pt x="342" y="1955"/>
                  </a:lnTo>
                  <a:lnTo>
                    <a:pt x="337" y="1946"/>
                  </a:lnTo>
                  <a:lnTo>
                    <a:pt x="333" y="1937"/>
                  </a:lnTo>
                  <a:lnTo>
                    <a:pt x="332" y="1929"/>
                  </a:lnTo>
                  <a:lnTo>
                    <a:pt x="332" y="1919"/>
                  </a:lnTo>
                  <a:lnTo>
                    <a:pt x="333" y="1909"/>
                  </a:lnTo>
                  <a:lnTo>
                    <a:pt x="336" y="1900"/>
                  </a:lnTo>
                  <a:lnTo>
                    <a:pt x="339" y="1893"/>
                  </a:lnTo>
                  <a:lnTo>
                    <a:pt x="341" y="1887"/>
                  </a:lnTo>
                  <a:lnTo>
                    <a:pt x="343" y="1880"/>
                  </a:lnTo>
                  <a:lnTo>
                    <a:pt x="344" y="1874"/>
                  </a:lnTo>
                  <a:lnTo>
                    <a:pt x="345" y="1868"/>
                  </a:lnTo>
                  <a:lnTo>
                    <a:pt x="345" y="1863"/>
                  </a:lnTo>
                  <a:lnTo>
                    <a:pt x="345" y="1855"/>
                  </a:lnTo>
                  <a:lnTo>
                    <a:pt x="345" y="1843"/>
                  </a:lnTo>
                  <a:lnTo>
                    <a:pt x="345" y="1824"/>
                  </a:lnTo>
                  <a:lnTo>
                    <a:pt x="345" y="1818"/>
                  </a:lnTo>
                  <a:lnTo>
                    <a:pt x="348" y="1812"/>
                  </a:lnTo>
                  <a:lnTo>
                    <a:pt x="351" y="1807"/>
                  </a:lnTo>
                  <a:lnTo>
                    <a:pt x="355" y="1802"/>
                  </a:lnTo>
                  <a:lnTo>
                    <a:pt x="359" y="1797"/>
                  </a:lnTo>
                  <a:lnTo>
                    <a:pt x="362" y="1791"/>
                  </a:lnTo>
                  <a:lnTo>
                    <a:pt x="364" y="1783"/>
                  </a:lnTo>
                  <a:lnTo>
                    <a:pt x="365" y="1775"/>
                  </a:lnTo>
                  <a:lnTo>
                    <a:pt x="364" y="1768"/>
                  </a:lnTo>
                  <a:lnTo>
                    <a:pt x="363" y="1762"/>
                  </a:lnTo>
                  <a:lnTo>
                    <a:pt x="362" y="1756"/>
                  </a:lnTo>
                  <a:lnTo>
                    <a:pt x="360" y="1750"/>
                  </a:lnTo>
                  <a:lnTo>
                    <a:pt x="354" y="1740"/>
                  </a:lnTo>
                  <a:lnTo>
                    <a:pt x="349" y="1728"/>
                  </a:lnTo>
                  <a:lnTo>
                    <a:pt x="342" y="1718"/>
                  </a:lnTo>
                  <a:lnTo>
                    <a:pt x="337" y="1707"/>
                  </a:lnTo>
                  <a:lnTo>
                    <a:pt x="334" y="1702"/>
                  </a:lnTo>
                  <a:lnTo>
                    <a:pt x="333" y="1696"/>
                  </a:lnTo>
                  <a:lnTo>
                    <a:pt x="332" y="1690"/>
                  </a:lnTo>
                  <a:lnTo>
                    <a:pt x="332" y="1683"/>
                  </a:lnTo>
                  <a:lnTo>
                    <a:pt x="331" y="1670"/>
                  </a:lnTo>
                  <a:lnTo>
                    <a:pt x="330" y="1659"/>
                  </a:lnTo>
                  <a:lnTo>
                    <a:pt x="329" y="1648"/>
                  </a:lnTo>
                  <a:lnTo>
                    <a:pt x="327" y="1638"/>
                  </a:lnTo>
                  <a:lnTo>
                    <a:pt x="320" y="1617"/>
                  </a:lnTo>
                  <a:lnTo>
                    <a:pt x="312" y="1599"/>
                  </a:lnTo>
                  <a:lnTo>
                    <a:pt x="303" y="1581"/>
                  </a:lnTo>
                  <a:lnTo>
                    <a:pt x="292" y="1563"/>
                  </a:lnTo>
                  <a:lnTo>
                    <a:pt x="281" y="1547"/>
                  </a:lnTo>
                  <a:lnTo>
                    <a:pt x="269" y="1530"/>
                  </a:lnTo>
                  <a:lnTo>
                    <a:pt x="256" y="1514"/>
                  </a:lnTo>
                  <a:lnTo>
                    <a:pt x="245" y="1496"/>
                  </a:lnTo>
                  <a:lnTo>
                    <a:pt x="235" y="1478"/>
                  </a:lnTo>
                  <a:lnTo>
                    <a:pt x="226" y="1460"/>
                  </a:lnTo>
                  <a:lnTo>
                    <a:pt x="221" y="1449"/>
                  </a:lnTo>
                  <a:lnTo>
                    <a:pt x="217" y="1439"/>
                  </a:lnTo>
                  <a:lnTo>
                    <a:pt x="214" y="1428"/>
                  </a:lnTo>
                  <a:lnTo>
                    <a:pt x="210" y="1417"/>
                  </a:lnTo>
                  <a:lnTo>
                    <a:pt x="208" y="1406"/>
                  </a:lnTo>
                  <a:lnTo>
                    <a:pt x="207" y="1393"/>
                  </a:lnTo>
                  <a:lnTo>
                    <a:pt x="206" y="1381"/>
                  </a:lnTo>
                  <a:lnTo>
                    <a:pt x="206" y="1368"/>
                  </a:lnTo>
                  <a:lnTo>
                    <a:pt x="206" y="1355"/>
                  </a:lnTo>
                  <a:lnTo>
                    <a:pt x="207" y="1342"/>
                  </a:lnTo>
                  <a:lnTo>
                    <a:pt x="209" y="1331"/>
                  </a:lnTo>
                  <a:lnTo>
                    <a:pt x="213" y="1320"/>
                  </a:lnTo>
                  <a:lnTo>
                    <a:pt x="215" y="1309"/>
                  </a:lnTo>
                  <a:lnTo>
                    <a:pt x="217" y="1299"/>
                  </a:lnTo>
                  <a:lnTo>
                    <a:pt x="218" y="1287"/>
                  </a:lnTo>
                  <a:lnTo>
                    <a:pt x="219" y="1276"/>
                  </a:lnTo>
                  <a:lnTo>
                    <a:pt x="218" y="1268"/>
                  </a:lnTo>
                  <a:lnTo>
                    <a:pt x="217" y="1261"/>
                  </a:lnTo>
                  <a:lnTo>
                    <a:pt x="216" y="1254"/>
                  </a:lnTo>
                  <a:lnTo>
                    <a:pt x="214" y="1248"/>
                  </a:lnTo>
                  <a:lnTo>
                    <a:pt x="208" y="1235"/>
                  </a:lnTo>
                  <a:lnTo>
                    <a:pt x="203" y="1223"/>
                  </a:lnTo>
                  <a:lnTo>
                    <a:pt x="196" y="1210"/>
                  </a:lnTo>
                  <a:lnTo>
                    <a:pt x="191" y="1197"/>
                  </a:lnTo>
                  <a:lnTo>
                    <a:pt x="188" y="1190"/>
                  </a:lnTo>
                  <a:lnTo>
                    <a:pt x="187" y="1183"/>
                  </a:lnTo>
                  <a:lnTo>
                    <a:pt x="186" y="1174"/>
                  </a:lnTo>
                  <a:lnTo>
                    <a:pt x="185" y="1165"/>
                  </a:lnTo>
                  <a:lnTo>
                    <a:pt x="186" y="1158"/>
                  </a:lnTo>
                  <a:lnTo>
                    <a:pt x="189" y="1152"/>
                  </a:lnTo>
                  <a:lnTo>
                    <a:pt x="194" y="1146"/>
                  </a:lnTo>
                  <a:lnTo>
                    <a:pt x="199" y="1141"/>
                  </a:lnTo>
                  <a:lnTo>
                    <a:pt x="204" y="1135"/>
                  </a:lnTo>
                  <a:lnTo>
                    <a:pt x="208" y="1129"/>
                  </a:lnTo>
                  <a:lnTo>
                    <a:pt x="211" y="1123"/>
                  </a:lnTo>
                  <a:lnTo>
                    <a:pt x="213" y="1115"/>
                  </a:lnTo>
                  <a:lnTo>
                    <a:pt x="211" y="1109"/>
                  </a:lnTo>
                  <a:lnTo>
                    <a:pt x="209" y="1103"/>
                  </a:lnTo>
                  <a:lnTo>
                    <a:pt x="206" y="1097"/>
                  </a:lnTo>
                  <a:lnTo>
                    <a:pt x="203" y="1092"/>
                  </a:lnTo>
                  <a:lnTo>
                    <a:pt x="198" y="1087"/>
                  </a:lnTo>
                  <a:lnTo>
                    <a:pt x="195" y="1082"/>
                  </a:lnTo>
                  <a:lnTo>
                    <a:pt x="193" y="1078"/>
                  </a:lnTo>
                  <a:lnTo>
                    <a:pt x="192" y="1073"/>
                  </a:lnTo>
                  <a:lnTo>
                    <a:pt x="195" y="1064"/>
                  </a:lnTo>
                  <a:lnTo>
                    <a:pt x="203" y="1049"/>
                  </a:lnTo>
                  <a:lnTo>
                    <a:pt x="206" y="1041"/>
                  </a:lnTo>
                  <a:lnTo>
                    <a:pt x="209" y="1033"/>
                  </a:lnTo>
                  <a:lnTo>
                    <a:pt x="211" y="1025"/>
                  </a:lnTo>
                  <a:lnTo>
                    <a:pt x="213" y="1018"/>
                  </a:lnTo>
                  <a:lnTo>
                    <a:pt x="203" y="1018"/>
                  </a:lnTo>
                  <a:lnTo>
                    <a:pt x="192" y="1018"/>
                  </a:lnTo>
                  <a:lnTo>
                    <a:pt x="198" y="1012"/>
                  </a:lnTo>
                  <a:lnTo>
                    <a:pt x="205" y="1003"/>
                  </a:lnTo>
                  <a:lnTo>
                    <a:pt x="207" y="998"/>
                  </a:lnTo>
                  <a:lnTo>
                    <a:pt x="210" y="993"/>
                  </a:lnTo>
                  <a:lnTo>
                    <a:pt x="211" y="987"/>
                  </a:lnTo>
                  <a:lnTo>
                    <a:pt x="213" y="980"/>
                  </a:lnTo>
                  <a:lnTo>
                    <a:pt x="211" y="970"/>
                  </a:lnTo>
                  <a:lnTo>
                    <a:pt x="208" y="961"/>
                  </a:lnTo>
                  <a:lnTo>
                    <a:pt x="205" y="951"/>
                  </a:lnTo>
                  <a:lnTo>
                    <a:pt x="199" y="943"/>
                  </a:lnTo>
                  <a:lnTo>
                    <a:pt x="187" y="927"/>
                  </a:lnTo>
                  <a:lnTo>
                    <a:pt x="172" y="910"/>
                  </a:lnTo>
                  <a:lnTo>
                    <a:pt x="165" y="902"/>
                  </a:lnTo>
                  <a:lnTo>
                    <a:pt x="158" y="892"/>
                  </a:lnTo>
                  <a:lnTo>
                    <a:pt x="151" y="883"/>
                  </a:lnTo>
                  <a:lnTo>
                    <a:pt x="144" y="874"/>
                  </a:lnTo>
                  <a:lnTo>
                    <a:pt x="140" y="863"/>
                  </a:lnTo>
                  <a:lnTo>
                    <a:pt x="136" y="852"/>
                  </a:lnTo>
                  <a:lnTo>
                    <a:pt x="134" y="839"/>
                  </a:lnTo>
                  <a:lnTo>
                    <a:pt x="132" y="826"/>
                  </a:lnTo>
                  <a:lnTo>
                    <a:pt x="132" y="794"/>
                  </a:lnTo>
                  <a:lnTo>
                    <a:pt x="132" y="766"/>
                  </a:lnTo>
                  <a:lnTo>
                    <a:pt x="132" y="736"/>
                  </a:lnTo>
                  <a:lnTo>
                    <a:pt x="132" y="697"/>
                  </a:lnTo>
                  <a:lnTo>
                    <a:pt x="134" y="686"/>
                  </a:lnTo>
                  <a:lnTo>
                    <a:pt x="135" y="675"/>
                  </a:lnTo>
                  <a:lnTo>
                    <a:pt x="138" y="665"/>
                  </a:lnTo>
                  <a:lnTo>
                    <a:pt x="141" y="655"/>
                  </a:lnTo>
                  <a:lnTo>
                    <a:pt x="151" y="637"/>
                  </a:lnTo>
                  <a:lnTo>
                    <a:pt x="162" y="619"/>
                  </a:lnTo>
                  <a:lnTo>
                    <a:pt x="173" y="602"/>
                  </a:lnTo>
                  <a:lnTo>
                    <a:pt x="183" y="584"/>
                  </a:lnTo>
                  <a:lnTo>
                    <a:pt x="186" y="575"/>
                  </a:lnTo>
                  <a:lnTo>
                    <a:pt x="189" y="564"/>
                  </a:lnTo>
                  <a:lnTo>
                    <a:pt x="192" y="554"/>
                  </a:lnTo>
                  <a:lnTo>
                    <a:pt x="192" y="543"/>
                  </a:lnTo>
                  <a:lnTo>
                    <a:pt x="192" y="535"/>
                  </a:lnTo>
                  <a:lnTo>
                    <a:pt x="191" y="528"/>
                  </a:lnTo>
                  <a:lnTo>
                    <a:pt x="189" y="522"/>
                  </a:lnTo>
                  <a:lnTo>
                    <a:pt x="187" y="516"/>
                  </a:lnTo>
                  <a:lnTo>
                    <a:pt x="182" y="504"/>
                  </a:lnTo>
                  <a:lnTo>
                    <a:pt x="175" y="493"/>
                  </a:lnTo>
                  <a:lnTo>
                    <a:pt x="170" y="483"/>
                  </a:lnTo>
                  <a:lnTo>
                    <a:pt x="164" y="472"/>
                  </a:lnTo>
                  <a:lnTo>
                    <a:pt x="162" y="466"/>
                  </a:lnTo>
                  <a:lnTo>
                    <a:pt x="160" y="459"/>
                  </a:lnTo>
                  <a:lnTo>
                    <a:pt x="160" y="451"/>
                  </a:lnTo>
                  <a:lnTo>
                    <a:pt x="159" y="444"/>
                  </a:lnTo>
                  <a:lnTo>
                    <a:pt x="160" y="436"/>
                  </a:lnTo>
                  <a:lnTo>
                    <a:pt x="162" y="429"/>
                  </a:lnTo>
                  <a:lnTo>
                    <a:pt x="165" y="423"/>
                  </a:lnTo>
                  <a:lnTo>
                    <a:pt x="171" y="417"/>
                  </a:lnTo>
                  <a:lnTo>
                    <a:pt x="182" y="406"/>
                  </a:lnTo>
                  <a:lnTo>
                    <a:pt x="195" y="394"/>
                  </a:lnTo>
                  <a:lnTo>
                    <a:pt x="203" y="388"/>
                  </a:lnTo>
                  <a:lnTo>
                    <a:pt x="209" y="381"/>
                  </a:lnTo>
                  <a:lnTo>
                    <a:pt x="215" y="374"/>
                  </a:lnTo>
                  <a:lnTo>
                    <a:pt x="220" y="365"/>
                  </a:lnTo>
                  <a:lnTo>
                    <a:pt x="226" y="356"/>
                  </a:lnTo>
                  <a:lnTo>
                    <a:pt x="229" y="346"/>
                  </a:lnTo>
                  <a:lnTo>
                    <a:pt x="231" y="334"/>
                  </a:lnTo>
                  <a:lnTo>
                    <a:pt x="232" y="321"/>
                  </a:lnTo>
                  <a:lnTo>
                    <a:pt x="227" y="320"/>
                  </a:lnTo>
                  <a:lnTo>
                    <a:pt x="221" y="319"/>
                  </a:lnTo>
                  <a:lnTo>
                    <a:pt x="216" y="318"/>
                  </a:lnTo>
                  <a:lnTo>
                    <a:pt x="210" y="315"/>
                  </a:lnTo>
                  <a:lnTo>
                    <a:pt x="200" y="308"/>
                  </a:lnTo>
                  <a:lnTo>
                    <a:pt x="192" y="300"/>
                  </a:lnTo>
                  <a:lnTo>
                    <a:pt x="183" y="289"/>
                  </a:lnTo>
                  <a:lnTo>
                    <a:pt x="174" y="276"/>
                  </a:lnTo>
                  <a:lnTo>
                    <a:pt x="166" y="264"/>
                  </a:lnTo>
                  <a:lnTo>
                    <a:pt x="160" y="250"/>
                  </a:lnTo>
                  <a:lnTo>
                    <a:pt x="153" y="237"/>
                  </a:lnTo>
                  <a:lnTo>
                    <a:pt x="148" y="222"/>
                  </a:lnTo>
                  <a:lnTo>
                    <a:pt x="143" y="209"/>
                  </a:lnTo>
                  <a:lnTo>
                    <a:pt x="140" y="196"/>
                  </a:lnTo>
                  <a:lnTo>
                    <a:pt x="135" y="174"/>
                  </a:lnTo>
                  <a:lnTo>
                    <a:pt x="132" y="160"/>
                  </a:lnTo>
                  <a:lnTo>
                    <a:pt x="132" y="148"/>
                  </a:lnTo>
                  <a:lnTo>
                    <a:pt x="131" y="137"/>
                  </a:lnTo>
                  <a:lnTo>
                    <a:pt x="129" y="125"/>
                  </a:lnTo>
                  <a:lnTo>
                    <a:pt x="128" y="114"/>
                  </a:lnTo>
                  <a:lnTo>
                    <a:pt x="125" y="103"/>
                  </a:lnTo>
                  <a:lnTo>
                    <a:pt x="121" y="93"/>
                  </a:lnTo>
                  <a:lnTo>
                    <a:pt x="118" y="84"/>
                  </a:lnTo>
                  <a:lnTo>
                    <a:pt x="114" y="74"/>
                  </a:lnTo>
                  <a:lnTo>
                    <a:pt x="103" y="55"/>
                  </a:lnTo>
                  <a:lnTo>
                    <a:pt x="91" y="37"/>
                  </a:lnTo>
                  <a:lnTo>
                    <a:pt x="75" y="19"/>
                  </a:lnTo>
                  <a:lnTo>
                    <a:pt x="59" y="0"/>
                  </a:lnTo>
                  <a:lnTo>
                    <a:pt x="54" y="14"/>
                  </a:lnTo>
                  <a:lnTo>
                    <a:pt x="49" y="25"/>
                  </a:lnTo>
                  <a:lnTo>
                    <a:pt x="41" y="37"/>
                  </a:lnTo>
                  <a:lnTo>
                    <a:pt x="32" y="50"/>
                  </a:lnTo>
                  <a:lnTo>
                    <a:pt x="0" y="44"/>
                  </a:lnTo>
                  <a:lnTo>
                    <a:pt x="0" y="62"/>
                  </a:lnTo>
                  <a:lnTo>
                    <a:pt x="2" y="81"/>
                  </a:lnTo>
                  <a:lnTo>
                    <a:pt x="4" y="98"/>
                  </a:lnTo>
                  <a:lnTo>
                    <a:pt x="7" y="114"/>
                  </a:lnTo>
                  <a:lnTo>
                    <a:pt x="14" y="145"/>
                  </a:lnTo>
                  <a:lnTo>
                    <a:pt x="23" y="173"/>
                  </a:lnTo>
                  <a:lnTo>
                    <a:pt x="31" y="200"/>
                  </a:lnTo>
                  <a:lnTo>
                    <a:pt x="39" y="227"/>
                  </a:lnTo>
                  <a:lnTo>
                    <a:pt x="41" y="241"/>
                  </a:lnTo>
                  <a:lnTo>
                    <a:pt x="45" y="255"/>
                  </a:lnTo>
                  <a:lnTo>
                    <a:pt x="46" y="269"/>
                  </a:lnTo>
                  <a:lnTo>
                    <a:pt x="46" y="283"/>
                  </a:lnTo>
                  <a:lnTo>
                    <a:pt x="46" y="295"/>
                  </a:lnTo>
                  <a:lnTo>
                    <a:pt x="42" y="304"/>
                  </a:lnTo>
                  <a:lnTo>
                    <a:pt x="40" y="313"/>
                  </a:lnTo>
                  <a:lnTo>
                    <a:pt x="36" y="320"/>
                  </a:lnTo>
                  <a:lnTo>
                    <a:pt x="32" y="327"/>
                  </a:lnTo>
                  <a:lnTo>
                    <a:pt x="29" y="335"/>
                  </a:lnTo>
                  <a:lnTo>
                    <a:pt x="27" y="342"/>
                  </a:lnTo>
                  <a:lnTo>
                    <a:pt x="26" y="352"/>
                  </a:lnTo>
                  <a:lnTo>
                    <a:pt x="27" y="374"/>
                  </a:lnTo>
                  <a:lnTo>
                    <a:pt x="30" y="395"/>
                  </a:lnTo>
                  <a:lnTo>
                    <a:pt x="35" y="416"/>
                  </a:lnTo>
                  <a:lnTo>
                    <a:pt x="39" y="435"/>
                  </a:lnTo>
                  <a:lnTo>
                    <a:pt x="45" y="457"/>
                  </a:lnTo>
                  <a:lnTo>
                    <a:pt x="49" y="477"/>
                  </a:lnTo>
                  <a:lnTo>
                    <a:pt x="51" y="500"/>
                  </a:lnTo>
                  <a:lnTo>
                    <a:pt x="52" y="524"/>
                  </a:lnTo>
                  <a:lnTo>
                    <a:pt x="51" y="553"/>
                  </a:lnTo>
                  <a:lnTo>
                    <a:pt x="49" y="572"/>
                  </a:lnTo>
                  <a:lnTo>
                    <a:pt x="47" y="588"/>
                  </a:lnTo>
                  <a:lnTo>
                    <a:pt x="46" y="610"/>
                  </a:lnTo>
                  <a:lnTo>
                    <a:pt x="46" y="622"/>
                  </a:lnTo>
                  <a:lnTo>
                    <a:pt x="46" y="635"/>
                  </a:lnTo>
                  <a:lnTo>
                    <a:pt x="46" y="649"/>
                  </a:lnTo>
                  <a:lnTo>
                    <a:pt x="46" y="660"/>
                  </a:lnTo>
                  <a:lnTo>
                    <a:pt x="41" y="666"/>
                  </a:lnTo>
                  <a:lnTo>
                    <a:pt x="37" y="675"/>
                  </a:lnTo>
                  <a:lnTo>
                    <a:pt x="34" y="687"/>
                  </a:lnTo>
                  <a:lnTo>
                    <a:pt x="32" y="697"/>
                  </a:lnTo>
                  <a:lnTo>
                    <a:pt x="34" y="709"/>
                  </a:lnTo>
                  <a:lnTo>
                    <a:pt x="36" y="718"/>
                  </a:lnTo>
                  <a:lnTo>
                    <a:pt x="39" y="725"/>
                  </a:lnTo>
                  <a:lnTo>
                    <a:pt x="42" y="731"/>
                  </a:lnTo>
                  <a:lnTo>
                    <a:pt x="47" y="737"/>
                  </a:lnTo>
                  <a:lnTo>
                    <a:pt x="50" y="741"/>
                  </a:lnTo>
                  <a:lnTo>
                    <a:pt x="52" y="746"/>
                  </a:lnTo>
                  <a:lnTo>
                    <a:pt x="52" y="752"/>
                  </a:lnTo>
                  <a:lnTo>
                    <a:pt x="52" y="767"/>
                  </a:lnTo>
                  <a:lnTo>
                    <a:pt x="52" y="782"/>
                  </a:lnTo>
                  <a:lnTo>
                    <a:pt x="52" y="797"/>
                  </a:lnTo>
                  <a:lnTo>
                    <a:pt x="52" y="808"/>
                  </a:lnTo>
                  <a:lnTo>
                    <a:pt x="53" y="822"/>
                  </a:lnTo>
                  <a:lnTo>
                    <a:pt x="58" y="847"/>
                  </a:lnTo>
                  <a:lnTo>
                    <a:pt x="60" y="860"/>
                  </a:lnTo>
                  <a:lnTo>
                    <a:pt x="64" y="871"/>
                  </a:lnTo>
                  <a:lnTo>
                    <a:pt x="65" y="875"/>
                  </a:lnTo>
                  <a:lnTo>
                    <a:pt x="68" y="879"/>
                  </a:lnTo>
                  <a:lnTo>
                    <a:pt x="70" y="881"/>
                  </a:lnTo>
                  <a:lnTo>
                    <a:pt x="73" y="881"/>
                  </a:lnTo>
                  <a:lnTo>
                    <a:pt x="76" y="894"/>
                  </a:lnTo>
                  <a:lnTo>
                    <a:pt x="80" y="905"/>
                  </a:lnTo>
                  <a:lnTo>
                    <a:pt x="81" y="913"/>
                  </a:lnTo>
                  <a:lnTo>
                    <a:pt x="81" y="921"/>
                  </a:lnTo>
                  <a:lnTo>
                    <a:pt x="80" y="936"/>
                  </a:lnTo>
                  <a:lnTo>
                    <a:pt x="80" y="956"/>
                  </a:lnTo>
                  <a:lnTo>
                    <a:pt x="79" y="980"/>
                  </a:lnTo>
                  <a:lnTo>
                    <a:pt x="78" y="1002"/>
                  </a:lnTo>
                  <a:lnTo>
                    <a:pt x="75" y="1024"/>
                  </a:lnTo>
                  <a:lnTo>
                    <a:pt x="73" y="1045"/>
                  </a:lnTo>
                  <a:lnTo>
                    <a:pt x="70" y="1065"/>
                  </a:lnTo>
                  <a:lnTo>
                    <a:pt x="68" y="1087"/>
                  </a:lnTo>
                  <a:lnTo>
                    <a:pt x="67" y="1110"/>
                  </a:lnTo>
                  <a:lnTo>
                    <a:pt x="67" y="1135"/>
                  </a:lnTo>
                  <a:lnTo>
                    <a:pt x="65" y="1141"/>
                  </a:lnTo>
                  <a:lnTo>
                    <a:pt x="64" y="1147"/>
                  </a:lnTo>
                  <a:lnTo>
                    <a:pt x="63" y="1152"/>
                  </a:lnTo>
                  <a:lnTo>
                    <a:pt x="62" y="1156"/>
                  </a:lnTo>
                  <a:lnTo>
                    <a:pt x="58" y="1163"/>
                  </a:lnTo>
                  <a:lnTo>
                    <a:pt x="52" y="1169"/>
                  </a:lnTo>
                  <a:lnTo>
                    <a:pt x="48" y="1175"/>
                  </a:lnTo>
                  <a:lnTo>
                    <a:pt x="43" y="1181"/>
                  </a:lnTo>
                  <a:lnTo>
                    <a:pt x="41" y="1185"/>
                  </a:lnTo>
                  <a:lnTo>
                    <a:pt x="40" y="1188"/>
                  </a:lnTo>
                  <a:lnTo>
                    <a:pt x="40" y="1192"/>
                  </a:lnTo>
                  <a:lnTo>
                    <a:pt x="39" y="1196"/>
                  </a:lnTo>
                  <a:lnTo>
                    <a:pt x="40" y="1205"/>
                  </a:lnTo>
                  <a:lnTo>
                    <a:pt x="42" y="1215"/>
                  </a:lnTo>
                  <a:lnTo>
                    <a:pt x="46" y="1225"/>
                  </a:lnTo>
                  <a:lnTo>
                    <a:pt x="50" y="1237"/>
                  </a:lnTo>
                  <a:lnTo>
                    <a:pt x="60" y="1258"/>
                  </a:lnTo>
                  <a:lnTo>
                    <a:pt x="73" y="1279"/>
                  </a:lnTo>
                  <a:lnTo>
                    <a:pt x="85" y="1299"/>
                  </a:lnTo>
                  <a:lnTo>
                    <a:pt x="95" y="1317"/>
                  </a:lnTo>
                  <a:lnTo>
                    <a:pt x="99" y="1325"/>
                  </a:lnTo>
                  <a:lnTo>
                    <a:pt x="103" y="1332"/>
                  </a:lnTo>
                  <a:lnTo>
                    <a:pt x="105" y="1338"/>
                  </a:lnTo>
                  <a:lnTo>
                    <a:pt x="106" y="1343"/>
                  </a:lnTo>
                  <a:lnTo>
                    <a:pt x="105" y="1351"/>
                  </a:lnTo>
                  <a:lnTo>
                    <a:pt x="104" y="1358"/>
                  </a:lnTo>
                  <a:lnTo>
                    <a:pt x="102" y="1365"/>
                  </a:lnTo>
                  <a:lnTo>
                    <a:pt x="99" y="1372"/>
                  </a:lnTo>
                  <a:lnTo>
                    <a:pt x="97" y="1380"/>
                  </a:lnTo>
                  <a:lnTo>
                    <a:pt x="95" y="1388"/>
                  </a:lnTo>
                  <a:lnTo>
                    <a:pt x="93" y="1396"/>
                  </a:lnTo>
                  <a:lnTo>
                    <a:pt x="93" y="1406"/>
                  </a:lnTo>
                  <a:lnTo>
                    <a:pt x="93" y="1415"/>
                  </a:lnTo>
                  <a:lnTo>
                    <a:pt x="94" y="1424"/>
                  </a:lnTo>
                  <a:lnTo>
                    <a:pt x="96" y="1432"/>
                  </a:lnTo>
                  <a:lnTo>
                    <a:pt x="98" y="1438"/>
                  </a:lnTo>
                  <a:lnTo>
                    <a:pt x="102" y="1444"/>
                  </a:lnTo>
                  <a:lnTo>
                    <a:pt x="106" y="1449"/>
                  </a:lnTo>
                  <a:lnTo>
                    <a:pt x="112" y="1453"/>
                  </a:lnTo>
                  <a:lnTo>
                    <a:pt x="117" y="1457"/>
                  </a:lnTo>
                  <a:lnTo>
                    <a:pt x="123" y="1460"/>
                  </a:lnTo>
                  <a:lnTo>
                    <a:pt x="130" y="1463"/>
                  </a:lnTo>
                  <a:lnTo>
                    <a:pt x="138" y="1464"/>
                  </a:lnTo>
                  <a:lnTo>
                    <a:pt x="146" y="1465"/>
                  </a:lnTo>
                  <a:lnTo>
                    <a:pt x="164" y="1467"/>
                  </a:lnTo>
                  <a:lnTo>
                    <a:pt x="185" y="1467"/>
                  </a:lnTo>
                  <a:lnTo>
                    <a:pt x="191" y="1501"/>
                  </a:lnTo>
                  <a:lnTo>
                    <a:pt x="195" y="1531"/>
                  </a:lnTo>
                  <a:lnTo>
                    <a:pt x="197" y="1559"/>
                  </a:lnTo>
                  <a:lnTo>
                    <a:pt x="199" y="1590"/>
                  </a:lnTo>
                  <a:lnTo>
                    <a:pt x="202" y="1602"/>
                  </a:lnTo>
                  <a:lnTo>
                    <a:pt x="209" y="1621"/>
                  </a:lnTo>
                  <a:lnTo>
                    <a:pt x="216" y="1643"/>
                  </a:lnTo>
                  <a:lnTo>
                    <a:pt x="219" y="1658"/>
                  </a:lnTo>
                  <a:lnTo>
                    <a:pt x="219" y="1668"/>
                  </a:lnTo>
                  <a:lnTo>
                    <a:pt x="220" y="1679"/>
                  </a:lnTo>
                  <a:lnTo>
                    <a:pt x="221" y="1687"/>
                  </a:lnTo>
                  <a:lnTo>
                    <a:pt x="222" y="1694"/>
                  </a:lnTo>
                  <a:lnTo>
                    <a:pt x="227" y="1709"/>
                  </a:lnTo>
                  <a:lnTo>
                    <a:pt x="232" y="1725"/>
                  </a:lnTo>
                  <a:lnTo>
                    <a:pt x="202" y="1732"/>
                  </a:lnTo>
                  <a:lnTo>
                    <a:pt x="173" y="1739"/>
                  </a:lnTo>
                  <a:lnTo>
                    <a:pt x="166" y="1740"/>
                  </a:lnTo>
                  <a:lnTo>
                    <a:pt x="161" y="1743"/>
                  </a:lnTo>
                  <a:lnTo>
                    <a:pt x="155" y="1745"/>
                  </a:lnTo>
                  <a:lnTo>
                    <a:pt x="151" y="1749"/>
                  </a:lnTo>
                  <a:lnTo>
                    <a:pt x="147" y="1752"/>
                  </a:lnTo>
                  <a:lnTo>
                    <a:pt x="143" y="1757"/>
                  </a:lnTo>
                  <a:lnTo>
                    <a:pt x="141" y="1762"/>
                  </a:lnTo>
                  <a:lnTo>
                    <a:pt x="139" y="1769"/>
                  </a:lnTo>
                  <a:lnTo>
                    <a:pt x="164" y="1770"/>
                  </a:lnTo>
                  <a:lnTo>
                    <a:pt x="193" y="1773"/>
                  </a:lnTo>
                  <a:lnTo>
                    <a:pt x="207" y="1776"/>
                  </a:lnTo>
                  <a:lnTo>
                    <a:pt x="218" y="1779"/>
                  </a:lnTo>
                  <a:lnTo>
                    <a:pt x="224" y="1781"/>
                  </a:lnTo>
                  <a:lnTo>
                    <a:pt x="227" y="1783"/>
                  </a:lnTo>
                  <a:lnTo>
                    <a:pt x="230" y="1785"/>
                  </a:lnTo>
                  <a:lnTo>
                    <a:pt x="232" y="1787"/>
                  </a:lnTo>
                  <a:lnTo>
                    <a:pt x="243" y="1807"/>
                  </a:lnTo>
                  <a:lnTo>
                    <a:pt x="250" y="1820"/>
                  </a:lnTo>
                  <a:lnTo>
                    <a:pt x="253" y="1825"/>
                  </a:lnTo>
                  <a:lnTo>
                    <a:pt x="258" y="1828"/>
                  </a:lnTo>
                  <a:lnTo>
                    <a:pt x="263" y="1830"/>
                  </a:lnTo>
                  <a:lnTo>
                    <a:pt x="272" y="1830"/>
                  </a:lnTo>
                  <a:lnTo>
                    <a:pt x="272" y="1843"/>
                  </a:lnTo>
                  <a:lnTo>
                    <a:pt x="273" y="1857"/>
                  </a:lnTo>
                  <a:lnTo>
                    <a:pt x="275" y="1871"/>
                  </a:lnTo>
                  <a:lnTo>
                    <a:pt x="278" y="1884"/>
                  </a:lnTo>
                  <a:lnTo>
                    <a:pt x="282" y="1898"/>
                  </a:lnTo>
                  <a:lnTo>
                    <a:pt x="285" y="1912"/>
                  </a:lnTo>
                  <a:lnTo>
                    <a:pt x="289" y="1925"/>
                  </a:lnTo>
                  <a:lnTo>
                    <a:pt x="295" y="1937"/>
                  </a:lnTo>
                  <a:lnTo>
                    <a:pt x="301" y="1949"/>
                  </a:lnTo>
                  <a:lnTo>
                    <a:pt x="308" y="1961"/>
                  </a:lnTo>
                  <a:lnTo>
                    <a:pt x="315" y="1971"/>
                  </a:lnTo>
                  <a:lnTo>
                    <a:pt x="322" y="1980"/>
                  </a:lnTo>
                  <a:lnTo>
                    <a:pt x="330" y="1988"/>
                  </a:lnTo>
                  <a:lnTo>
                    <a:pt x="339" y="1995"/>
                  </a:lnTo>
                  <a:lnTo>
                    <a:pt x="349" y="2000"/>
                  </a:lnTo>
                  <a:lnTo>
                    <a:pt x="359" y="2003"/>
                  </a:lnTo>
                  <a:lnTo>
                    <a:pt x="359" y="2013"/>
                  </a:lnTo>
                  <a:lnTo>
                    <a:pt x="361" y="2021"/>
                  </a:lnTo>
                  <a:lnTo>
                    <a:pt x="364" y="2028"/>
                  </a:lnTo>
                  <a:lnTo>
                    <a:pt x="368" y="2034"/>
                  </a:lnTo>
                  <a:lnTo>
                    <a:pt x="374" y="2038"/>
                  </a:lnTo>
                  <a:lnTo>
                    <a:pt x="379" y="2042"/>
                  </a:lnTo>
                  <a:lnTo>
                    <a:pt x="386" y="2046"/>
                  </a:lnTo>
                  <a:lnTo>
                    <a:pt x="393" y="2048"/>
                  </a:lnTo>
                  <a:lnTo>
                    <a:pt x="407" y="2053"/>
                  </a:lnTo>
                  <a:lnTo>
                    <a:pt x="420" y="2057"/>
                  </a:lnTo>
                  <a:lnTo>
                    <a:pt x="426" y="2060"/>
                  </a:lnTo>
                  <a:lnTo>
                    <a:pt x="431" y="2063"/>
                  </a:lnTo>
                  <a:lnTo>
                    <a:pt x="435" y="2066"/>
                  </a:lnTo>
                  <a:lnTo>
                    <a:pt x="438" y="2071"/>
                  </a:lnTo>
                  <a:lnTo>
                    <a:pt x="424" y="2074"/>
                  </a:lnTo>
                  <a:lnTo>
                    <a:pt x="411" y="2077"/>
                  </a:lnTo>
                  <a:lnTo>
                    <a:pt x="415" y="2084"/>
                  </a:lnTo>
                  <a:lnTo>
                    <a:pt x="421" y="2091"/>
                  </a:lnTo>
                  <a:lnTo>
                    <a:pt x="429" y="2097"/>
                  </a:lnTo>
                  <a:lnTo>
                    <a:pt x="440" y="2102"/>
                  </a:lnTo>
                  <a:lnTo>
                    <a:pt x="452" y="2107"/>
                  </a:lnTo>
                  <a:lnTo>
                    <a:pt x="465" y="2110"/>
                  </a:lnTo>
                  <a:lnTo>
                    <a:pt x="480" y="2113"/>
                  </a:lnTo>
                  <a:lnTo>
                    <a:pt x="498" y="2114"/>
                  </a:lnTo>
                  <a:lnTo>
                    <a:pt x="502" y="2117"/>
                  </a:lnTo>
                  <a:lnTo>
                    <a:pt x="507" y="2121"/>
                  </a:lnTo>
                  <a:lnTo>
                    <a:pt x="510" y="2127"/>
                  </a:lnTo>
                  <a:lnTo>
                    <a:pt x="513" y="2131"/>
                  </a:lnTo>
                  <a:lnTo>
                    <a:pt x="519" y="2140"/>
                  </a:lnTo>
                  <a:lnTo>
                    <a:pt x="522" y="2149"/>
                  </a:lnTo>
                  <a:lnTo>
                    <a:pt x="527" y="2155"/>
                  </a:lnTo>
                  <a:lnTo>
                    <a:pt x="530" y="2158"/>
                  </a:lnTo>
                  <a:lnTo>
                    <a:pt x="531" y="2158"/>
                  </a:lnTo>
                  <a:lnTo>
                    <a:pt x="533" y="2157"/>
                  </a:lnTo>
                  <a:lnTo>
                    <a:pt x="535" y="2155"/>
                  </a:lnTo>
                  <a:lnTo>
                    <a:pt x="538" y="2151"/>
                  </a:lnTo>
                  <a:lnTo>
                    <a:pt x="543" y="2137"/>
                  </a:lnTo>
                  <a:lnTo>
                    <a:pt x="547" y="2125"/>
                  </a:lnTo>
                  <a:lnTo>
                    <a:pt x="554" y="2116"/>
                  </a:lnTo>
                  <a:lnTo>
                    <a:pt x="561" y="2109"/>
                  </a:lnTo>
                  <a:lnTo>
                    <a:pt x="567" y="2104"/>
                  </a:lnTo>
                  <a:lnTo>
                    <a:pt x="576" y="2101"/>
                  </a:lnTo>
                  <a:lnTo>
                    <a:pt x="586" y="2098"/>
                  </a:lnTo>
                  <a:lnTo>
                    <a:pt x="598" y="2095"/>
                  </a:lnTo>
                  <a:lnTo>
                    <a:pt x="592" y="2087"/>
                  </a:lnTo>
                  <a:lnTo>
                    <a:pt x="589" y="2081"/>
                  </a:lnTo>
                  <a:lnTo>
                    <a:pt x="588" y="2078"/>
                  </a:lnTo>
                  <a:lnTo>
                    <a:pt x="588" y="2076"/>
                  </a:lnTo>
                  <a:lnTo>
                    <a:pt x="589" y="2074"/>
                  </a:lnTo>
                  <a:lnTo>
                    <a:pt x="591" y="2071"/>
                  </a:lnTo>
                  <a:lnTo>
                    <a:pt x="491" y="204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618" name="Freeform 25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4653594" y="6071039"/>
              <a:ext cx="23813" cy="57150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25619" name="Group 38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4823457" y="5966264"/>
              <a:ext cx="65087" cy="55563"/>
              <a:chOff x="1654" y="3671"/>
              <a:chExt cx="49" cy="17"/>
            </a:xfrm>
          </p:grpSpPr>
          <p:sp>
            <p:nvSpPr>
              <p:cNvPr id="26069" name="Freeform 39"/>
              <p:cNvSpPr>
                <a:spLocks/>
              </p:cNvSpPr>
              <p:nvPr/>
            </p:nvSpPr>
            <p:spPr bwMode="auto">
              <a:xfrm>
                <a:off x="1654" y="3672"/>
                <a:ext cx="20" cy="14"/>
              </a:xfrm>
              <a:custGeom>
                <a:avLst/>
                <a:gdLst>
                  <a:gd name="T0" fmla="*/ 0 w 59"/>
                  <a:gd name="T1" fmla="*/ 0 h 43"/>
                  <a:gd name="T2" fmla="*/ 0 w 59"/>
                  <a:gd name="T3" fmla="*/ 0 h 43"/>
                  <a:gd name="T4" fmla="*/ 0 w 59"/>
                  <a:gd name="T5" fmla="*/ 0 h 43"/>
                  <a:gd name="T6" fmla="*/ 0 w 59"/>
                  <a:gd name="T7" fmla="*/ 0 h 43"/>
                  <a:gd name="T8" fmla="*/ 0 w 59"/>
                  <a:gd name="T9" fmla="*/ 0 h 43"/>
                  <a:gd name="T10" fmla="*/ 0 w 59"/>
                  <a:gd name="T11" fmla="*/ 0 h 43"/>
                  <a:gd name="T12" fmla="*/ 0 w 59"/>
                  <a:gd name="T13" fmla="*/ 0 h 43"/>
                  <a:gd name="T14" fmla="*/ 0 w 59"/>
                  <a:gd name="T15" fmla="*/ 0 h 43"/>
                  <a:gd name="T16" fmla="*/ 0 w 59"/>
                  <a:gd name="T17" fmla="*/ 0 h 43"/>
                  <a:gd name="T18" fmla="*/ 0 w 59"/>
                  <a:gd name="T19" fmla="*/ 0 h 43"/>
                  <a:gd name="T20" fmla="*/ 0 w 59"/>
                  <a:gd name="T21" fmla="*/ 0 h 43"/>
                  <a:gd name="T22" fmla="*/ 0 w 59"/>
                  <a:gd name="T23" fmla="*/ 0 h 43"/>
                  <a:gd name="T24" fmla="*/ 0 w 59"/>
                  <a:gd name="T25" fmla="*/ 0 h 43"/>
                  <a:gd name="T26" fmla="*/ 0 w 59"/>
                  <a:gd name="T27" fmla="*/ 0 h 43"/>
                  <a:gd name="T28" fmla="*/ 0 w 59"/>
                  <a:gd name="T29" fmla="*/ 0 h 43"/>
                  <a:gd name="T30" fmla="*/ 0 w 59"/>
                  <a:gd name="T31" fmla="*/ 0 h 43"/>
                  <a:gd name="T32" fmla="*/ 0 w 59"/>
                  <a:gd name="T33" fmla="*/ 0 h 43"/>
                  <a:gd name="T34" fmla="*/ 0 w 59"/>
                  <a:gd name="T35" fmla="*/ 0 h 43"/>
                  <a:gd name="T36" fmla="*/ 0 w 59"/>
                  <a:gd name="T37" fmla="*/ 0 h 43"/>
                  <a:gd name="T38" fmla="*/ 0 w 59"/>
                  <a:gd name="T39" fmla="*/ 0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59" h="43">
                    <a:moveTo>
                      <a:pt x="26" y="43"/>
                    </a:moveTo>
                    <a:lnTo>
                      <a:pt x="59" y="18"/>
                    </a:lnTo>
                    <a:lnTo>
                      <a:pt x="55" y="14"/>
                    </a:lnTo>
                    <a:lnTo>
                      <a:pt x="51" y="9"/>
                    </a:lnTo>
                    <a:lnTo>
                      <a:pt x="47" y="5"/>
                    </a:lnTo>
                    <a:lnTo>
                      <a:pt x="46" y="0"/>
                    </a:lnTo>
                    <a:lnTo>
                      <a:pt x="41" y="1"/>
                    </a:lnTo>
                    <a:lnTo>
                      <a:pt x="34" y="4"/>
                    </a:lnTo>
                    <a:lnTo>
                      <a:pt x="31" y="6"/>
                    </a:lnTo>
                    <a:lnTo>
                      <a:pt x="29" y="8"/>
                    </a:lnTo>
                    <a:lnTo>
                      <a:pt x="26" y="10"/>
                    </a:lnTo>
                    <a:lnTo>
                      <a:pt x="26" y="12"/>
                    </a:lnTo>
                    <a:lnTo>
                      <a:pt x="20" y="13"/>
                    </a:lnTo>
                    <a:lnTo>
                      <a:pt x="13" y="16"/>
                    </a:lnTo>
                    <a:lnTo>
                      <a:pt x="6" y="20"/>
                    </a:lnTo>
                    <a:lnTo>
                      <a:pt x="0" y="24"/>
                    </a:lnTo>
                    <a:lnTo>
                      <a:pt x="5" y="29"/>
                    </a:lnTo>
                    <a:lnTo>
                      <a:pt x="10" y="34"/>
                    </a:lnTo>
                    <a:lnTo>
                      <a:pt x="18" y="39"/>
                    </a:lnTo>
                    <a:lnTo>
                      <a:pt x="26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70" name="Freeform 40"/>
              <p:cNvSpPr>
                <a:spLocks/>
              </p:cNvSpPr>
              <p:nvPr/>
            </p:nvSpPr>
            <p:spPr bwMode="auto">
              <a:xfrm>
                <a:off x="1681" y="3671"/>
                <a:ext cx="22" cy="17"/>
              </a:xfrm>
              <a:custGeom>
                <a:avLst/>
                <a:gdLst>
                  <a:gd name="T0" fmla="*/ 0 w 67"/>
                  <a:gd name="T1" fmla="*/ 0 h 51"/>
                  <a:gd name="T2" fmla="*/ 0 w 67"/>
                  <a:gd name="T3" fmla="*/ 0 h 51"/>
                  <a:gd name="T4" fmla="*/ 0 w 67"/>
                  <a:gd name="T5" fmla="*/ 0 h 51"/>
                  <a:gd name="T6" fmla="*/ 0 w 67"/>
                  <a:gd name="T7" fmla="*/ 0 h 51"/>
                  <a:gd name="T8" fmla="*/ 0 w 67"/>
                  <a:gd name="T9" fmla="*/ 0 h 51"/>
                  <a:gd name="T10" fmla="*/ 0 w 67"/>
                  <a:gd name="T11" fmla="*/ 0 h 51"/>
                  <a:gd name="T12" fmla="*/ 0 w 67"/>
                  <a:gd name="T13" fmla="*/ 0 h 51"/>
                  <a:gd name="T14" fmla="*/ 0 w 67"/>
                  <a:gd name="T15" fmla="*/ 0 h 51"/>
                  <a:gd name="T16" fmla="*/ 0 w 67"/>
                  <a:gd name="T17" fmla="*/ 0 h 51"/>
                  <a:gd name="T18" fmla="*/ 0 w 67"/>
                  <a:gd name="T19" fmla="*/ 0 h 51"/>
                  <a:gd name="T20" fmla="*/ 0 w 67"/>
                  <a:gd name="T21" fmla="*/ 0 h 51"/>
                  <a:gd name="T22" fmla="*/ 0 w 67"/>
                  <a:gd name="T23" fmla="*/ 0 h 51"/>
                  <a:gd name="T24" fmla="*/ 0 w 67"/>
                  <a:gd name="T25" fmla="*/ 0 h 51"/>
                  <a:gd name="T26" fmla="*/ 0 w 67"/>
                  <a:gd name="T27" fmla="*/ 0 h 51"/>
                  <a:gd name="T28" fmla="*/ 0 w 67"/>
                  <a:gd name="T29" fmla="*/ 0 h 51"/>
                  <a:gd name="T30" fmla="*/ 0 w 67"/>
                  <a:gd name="T31" fmla="*/ 0 h 51"/>
                  <a:gd name="T32" fmla="*/ 0 w 67"/>
                  <a:gd name="T33" fmla="*/ 0 h 51"/>
                  <a:gd name="T34" fmla="*/ 0 w 67"/>
                  <a:gd name="T35" fmla="*/ 0 h 51"/>
                  <a:gd name="T36" fmla="*/ 0 w 67"/>
                  <a:gd name="T37" fmla="*/ 0 h 51"/>
                  <a:gd name="T38" fmla="*/ 0 w 67"/>
                  <a:gd name="T39" fmla="*/ 0 h 51"/>
                  <a:gd name="T40" fmla="*/ 0 w 67"/>
                  <a:gd name="T41" fmla="*/ 0 h 51"/>
                  <a:gd name="T42" fmla="*/ 0 w 67"/>
                  <a:gd name="T43" fmla="*/ 0 h 51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7" h="51">
                    <a:moveTo>
                      <a:pt x="0" y="2"/>
                    </a:moveTo>
                    <a:lnTo>
                      <a:pt x="24" y="1"/>
                    </a:lnTo>
                    <a:lnTo>
                      <a:pt x="39" y="0"/>
                    </a:lnTo>
                    <a:lnTo>
                      <a:pt x="45" y="1"/>
                    </a:lnTo>
                    <a:lnTo>
                      <a:pt x="51" y="2"/>
                    </a:lnTo>
                    <a:lnTo>
                      <a:pt x="58" y="4"/>
                    </a:lnTo>
                    <a:lnTo>
                      <a:pt x="67" y="8"/>
                    </a:lnTo>
                    <a:lnTo>
                      <a:pt x="55" y="13"/>
                    </a:lnTo>
                    <a:lnTo>
                      <a:pt x="46" y="19"/>
                    </a:lnTo>
                    <a:lnTo>
                      <a:pt x="42" y="22"/>
                    </a:lnTo>
                    <a:lnTo>
                      <a:pt x="36" y="24"/>
                    </a:lnTo>
                    <a:lnTo>
                      <a:pt x="29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34" y="26"/>
                    </a:lnTo>
                    <a:lnTo>
                      <a:pt x="29" y="34"/>
                    </a:lnTo>
                    <a:lnTo>
                      <a:pt x="25" y="40"/>
                    </a:lnTo>
                    <a:lnTo>
                      <a:pt x="22" y="44"/>
                    </a:lnTo>
                    <a:lnTo>
                      <a:pt x="20" y="46"/>
                    </a:lnTo>
                    <a:lnTo>
                      <a:pt x="12" y="48"/>
                    </a:lnTo>
                    <a:lnTo>
                      <a:pt x="0" y="51"/>
                    </a:lnTo>
                    <a:lnTo>
                      <a:pt x="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  <p:sp>
          <p:nvSpPr>
            <p:cNvPr id="25620" name="Freeform 105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5326694" y="6039289"/>
              <a:ext cx="53975" cy="58738"/>
            </a:xfrm>
            <a:custGeom>
              <a:avLst/>
              <a:gdLst>
                <a:gd name="T0" fmla="*/ 0 w 126"/>
                <a:gd name="T1" fmla="*/ 2147483647 h 62"/>
                <a:gd name="T2" fmla="*/ 2147483647 w 126"/>
                <a:gd name="T3" fmla="*/ 2147483647 h 62"/>
                <a:gd name="T4" fmla="*/ 2147483647 w 126"/>
                <a:gd name="T5" fmla="*/ 2147483647 h 62"/>
                <a:gd name="T6" fmla="*/ 2147483647 w 126"/>
                <a:gd name="T7" fmla="*/ 2147483647 h 62"/>
                <a:gd name="T8" fmla="*/ 2147483647 w 126"/>
                <a:gd name="T9" fmla="*/ 2147483647 h 62"/>
                <a:gd name="T10" fmla="*/ 2147483647 w 126"/>
                <a:gd name="T11" fmla="*/ 2147483647 h 62"/>
                <a:gd name="T12" fmla="*/ 2147483647 w 126"/>
                <a:gd name="T13" fmla="*/ 2147483647 h 62"/>
                <a:gd name="T14" fmla="*/ 2147483647 w 126"/>
                <a:gd name="T15" fmla="*/ 2147483647 h 62"/>
                <a:gd name="T16" fmla="*/ 2147483647 w 126"/>
                <a:gd name="T17" fmla="*/ 2147483647 h 62"/>
                <a:gd name="T18" fmla="*/ 2147483647 w 126"/>
                <a:gd name="T19" fmla="*/ 2147483647 h 62"/>
                <a:gd name="T20" fmla="*/ 2147483647 w 126"/>
                <a:gd name="T21" fmla="*/ 2147483647 h 62"/>
                <a:gd name="T22" fmla="*/ 2147483647 w 126"/>
                <a:gd name="T23" fmla="*/ 2147483647 h 62"/>
                <a:gd name="T24" fmla="*/ 2147483647 w 126"/>
                <a:gd name="T25" fmla="*/ 2147483647 h 62"/>
                <a:gd name="T26" fmla="*/ 2147483647 w 126"/>
                <a:gd name="T27" fmla="*/ 2147483647 h 62"/>
                <a:gd name="T28" fmla="*/ 2147483647 w 126"/>
                <a:gd name="T29" fmla="*/ 2147483647 h 62"/>
                <a:gd name="T30" fmla="*/ 2147483647 w 126"/>
                <a:gd name="T31" fmla="*/ 2147483647 h 62"/>
                <a:gd name="T32" fmla="*/ 2147483647 w 126"/>
                <a:gd name="T33" fmla="*/ 2147483647 h 62"/>
                <a:gd name="T34" fmla="*/ 2147483647 w 126"/>
                <a:gd name="T35" fmla="*/ 2147483647 h 62"/>
                <a:gd name="T36" fmla="*/ 2147483647 w 126"/>
                <a:gd name="T37" fmla="*/ 2147483647 h 62"/>
                <a:gd name="T38" fmla="*/ 2147483647 w 126"/>
                <a:gd name="T39" fmla="*/ 2147483647 h 62"/>
                <a:gd name="T40" fmla="*/ 2147483647 w 126"/>
                <a:gd name="T41" fmla="*/ 2147483647 h 62"/>
                <a:gd name="T42" fmla="*/ 2147483647 w 126"/>
                <a:gd name="T43" fmla="*/ 2147483647 h 62"/>
                <a:gd name="T44" fmla="*/ 2147483647 w 126"/>
                <a:gd name="T45" fmla="*/ 2147483647 h 62"/>
                <a:gd name="T46" fmla="*/ 2147483647 w 126"/>
                <a:gd name="T47" fmla="*/ 2147483647 h 62"/>
                <a:gd name="T48" fmla="*/ 2147483647 w 126"/>
                <a:gd name="T49" fmla="*/ 0 h 62"/>
                <a:gd name="T50" fmla="*/ 0 w 126"/>
                <a:gd name="T51" fmla="*/ 0 h 62"/>
                <a:gd name="T52" fmla="*/ 0 w 126"/>
                <a:gd name="T53" fmla="*/ 2147483647 h 62"/>
                <a:gd name="T54" fmla="*/ 0 w 126"/>
                <a:gd name="T55" fmla="*/ 2147483647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0" t="0" r="r" b="b"/>
              <a:pathLst>
                <a:path w="126" h="62">
                  <a:moveTo>
                    <a:pt x="0" y="19"/>
                  </a:moveTo>
                  <a:lnTo>
                    <a:pt x="11" y="20"/>
                  </a:lnTo>
                  <a:lnTo>
                    <a:pt x="21" y="21"/>
                  </a:lnTo>
                  <a:lnTo>
                    <a:pt x="29" y="23"/>
                  </a:lnTo>
                  <a:lnTo>
                    <a:pt x="36" y="26"/>
                  </a:lnTo>
                  <a:lnTo>
                    <a:pt x="50" y="33"/>
                  </a:lnTo>
                  <a:lnTo>
                    <a:pt x="61" y="40"/>
                  </a:lnTo>
                  <a:lnTo>
                    <a:pt x="70" y="48"/>
                  </a:lnTo>
                  <a:lnTo>
                    <a:pt x="79" y="55"/>
                  </a:lnTo>
                  <a:lnTo>
                    <a:pt x="84" y="58"/>
                  </a:lnTo>
                  <a:lnTo>
                    <a:pt x="89" y="60"/>
                  </a:lnTo>
                  <a:lnTo>
                    <a:pt x="95" y="61"/>
                  </a:lnTo>
                  <a:lnTo>
                    <a:pt x="100" y="62"/>
                  </a:lnTo>
                  <a:lnTo>
                    <a:pt x="105" y="61"/>
                  </a:lnTo>
                  <a:lnTo>
                    <a:pt x="109" y="60"/>
                  </a:lnTo>
                  <a:lnTo>
                    <a:pt x="113" y="58"/>
                  </a:lnTo>
                  <a:lnTo>
                    <a:pt x="117" y="56"/>
                  </a:lnTo>
                  <a:lnTo>
                    <a:pt x="122" y="51"/>
                  </a:lnTo>
                  <a:lnTo>
                    <a:pt x="126" y="49"/>
                  </a:lnTo>
                  <a:lnTo>
                    <a:pt x="110" y="33"/>
                  </a:lnTo>
                  <a:lnTo>
                    <a:pt x="96" y="21"/>
                  </a:lnTo>
                  <a:lnTo>
                    <a:pt x="89" y="15"/>
                  </a:lnTo>
                  <a:lnTo>
                    <a:pt x="81" y="9"/>
                  </a:lnTo>
                  <a:lnTo>
                    <a:pt x="72" y="5"/>
                  </a:lnTo>
                  <a:lnTo>
                    <a:pt x="61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21" name="Freeform 106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7628569" y="5877364"/>
              <a:ext cx="30163" cy="55563"/>
            </a:xfrm>
            <a:custGeom>
              <a:avLst/>
              <a:gdLst>
                <a:gd name="T0" fmla="*/ 0 w 66"/>
                <a:gd name="T1" fmla="*/ 0 h 44"/>
                <a:gd name="T2" fmla="*/ 2147483647 w 66"/>
                <a:gd name="T3" fmla="*/ 2147483647 h 44"/>
                <a:gd name="T4" fmla="*/ 2147483647 w 66"/>
                <a:gd name="T5" fmla="*/ 2147483647 h 44"/>
                <a:gd name="T6" fmla="*/ 2147483647 w 66"/>
                <a:gd name="T7" fmla="*/ 2147483647 h 44"/>
                <a:gd name="T8" fmla="*/ 2147483647 w 66"/>
                <a:gd name="T9" fmla="*/ 2147483647 h 44"/>
                <a:gd name="T10" fmla="*/ 2147483647 w 66"/>
                <a:gd name="T11" fmla="*/ 2147483647 h 44"/>
                <a:gd name="T12" fmla="*/ 2147483647 w 66"/>
                <a:gd name="T13" fmla="*/ 2147483647 h 44"/>
                <a:gd name="T14" fmla="*/ 2147483647 w 66"/>
                <a:gd name="T15" fmla="*/ 2147483647 h 44"/>
                <a:gd name="T16" fmla="*/ 2147483647 w 66"/>
                <a:gd name="T17" fmla="*/ 2147483647 h 44"/>
                <a:gd name="T18" fmla="*/ 2147483647 w 66"/>
                <a:gd name="T19" fmla="*/ 2147483647 h 44"/>
                <a:gd name="T20" fmla="*/ 2147483647 w 66"/>
                <a:gd name="T21" fmla="*/ 2147483647 h 44"/>
                <a:gd name="T22" fmla="*/ 2147483647 w 66"/>
                <a:gd name="T23" fmla="*/ 2147483647 h 44"/>
                <a:gd name="T24" fmla="*/ 2147483647 w 66"/>
                <a:gd name="T25" fmla="*/ 2147483647 h 44"/>
                <a:gd name="T26" fmla="*/ 2147483647 w 66"/>
                <a:gd name="T27" fmla="*/ 2147483647 h 44"/>
                <a:gd name="T28" fmla="*/ 2147483647 w 66"/>
                <a:gd name="T29" fmla="*/ 2147483647 h 44"/>
                <a:gd name="T30" fmla="*/ 2147483647 w 66"/>
                <a:gd name="T31" fmla="*/ 2147483647 h 44"/>
                <a:gd name="T32" fmla="*/ 2147483647 w 66"/>
                <a:gd name="T33" fmla="*/ 2147483647 h 44"/>
                <a:gd name="T34" fmla="*/ 2147483647 w 66"/>
                <a:gd name="T35" fmla="*/ 2147483647 h 44"/>
                <a:gd name="T36" fmla="*/ 0 w 66"/>
                <a:gd name="T37" fmla="*/ 2147483647 h 44"/>
                <a:gd name="T38" fmla="*/ 0 w 66"/>
                <a:gd name="T39" fmla="*/ 2147483647 h 44"/>
                <a:gd name="T40" fmla="*/ 0 w 66"/>
                <a:gd name="T41" fmla="*/ 2147483647 h 44"/>
                <a:gd name="T42" fmla="*/ 0 w 66"/>
                <a:gd name="T43" fmla="*/ 2147483647 h 44"/>
                <a:gd name="T44" fmla="*/ 0 w 66"/>
                <a:gd name="T45" fmla="*/ 0 h 4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66" h="44">
                  <a:moveTo>
                    <a:pt x="0" y="0"/>
                  </a:moveTo>
                  <a:lnTo>
                    <a:pt x="13" y="1"/>
                  </a:lnTo>
                  <a:lnTo>
                    <a:pt x="23" y="2"/>
                  </a:lnTo>
                  <a:lnTo>
                    <a:pt x="32" y="4"/>
                  </a:lnTo>
                  <a:lnTo>
                    <a:pt x="38" y="7"/>
                  </a:lnTo>
                  <a:lnTo>
                    <a:pt x="44" y="9"/>
                  </a:lnTo>
                  <a:lnTo>
                    <a:pt x="50" y="11"/>
                  </a:lnTo>
                  <a:lnTo>
                    <a:pt x="57" y="12"/>
                  </a:lnTo>
                  <a:lnTo>
                    <a:pt x="66" y="13"/>
                  </a:lnTo>
                  <a:lnTo>
                    <a:pt x="65" y="17"/>
                  </a:lnTo>
                  <a:lnTo>
                    <a:pt x="62" y="21"/>
                  </a:lnTo>
                  <a:lnTo>
                    <a:pt x="60" y="25"/>
                  </a:lnTo>
                  <a:lnTo>
                    <a:pt x="57" y="28"/>
                  </a:lnTo>
                  <a:lnTo>
                    <a:pt x="49" y="34"/>
                  </a:lnTo>
                  <a:lnTo>
                    <a:pt x="40" y="39"/>
                  </a:lnTo>
                  <a:lnTo>
                    <a:pt x="31" y="42"/>
                  </a:lnTo>
                  <a:lnTo>
                    <a:pt x="21" y="44"/>
                  </a:lnTo>
                  <a:lnTo>
                    <a:pt x="10" y="44"/>
                  </a:lnTo>
                  <a:lnTo>
                    <a:pt x="0" y="43"/>
                  </a:lnTo>
                  <a:lnTo>
                    <a:pt x="0" y="31"/>
                  </a:lnTo>
                  <a:lnTo>
                    <a:pt x="0" y="22"/>
                  </a:lnTo>
                  <a:lnTo>
                    <a:pt x="0" y="1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22" name="Freeform 197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4653594" y="6071039"/>
              <a:ext cx="23813" cy="57150"/>
            </a:xfrm>
            <a:custGeom>
              <a:avLst/>
              <a:gdLst>
                <a:gd name="T0" fmla="*/ 0 w 53"/>
                <a:gd name="T1" fmla="*/ 2147483647 h 19"/>
                <a:gd name="T2" fmla="*/ 2147483647 w 53"/>
                <a:gd name="T3" fmla="*/ 2147483647 h 19"/>
                <a:gd name="T4" fmla="*/ 2147483647 w 53"/>
                <a:gd name="T5" fmla="*/ 2147483647 h 19"/>
                <a:gd name="T6" fmla="*/ 2147483647 w 53"/>
                <a:gd name="T7" fmla="*/ 2147483647 h 19"/>
                <a:gd name="T8" fmla="*/ 2147483647 w 53"/>
                <a:gd name="T9" fmla="*/ 2147483647 h 19"/>
                <a:gd name="T10" fmla="*/ 2147483647 w 53"/>
                <a:gd name="T11" fmla="*/ 2147483647 h 19"/>
                <a:gd name="T12" fmla="*/ 2147483647 w 53"/>
                <a:gd name="T13" fmla="*/ 2147483647 h 19"/>
                <a:gd name="T14" fmla="*/ 2147483647 w 53"/>
                <a:gd name="T15" fmla="*/ 2147483647 h 19"/>
                <a:gd name="T16" fmla="*/ 2147483647 w 53"/>
                <a:gd name="T17" fmla="*/ 2147483647 h 19"/>
                <a:gd name="T18" fmla="*/ 2147483647 w 53"/>
                <a:gd name="T19" fmla="*/ 2147483647 h 19"/>
                <a:gd name="T20" fmla="*/ 2147483647 w 53"/>
                <a:gd name="T21" fmla="*/ 2147483647 h 19"/>
                <a:gd name="T22" fmla="*/ 2147483647 w 53"/>
                <a:gd name="T23" fmla="*/ 2147483647 h 19"/>
                <a:gd name="T24" fmla="*/ 2147483647 w 53"/>
                <a:gd name="T25" fmla="*/ 0 h 19"/>
                <a:gd name="T26" fmla="*/ 2147483647 w 53"/>
                <a:gd name="T27" fmla="*/ 0 h 19"/>
                <a:gd name="T28" fmla="*/ 2147483647 w 53"/>
                <a:gd name="T29" fmla="*/ 2147483647 h 19"/>
                <a:gd name="T30" fmla="*/ 2147483647 w 53"/>
                <a:gd name="T31" fmla="*/ 2147483647 h 19"/>
                <a:gd name="T32" fmla="*/ 0 w 53"/>
                <a:gd name="T33" fmla="*/ 2147483647 h 1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53" h="19">
                  <a:moveTo>
                    <a:pt x="0" y="8"/>
                  </a:moveTo>
                  <a:lnTo>
                    <a:pt x="7" y="13"/>
                  </a:lnTo>
                  <a:lnTo>
                    <a:pt x="14" y="17"/>
                  </a:lnTo>
                  <a:lnTo>
                    <a:pt x="22" y="19"/>
                  </a:lnTo>
                  <a:lnTo>
                    <a:pt x="29" y="19"/>
                  </a:lnTo>
                  <a:lnTo>
                    <a:pt x="35" y="18"/>
                  </a:lnTo>
                  <a:lnTo>
                    <a:pt x="42" y="15"/>
                  </a:lnTo>
                  <a:lnTo>
                    <a:pt x="47" y="12"/>
                  </a:lnTo>
                  <a:lnTo>
                    <a:pt x="53" y="8"/>
                  </a:lnTo>
                  <a:lnTo>
                    <a:pt x="47" y="5"/>
                  </a:lnTo>
                  <a:lnTo>
                    <a:pt x="42" y="2"/>
                  </a:lnTo>
                  <a:lnTo>
                    <a:pt x="35" y="1"/>
                  </a:lnTo>
                  <a:lnTo>
                    <a:pt x="29" y="0"/>
                  </a:lnTo>
                  <a:lnTo>
                    <a:pt x="22" y="0"/>
                  </a:lnTo>
                  <a:lnTo>
                    <a:pt x="14" y="1"/>
                  </a:lnTo>
                  <a:lnTo>
                    <a:pt x="7" y="3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23" name="Freeform 198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4618669" y="6050402"/>
              <a:ext cx="34925" cy="58737"/>
            </a:xfrm>
            <a:custGeom>
              <a:avLst/>
              <a:gdLst>
                <a:gd name="T0" fmla="*/ 0 w 80"/>
                <a:gd name="T1" fmla="*/ 0 h 18"/>
                <a:gd name="T2" fmla="*/ 2147483647 w 80"/>
                <a:gd name="T3" fmla="*/ 2147483647 h 18"/>
                <a:gd name="T4" fmla="*/ 2147483647 w 80"/>
                <a:gd name="T5" fmla="*/ 2147483647 h 18"/>
                <a:gd name="T6" fmla="*/ 2147483647 w 80"/>
                <a:gd name="T7" fmla="*/ 2147483647 h 18"/>
                <a:gd name="T8" fmla="*/ 2147483647 w 80"/>
                <a:gd name="T9" fmla="*/ 2147483647 h 18"/>
                <a:gd name="T10" fmla="*/ 2147483647 w 80"/>
                <a:gd name="T11" fmla="*/ 2147483647 h 18"/>
                <a:gd name="T12" fmla="*/ 2147483647 w 80"/>
                <a:gd name="T13" fmla="*/ 2147483647 h 18"/>
                <a:gd name="T14" fmla="*/ 2147483647 w 80"/>
                <a:gd name="T15" fmla="*/ 2147483647 h 18"/>
                <a:gd name="T16" fmla="*/ 2147483647 w 80"/>
                <a:gd name="T17" fmla="*/ 2147483647 h 18"/>
                <a:gd name="T18" fmla="*/ 2147483647 w 80"/>
                <a:gd name="T19" fmla="*/ 2147483647 h 18"/>
                <a:gd name="T20" fmla="*/ 2147483647 w 80"/>
                <a:gd name="T21" fmla="*/ 2147483647 h 18"/>
                <a:gd name="T22" fmla="*/ 2147483647 w 80"/>
                <a:gd name="T23" fmla="*/ 2147483647 h 18"/>
                <a:gd name="T24" fmla="*/ 2147483647 w 80"/>
                <a:gd name="T25" fmla="*/ 2147483647 h 18"/>
                <a:gd name="T26" fmla="*/ 2147483647 w 80"/>
                <a:gd name="T27" fmla="*/ 2147483647 h 18"/>
                <a:gd name="T28" fmla="*/ 2147483647 w 80"/>
                <a:gd name="T29" fmla="*/ 2147483647 h 18"/>
                <a:gd name="T30" fmla="*/ 2147483647 w 80"/>
                <a:gd name="T31" fmla="*/ 2147483647 h 18"/>
                <a:gd name="T32" fmla="*/ 2147483647 w 80"/>
                <a:gd name="T33" fmla="*/ 2147483647 h 18"/>
                <a:gd name="T34" fmla="*/ 2147483647 w 80"/>
                <a:gd name="T35" fmla="*/ 2147483647 h 18"/>
                <a:gd name="T36" fmla="*/ 2147483647 w 80"/>
                <a:gd name="T37" fmla="*/ 0 h 18"/>
                <a:gd name="T38" fmla="*/ 0 w 80"/>
                <a:gd name="T39" fmla="*/ 0 h 18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80" h="18">
                  <a:moveTo>
                    <a:pt x="0" y="0"/>
                  </a:moveTo>
                  <a:lnTo>
                    <a:pt x="1" y="6"/>
                  </a:lnTo>
                  <a:lnTo>
                    <a:pt x="5" y="12"/>
                  </a:lnTo>
                  <a:lnTo>
                    <a:pt x="8" y="14"/>
                  </a:lnTo>
                  <a:lnTo>
                    <a:pt x="11" y="16"/>
                  </a:lnTo>
                  <a:lnTo>
                    <a:pt x="15" y="18"/>
                  </a:lnTo>
                  <a:lnTo>
                    <a:pt x="20" y="18"/>
                  </a:lnTo>
                  <a:lnTo>
                    <a:pt x="22" y="15"/>
                  </a:lnTo>
                  <a:lnTo>
                    <a:pt x="24" y="13"/>
                  </a:lnTo>
                  <a:lnTo>
                    <a:pt x="26" y="11"/>
                  </a:lnTo>
                  <a:lnTo>
                    <a:pt x="31" y="10"/>
                  </a:lnTo>
                  <a:lnTo>
                    <a:pt x="38" y="8"/>
                  </a:lnTo>
                  <a:lnTo>
                    <a:pt x="47" y="7"/>
                  </a:lnTo>
                  <a:lnTo>
                    <a:pt x="57" y="7"/>
                  </a:lnTo>
                  <a:lnTo>
                    <a:pt x="66" y="6"/>
                  </a:lnTo>
                  <a:lnTo>
                    <a:pt x="70" y="5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8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24" name="Freeform 199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4618669" y="6029764"/>
              <a:ext cx="22225" cy="60325"/>
            </a:xfrm>
            <a:custGeom>
              <a:avLst/>
              <a:gdLst>
                <a:gd name="T0" fmla="*/ 2147483647 w 46"/>
                <a:gd name="T1" fmla="*/ 0 h 27"/>
                <a:gd name="T2" fmla="*/ 0 w 46"/>
                <a:gd name="T3" fmla="*/ 2147483647 h 27"/>
                <a:gd name="T4" fmla="*/ 2147483647 w 46"/>
                <a:gd name="T5" fmla="*/ 2147483647 h 27"/>
                <a:gd name="T6" fmla="*/ 2147483647 w 46"/>
                <a:gd name="T7" fmla="*/ 2147483647 h 27"/>
                <a:gd name="T8" fmla="*/ 2147483647 w 46"/>
                <a:gd name="T9" fmla="*/ 2147483647 h 27"/>
                <a:gd name="T10" fmla="*/ 2147483647 w 46"/>
                <a:gd name="T11" fmla="*/ 2147483647 h 27"/>
                <a:gd name="T12" fmla="*/ 2147483647 w 46"/>
                <a:gd name="T13" fmla="*/ 2147483647 h 27"/>
                <a:gd name="T14" fmla="*/ 2147483647 w 46"/>
                <a:gd name="T15" fmla="*/ 2147483647 h 27"/>
                <a:gd name="T16" fmla="*/ 2147483647 w 46"/>
                <a:gd name="T17" fmla="*/ 2147483647 h 27"/>
                <a:gd name="T18" fmla="*/ 2147483647 w 46"/>
                <a:gd name="T19" fmla="*/ 2147483647 h 27"/>
                <a:gd name="T20" fmla="*/ 2147483647 w 46"/>
                <a:gd name="T21" fmla="*/ 2147483647 h 27"/>
                <a:gd name="T22" fmla="*/ 2147483647 w 46"/>
                <a:gd name="T23" fmla="*/ 2147483647 h 27"/>
                <a:gd name="T24" fmla="*/ 2147483647 w 46"/>
                <a:gd name="T25" fmla="*/ 2147483647 h 27"/>
                <a:gd name="T26" fmla="*/ 2147483647 w 46"/>
                <a:gd name="T27" fmla="*/ 0 h 2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46" h="27">
                  <a:moveTo>
                    <a:pt x="20" y="0"/>
                  </a:moveTo>
                  <a:lnTo>
                    <a:pt x="0" y="18"/>
                  </a:lnTo>
                  <a:lnTo>
                    <a:pt x="9" y="22"/>
                  </a:lnTo>
                  <a:lnTo>
                    <a:pt x="16" y="25"/>
                  </a:lnTo>
                  <a:lnTo>
                    <a:pt x="23" y="27"/>
                  </a:lnTo>
                  <a:lnTo>
                    <a:pt x="29" y="27"/>
                  </a:lnTo>
                  <a:lnTo>
                    <a:pt x="33" y="27"/>
                  </a:lnTo>
                  <a:lnTo>
                    <a:pt x="37" y="25"/>
                  </a:lnTo>
                  <a:lnTo>
                    <a:pt x="42" y="22"/>
                  </a:lnTo>
                  <a:lnTo>
                    <a:pt x="46" y="18"/>
                  </a:lnTo>
                  <a:lnTo>
                    <a:pt x="41" y="16"/>
                  </a:lnTo>
                  <a:lnTo>
                    <a:pt x="33" y="11"/>
                  </a:lnTo>
                  <a:lnTo>
                    <a:pt x="26" y="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25" name="Freeform 200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4588507" y="6023414"/>
              <a:ext cx="25400" cy="60325"/>
            </a:xfrm>
            <a:custGeom>
              <a:avLst/>
              <a:gdLst>
                <a:gd name="T0" fmla="*/ 2147483647 w 54"/>
                <a:gd name="T1" fmla="*/ 0 h 39"/>
                <a:gd name="T2" fmla="*/ 2147483647 w 54"/>
                <a:gd name="T3" fmla="*/ 2147483647 h 39"/>
                <a:gd name="T4" fmla="*/ 2147483647 w 54"/>
                <a:gd name="T5" fmla="*/ 2147483647 h 39"/>
                <a:gd name="T6" fmla="*/ 2147483647 w 54"/>
                <a:gd name="T7" fmla="*/ 2147483647 h 39"/>
                <a:gd name="T8" fmla="*/ 2147483647 w 54"/>
                <a:gd name="T9" fmla="*/ 2147483647 h 39"/>
                <a:gd name="T10" fmla="*/ 2147483647 w 54"/>
                <a:gd name="T11" fmla="*/ 2147483647 h 39"/>
                <a:gd name="T12" fmla="*/ 0 w 54"/>
                <a:gd name="T13" fmla="*/ 2147483647 h 39"/>
                <a:gd name="T14" fmla="*/ 2147483647 w 54"/>
                <a:gd name="T15" fmla="*/ 2147483647 h 39"/>
                <a:gd name="T16" fmla="*/ 2147483647 w 54"/>
                <a:gd name="T17" fmla="*/ 2147483647 h 39"/>
                <a:gd name="T18" fmla="*/ 2147483647 w 54"/>
                <a:gd name="T19" fmla="*/ 2147483647 h 39"/>
                <a:gd name="T20" fmla="*/ 2147483647 w 54"/>
                <a:gd name="T21" fmla="*/ 2147483647 h 39"/>
                <a:gd name="T22" fmla="*/ 2147483647 w 54"/>
                <a:gd name="T23" fmla="*/ 2147483647 h 39"/>
                <a:gd name="T24" fmla="*/ 2147483647 w 54"/>
                <a:gd name="T25" fmla="*/ 2147483647 h 39"/>
                <a:gd name="T26" fmla="*/ 2147483647 w 54"/>
                <a:gd name="T27" fmla="*/ 2147483647 h 39"/>
                <a:gd name="T28" fmla="*/ 2147483647 w 54"/>
                <a:gd name="T29" fmla="*/ 2147483647 h 39"/>
                <a:gd name="T30" fmla="*/ 2147483647 w 54"/>
                <a:gd name="T31" fmla="*/ 2147483647 h 39"/>
                <a:gd name="T32" fmla="*/ 2147483647 w 54"/>
                <a:gd name="T33" fmla="*/ 2147483647 h 39"/>
                <a:gd name="T34" fmla="*/ 2147483647 w 54"/>
                <a:gd name="T35" fmla="*/ 2147483647 h 39"/>
                <a:gd name="T36" fmla="*/ 2147483647 w 54"/>
                <a:gd name="T37" fmla="*/ 2147483647 h 39"/>
                <a:gd name="T38" fmla="*/ 2147483647 w 54"/>
                <a:gd name="T39" fmla="*/ 2147483647 h 39"/>
                <a:gd name="T40" fmla="*/ 2147483647 w 54"/>
                <a:gd name="T41" fmla="*/ 2147483647 h 39"/>
                <a:gd name="T42" fmla="*/ 2147483647 w 54"/>
                <a:gd name="T43" fmla="*/ 2147483647 h 39"/>
                <a:gd name="T44" fmla="*/ 2147483647 w 54"/>
                <a:gd name="T45" fmla="*/ 2147483647 h 39"/>
                <a:gd name="T46" fmla="*/ 2147483647 w 54"/>
                <a:gd name="T47" fmla="*/ 2147483647 h 39"/>
                <a:gd name="T48" fmla="*/ 2147483647 w 54"/>
                <a:gd name="T49" fmla="*/ 2147483647 h 39"/>
                <a:gd name="T50" fmla="*/ 2147483647 w 54"/>
                <a:gd name="T51" fmla="*/ 2147483647 h 39"/>
                <a:gd name="T52" fmla="*/ 2147483647 w 54"/>
                <a:gd name="T53" fmla="*/ 2147483647 h 39"/>
                <a:gd name="T54" fmla="*/ 2147483647 w 54"/>
                <a:gd name="T55" fmla="*/ 2147483647 h 39"/>
                <a:gd name="T56" fmla="*/ 2147483647 w 54"/>
                <a:gd name="T57" fmla="*/ 2147483647 h 39"/>
                <a:gd name="T58" fmla="*/ 2147483647 w 54"/>
                <a:gd name="T59" fmla="*/ 2147483647 h 39"/>
                <a:gd name="T60" fmla="*/ 2147483647 w 54"/>
                <a:gd name="T61" fmla="*/ 0 h 3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54" h="39">
                  <a:moveTo>
                    <a:pt x="34" y="0"/>
                  </a:moveTo>
                  <a:lnTo>
                    <a:pt x="20" y="4"/>
                  </a:lnTo>
                  <a:lnTo>
                    <a:pt x="10" y="10"/>
                  </a:lnTo>
                  <a:lnTo>
                    <a:pt x="6" y="13"/>
                  </a:lnTo>
                  <a:lnTo>
                    <a:pt x="4" y="16"/>
                  </a:lnTo>
                  <a:lnTo>
                    <a:pt x="2" y="20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3" y="32"/>
                  </a:lnTo>
                  <a:lnTo>
                    <a:pt x="5" y="35"/>
                  </a:lnTo>
                  <a:lnTo>
                    <a:pt x="8" y="37"/>
                  </a:lnTo>
                  <a:lnTo>
                    <a:pt x="11" y="38"/>
                  </a:lnTo>
                  <a:lnTo>
                    <a:pt x="16" y="39"/>
                  </a:lnTo>
                  <a:lnTo>
                    <a:pt x="20" y="39"/>
                  </a:lnTo>
                  <a:lnTo>
                    <a:pt x="25" y="39"/>
                  </a:lnTo>
                  <a:lnTo>
                    <a:pt x="30" y="38"/>
                  </a:lnTo>
                  <a:lnTo>
                    <a:pt x="34" y="37"/>
                  </a:lnTo>
                  <a:lnTo>
                    <a:pt x="39" y="35"/>
                  </a:lnTo>
                  <a:lnTo>
                    <a:pt x="43" y="33"/>
                  </a:lnTo>
                  <a:lnTo>
                    <a:pt x="47" y="30"/>
                  </a:lnTo>
                  <a:lnTo>
                    <a:pt x="50" y="26"/>
                  </a:lnTo>
                  <a:lnTo>
                    <a:pt x="52" y="22"/>
                  </a:lnTo>
                  <a:lnTo>
                    <a:pt x="54" y="18"/>
                  </a:lnTo>
                  <a:lnTo>
                    <a:pt x="51" y="17"/>
                  </a:lnTo>
                  <a:lnTo>
                    <a:pt x="48" y="16"/>
                  </a:lnTo>
                  <a:lnTo>
                    <a:pt x="44" y="14"/>
                  </a:lnTo>
                  <a:lnTo>
                    <a:pt x="42" y="11"/>
                  </a:lnTo>
                  <a:lnTo>
                    <a:pt x="39" y="8"/>
                  </a:lnTo>
                  <a:lnTo>
                    <a:pt x="37" y="5"/>
                  </a:lnTo>
                  <a:lnTo>
                    <a:pt x="34" y="2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26" name="Freeform 201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4563107" y="6013889"/>
              <a:ext cx="28575" cy="58738"/>
            </a:xfrm>
            <a:custGeom>
              <a:avLst/>
              <a:gdLst>
                <a:gd name="T0" fmla="*/ 0 w 60"/>
                <a:gd name="T1" fmla="*/ 2147483647 h 15"/>
                <a:gd name="T2" fmla="*/ 2147483647 w 60"/>
                <a:gd name="T3" fmla="*/ 2147483647 h 15"/>
                <a:gd name="T4" fmla="*/ 2147483647 w 60"/>
                <a:gd name="T5" fmla="*/ 2147483647 h 15"/>
                <a:gd name="T6" fmla="*/ 2147483647 w 60"/>
                <a:gd name="T7" fmla="*/ 2147483647 h 15"/>
                <a:gd name="T8" fmla="*/ 2147483647 w 60"/>
                <a:gd name="T9" fmla="*/ 2147483647 h 15"/>
                <a:gd name="T10" fmla="*/ 2147483647 w 60"/>
                <a:gd name="T11" fmla="*/ 2147483647 h 15"/>
                <a:gd name="T12" fmla="*/ 2147483647 w 60"/>
                <a:gd name="T13" fmla="*/ 2147483647 h 15"/>
                <a:gd name="T14" fmla="*/ 2147483647 w 60"/>
                <a:gd name="T15" fmla="*/ 2147483647 h 15"/>
                <a:gd name="T16" fmla="*/ 2147483647 w 60"/>
                <a:gd name="T17" fmla="*/ 2147483647 h 15"/>
                <a:gd name="T18" fmla="*/ 2147483647 w 60"/>
                <a:gd name="T19" fmla="*/ 2147483647 h 15"/>
                <a:gd name="T20" fmla="*/ 2147483647 w 60"/>
                <a:gd name="T21" fmla="*/ 0 h 15"/>
                <a:gd name="T22" fmla="*/ 2147483647 w 60"/>
                <a:gd name="T23" fmla="*/ 0 h 15"/>
                <a:gd name="T24" fmla="*/ 2147483647 w 60"/>
                <a:gd name="T25" fmla="*/ 0 h 15"/>
                <a:gd name="T26" fmla="*/ 2147483647 w 60"/>
                <a:gd name="T27" fmla="*/ 0 h 15"/>
                <a:gd name="T28" fmla="*/ 2147483647 w 60"/>
                <a:gd name="T29" fmla="*/ 2147483647 h 15"/>
                <a:gd name="T30" fmla="*/ 2147483647 w 60"/>
                <a:gd name="T31" fmla="*/ 2147483647 h 15"/>
                <a:gd name="T32" fmla="*/ 2147483647 w 60"/>
                <a:gd name="T33" fmla="*/ 2147483647 h 15"/>
                <a:gd name="T34" fmla="*/ 2147483647 w 60"/>
                <a:gd name="T35" fmla="*/ 2147483647 h 15"/>
                <a:gd name="T36" fmla="*/ 0 w 60"/>
                <a:gd name="T37" fmla="*/ 2147483647 h 1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0" h="15">
                  <a:moveTo>
                    <a:pt x="0" y="11"/>
                  </a:moveTo>
                  <a:lnTo>
                    <a:pt x="10" y="13"/>
                  </a:lnTo>
                  <a:lnTo>
                    <a:pt x="18" y="14"/>
                  </a:lnTo>
                  <a:lnTo>
                    <a:pt x="27" y="15"/>
                  </a:lnTo>
                  <a:lnTo>
                    <a:pt x="35" y="15"/>
                  </a:lnTo>
                  <a:lnTo>
                    <a:pt x="41" y="14"/>
                  </a:lnTo>
                  <a:lnTo>
                    <a:pt x="48" y="12"/>
                  </a:lnTo>
                  <a:lnTo>
                    <a:pt x="55" y="9"/>
                  </a:lnTo>
                  <a:lnTo>
                    <a:pt x="60" y="5"/>
                  </a:lnTo>
                  <a:lnTo>
                    <a:pt x="57" y="3"/>
                  </a:lnTo>
                  <a:lnTo>
                    <a:pt x="54" y="0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3" y="3"/>
                  </a:lnTo>
                  <a:lnTo>
                    <a:pt x="24" y="6"/>
                  </a:lnTo>
                  <a:lnTo>
                    <a:pt x="16" y="8"/>
                  </a:lnTo>
                  <a:lnTo>
                    <a:pt x="7" y="10"/>
                  </a:lnTo>
                  <a:lnTo>
                    <a:pt x="0" y="1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27" name="Freeform 202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4539294" y="6001189"/>
              <a:ext cx="33338" cy="57150"/>
            </a:xfrm>
            <a:custGeom>
              <a:avLst/>
              <a:gdLst>
                <a:gd name="T0" fmla="*/ 2147483647 w 79"/>
                <a:gd name="T1" fmla="*/ 0 h 32"/>
                <a:gd name="T2" fmla="*/ 2147483647 w 79"/>
                <a:gd name="T3" fmla="*/ 2147483647 h 32"/>
                <a:gd name="T4" fmla="*/ 2147483647 w 79"/>
                <a:gd name="T5" fmla="*/ 2147483647 h 32"/>
                <a:gd name="T6" fmla="*/ 2147483647 w 79"/>
                <a:gd name="T7" fmla="*/ 2147483647 h 32"/>
                <a:gd name="T8" fmla="*/ 2147483647 w 79"/>
                <a:gd name="T9" fmla="*/ 2147483647 h 32"/>
                <a:gd name="T10" fmla="*/ 2147483647 w 79"/>
                <a:gd name="T11" fmla="*/ 2147483647 h 32"/>
                <a:gd name="T12" fmla="*/ 2147483647 w 79"/>
                <a:gd name="T13" fmla="*/ 2147483647 h 32"/>
                <a:gd name="T14" fmla="*/ 2147483647 w 79"/>
                <a:gd name="T15" fmla="*/ 2147483647 h 32"/>
                <a:gd name="T16" fmla="*/ 0 w 79"/>
                <a:gd name="T17" fmla="*/ 2147483647 h 32"/>
                <a:gd name="T18" fmla="*/ 2147483647 w 79"/>
                <a:gd name="T19" fmla="*/ 2147483647 h 32"/>
                <a:gd name="T20" fmla="*/ 2147483647 w 79"/>
                <a:gd name="T21" fmla="*/ 2147483647 h 32"/>
                <a:gd name="T22" fmla="*/ 2147483647 w 79"/>
                <a:gd name="T23" fmla="*/ 2147483647 h 32"/>
                <a:gd name="T24" fmla="*/ 2147483647 w 79"/>
                <a:gd name="T25" fmla="*/ 2147483647 h 32"/>
                <a:gd name="T26" fmla="*/ 2147483647 w 79"/>
                <a:gd name="T27" fmla="*/ 2147483647 h 32"/>
                <a:gd name="T28" fmla="*/ 2147483647 w 79"/>
                <a:gd name="T29" fmla="*/ 2147483647 h 32"/>
                <a:gd name="T30" fmla="*/ 2147483647 w 79"/>
                <a:gd name="T31" fmla="*/ 2147483647 h 32"/>
                <a:gd name="T32" fmla="*/ 2147483647 w 79"/>
                <a:gd name="T33" fmla="*/ 2147483647 h 32"/>
                <a:gd name="T34" fmla="*/ 2147483647 w 79"/>
                <a:gd name="T35" fmla="*/ 2147483647 h 32"/>
                <a:gd name="T36" fmla="*/ 2147483647 w 79"/>
                <a:gd name="T37" fmla="*/ 2147483647 h 32"/>
                <a:gd name="T38" fmla="*/ 2147483647 w 79"/>
                <a:gd name="T39" fmla="*/ 2147483647 h 32"/>
                <a:gd name="T40" fmla="*/ 2147483647 w 79"/>
                <a:gd name="T41" fmla="*/ 2147483647 h 32"/>
                <a:gd name="T42" fmla="*/ 2147483647 w 79"/>
                <a:gd name="T43" fmla="*/ 2147483647 h 32"/>
                <a:gd name="T44" fmla="*/ 2147483647 w 79"/>
                <a:gd name="T45" fmla="*/ 2147483647 h 32"/>
                <a:gd name="T46" fmla="*/ 2147483647 w 79"/>
                <a:gd name="T47" fmla="*/ 2147483647 h 32"/>
                <a:gd name="T48" fmla="*/ 2147483647 w 79"/>
                <a:gd name="T49" fmla="*/ 0 h 3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32">
                  <a:moveTo>
                    <a:pt x="40" y="0"/>
                  </a:moveTo>
                  <a:lnTo>
                    <a:pt x="34" y="1"/>
                  </a:lnTo>
                  <a:lnTo>
                    <a:pt x="30" y="2"/>
                  </a:lnTo>
                  <a:lnTo>
                    <a:pt x="25" y="4"/>
                  </a:lnTo>
                  <a:lnTo>
                    <a:pt x="20" y="6"/>
                  </a:lnTo>
                  <a:lnTo>
                    <a:pt x="15" y="9"/>
                  </a:lnTo>
                  <a:lnTo>
                    <a:pt x="10" y="11"/>
                  </a:lnTo>
                  <a:lnTo>
                    <a:pt x="5" y="12"/>
                  </a:lnTo>
                  <a:lnTo>
                    <a:pt x="0" y="13"/>
                  </a:lnTo>
                  <a:lnTo>
                    <a:pt x="5" y="21"/>
                  </a:lnTo>
                  <a:lnTo>
                    <a:pt x="10" y="26"/>
                  </a:lnTo>
                  <a:lnTo>
                    <a:pt x="12" y="29"/>
                  </a:lnTo>
                  <a:lnTo>
                    <a:pt x="15" y="31"/>
                  </a:lnTo>
                  <a:lnTo>
                    <a:pt x="18" y="31"/>
                  </a:lnTo>
                  <a:lnTo>
                    <a:pt x="20" y="32"/>
                  </a:lnTo>
                  <a:lnTo>
                    <a:pt x="27" y="31"/>
                  </a:lnTo>
                  <a:lnTo>
                    <a:pt x="34" y="30"/>
                  </a:lnTo>
                  <a:lnTo>
                    <a:pt x="41" y="27"/>
                  </a:lnTo>
                  <a:lnTo>
                    <a:pt x="48" y="24"/>
                  </a:lnTo>
                  <a:lnTo>
                    <a:pt x="62" y="18"/>
                  </a:lnTo>
                  <a:lnTo>
                    <a:pt x="79" y="13"/>
                  </a:lnTo>
                  <a:lnTo>
                    <a:pt x="67" y="6"/>
                  </a:lnTo>
                  <a:lnTo>
                    <a:pt x="58" y="2"/>
                  </a:lnTo>
                  <a:lnTo>
                    <a:pt x="49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28" name="Freeform 203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4532944" y="5982139"/>
              <a:ext cx="30163" cy="57150"/>
            </a:xfrm>
            <a:custGeom>
              <a:avLst/>
              <a:gdLst>
                <a:gd name="T0" fmla="*/ 2147483647 w 66"/>
                <a:gd name="T1" fmla="*/ 0 h 19"/>
                <a:gd name="T2" fmla="*/ 2147483647 w 66"/>
                <a:gd name="T3" fmla="*/ 2147483647 h 19"/>
                <a:gd name="T4" fmla="*/ 2147483647 w 66"/>
                <a:gd name="T5" fmla="*/ 2147483647 h 19"/>
                <a:gd name="T6" fmla="*/ 2147483647 w 66"/>
                <a:gd name="T7" fmla="*/ 2147483647 h 19"/>
                <a:gd name="T8" fmla="*/ 2147483647 w 66"/>
                <a:gd name="T9" fmla="*/ 2147483647 h 19"/>
                <a:gd name="T10" fmla="*/ 2147483647 w 66"/>
                <a:gd name="T11" fmla="*/ 2147483647 h 19"/>
                <a:gd name="T12" fmla="*/ 2147483647 w 66"/>
                <a:gd name="T13" fmla="*/ 2147483647 h 19"/>
                <a:gd name="T14" fmla="*/ 0 w 66"/>
                <a:gd name="T15" fmla="*/ 2147483647 h 19"/>
                <a:gd name="T16" fmla="*/ 0 w 66"/>
                <a:gd name="T17" fmla="*/ 2147483647 h 19"/>
                <a:gd name="T18" fmla="*/ 2147483647 w 66"/>
                <a:gd name="T19" fmla="*/ 2147483647 h 19"/>
                <a:gd name="T20" fmla="*/ 2147483647 w 66"/>
                <a:gd name="T21" fmla="*/ 2147483647 h 19"/>
                <a:gd name="T22" fmla="*/ 2147483647 w 66"/>
                <a:gd name="T23" fmla="*/ 2147483647 h 19"/>
                <a:gd name="T24" fmla="*/ 2147483647 w 66"/>
                <a:gd name="T25" fmla="*/ 2147483647 h 19"/>
                <a:gd name="T26" fmla="*/ 2147483647 w 66"/>
                <a:gd name="T27" fmla="*/ 2147483647 h 19"/>
                <a:gd name="T28" fmla="*/ 2147483647 w 66"/>
                <a:gd name="T29" fmla="*/ 2147483647 h 19"/>
                <a:gd name="T30" fmla="*/ 2147483647 w 66"/>
                <a:gd name="T31" fmla="*/ 2147483647 h 19"/>
                <a:gd name="T32" fmla="*/ 2147483647 w 66"/>
                <a:gd name="T33" fmla="*/ 2147483647 h 19"/>
                <a:gd name="T34" fmla="*/ 2147483647 w 66"/>
                <a:gd name="T35" fmla="*/ 2147483647 h 19"/>
                <a:gd name="T36" fmla="*/ 2147483647 w 66"/>
                <a:gd name="T37" fmla="*/ 0 h 1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66" h="19">
                  <a:moveTo>
                    <a:pt x="33" y="0"/>
                  </a:moveTo>
                  <a:lnTo>
                    <a:pt x="25" y="1"/>
                  </a:lnTo>
                  <a:lnTo>
                    <a:pt x="19" y="2"/>
                  </a:lnTo>
                  <a:lnTo>
                    <a:pt x="13" y="4"/>
                  </a:lnTo>
                  <a:lnTo>
                    <a:pt x="9" y="7"/>
                  </a:lnTo>
                  <a:lnTo>
                    <a:pt x="5" y="11"/>
                  </a:lnTo>
                  <a:lnTo>
                    <a:pt x="2" y="1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19" y="19"/>
                  </a:lnTo>
                  <a:lnTo>
                    <a:pt x="38" y="19"/>
                  </a:lnTo>
                  <a:lnTo>
                    <a:pt x="46" y="18"/>
                  </a:lnTo>
                  <a:lnTo>
                    <a:pt x="54" y="17"/>
                  </a:lnTo>
                  <a:lnTo>
                    <a:pt x="61" y="15"/>
                  </a:lnTo>
                  <a:lnTo>
                    <a:pt x="66" y="13"/>
                  </a:lnTo>
                  <a:lnTo>
                    <a:pt x="57" y="8"/>
                  </a:lnTo>
                  <a:lnTo>
                    <a:pt x="50" y="4"/>
                  </a:lnTo>
                  <a:lnTo>
                    <a:pt x="42" y="1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29" name="Freeform 207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4482144" y="5851964"/>
              <a:ext cx="17463" cy="60325"/>
            </a:xfrm>
            <a:custGeom>
              <a:avLst/>
              <a:gdLst>
                <a:gd name="T0" fmla="*/ 0 w 39"/>
                <a:gd name="T1" fmla="*/ 2147483647 h 43"/>
                <a:gd name="T2" fmla="*/ 2147483647 w 39"/>
                <a:gd name="T3" fmla="*/ 2147483647 h 43"/>
                <a:gd name="T4" fmla="*/ 2147483647 w 39"/>
                <a:gd name="T5" fmla="*/ 2147483647 h 43"/>
                <a:gd name="T6" fmla="*/ 2147483647 w 39"/>
                <a:gd name="T7" fmla="*/ 2147483647 h 43"/>
                <a:gd name="T8" fmla="*/ 2147483647 w 39"/>
                <a:gd name="T9" fmla="*/ 2147483647 h 43"/>
                <a:gd name="T10" fmla="*/ 2147483647 w 39"/>
                <a:gd name="T11" fmla="*/ 2147483647 h 43"/>
                <a:gd name="T12" fmla="*/ 2147483647 w 39"/>
                <a:gd name="T13" fmla="*/ 2147483647 h 43"/>
                <a:gd name="T14" fmla="*/ 2147483647 w 39"/>
                <a:gd name="T15" fmla="*/ 2147483647 h 43"/>
                <a:gd name="T16" fmla="*/ 2147483647 w 39"/>
                <a:gd name="T17" fmla="*/ 2147483647 h 43"/>
                <a:gd name="T18" fmla="*/ 2147483647 w 39"/>
                <a:gd name="T19" fmla="*/ 2147483647 h 43"/>
                <a:gd name="T20" fmla="*/ 2147483647 w 39"/>
                <a:gd name="T21" fmla="*/ 2147483647 h 43"/>
                <a:gd name="T22" fmla="*/ 2147483647 w 39"/>
                <a:gd name="T23" fmla="*/ 2147483647 h 43"/>
                <a:gd name="T24" fmla="*/ 2147483647 w 39"/>
                <a:gd name="T25" fmla="*/ 0 h 43"/>
                <a:gd name="T26" fmla="*/ 2147483647 w 39"/>
                <a:gd name="T27" fmla="*/ 2147483647 h 43"/>
                <a:gd name="T28" fmla="*/ 2147483647 w 39"/>
                <a:gd name="T29" fmla="*/ 2147483647 h 43"/>
                <a:gd name="T30" fmla="*/ 0 w 39"/>
                <a:gd name="T31" fmla="*/ 2147483647 h 4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9" h="43">
                  <a:moveTo>
                    <a:pt x="0" y="12"/>
                  </a:moveTo>
                  <a:lnTo>
                    <a:pt x="2" y="17"/>
                  </a:lnTo>
                  <a:lnTo>
                    <a:pt x="6" y="22"/>
                  </a:lnTo>
                  <a:lnTo>
                    <a:pt x="12" y="27"/>
                  </a:lnTo>
                  <a:lnTo>
                    <a:pt x="16" y="32"/>
                  </a:lnTo>
                  <a:lnTo>
                    <a:pt x="23" y="37"/>
                  </a:lnTo>
                  <a:lnTo>
                    <a:pt x="28" y="40"/>
                  </a:lnTo>
                  <a:lnTo>
                    <a:pt x="34" y="43"/>
                  </a:lnTo>
                  <a:lnTo>
                    <a:pt x="39" y="43"/>
                  </a:lnTo>
                  <a:lnTo>
                    <a:pt x="38" y="32"/>
                  </a:lnTo>
                  <a:lnTo>
                    <a:pt x="36" y="19"/>
                  </a:lnTo>
                  <a:lnTo>
                    <a:pt x="34" y="8"/>
                  </a:lnTo>
                  <a:lnTo>
                    <a:pt x="32" y="0"/>
                  </a:lnTo>
                  <a:lnTo>
                    <a:pt x="19" y="3"/>
                  </a:lnTo>
                  <a:lnTo>
                    <a:pt x="6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30" name="Freeform 208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4469444" y="5864664"/>
              <a:ext cx="26988" cy="58738"/>
            </a:xfrm>
            <a:custGeom>
              <a:avLst/>
              <a:gdLst>
                <a:gd name="T0" fmla="*/ 2147483647 w 55"/>
                <a:gd name="T1" fmla="*/ 2147483647 h 62"/>
                <a:gd name="T2" fmla="*/ 2147483647 w 55"/>
                <a:gd name="T3" fmla="*/ 0 h 62"/>
                <a:gd name="T4" fmla="*/ 2147483647 w 55"/>
                <a:gd name="T5" fmla="*/ 2147483647 h 62"/>
                <a:gd name="T6" fmla="*/ 2147483647 w 55"/>
                <a:gd name="T7" fmla="*/ 2147483647 h 62"/>
                <a:gd name="T8" fmla="*/ 0 w 55"/>
                <a:gd name="T9" fmla="*/ 2147483647 h 62"/>
                <a:gd name="T10" fmla="*/ 0 w 55"/>
                <a:gd name="T11" fmla="*/ 2147483647 h 62"/>
                <a:gd name="T12" fmla="*/ 2147483647 w 55"/>
                <a:gd name="T13" fmla="*/ 2147483647 h 62"/>
                <a:gd name="T14" fmla="*/ 2147483647 w 55"/>
                <a:gd name="T15" fmla="*/ 2147483647 h 62"/>
                <a:gd name="T16" fmla="*/ 2147483647 w 55"/>
                <a:gd name="T17" fmla="*/ 2147483647 h 62"/>
                <a:gd name="T18" fmla="*/ 2147483647 w 55"/>
                <a:gd name="T19" fmla="*/ 2147483647 h 62"/>
                <a:gd name="T20" fmla="*/ 2147483647 w 55"/>
                <a:gd name="T21" fmla="*/ 2147483647 h 62"/>
                <a:gd name="T22" fmla="*/ 2147483647 w 55"/>
                <a:gd name="T23" fmla="*/ 2147483647 h 62"/>
                <a:gd name="T24" fmla="*/ 2147483647 w 55"/>
                <a:gd name="T25" fmla="*/ 2147483647 h 62"/>
                <a:gd name="T26" fmla="*/ 2147483647 w 55"/>
                <a:gd name="T27" fmla="*/ 2147483647 h 62"/>
                <a:gd name="T28" fmla="*/ 2147483647 w 55"/>
                <a:gd name="T29" fmla="*/ 2147483647 h 62"/>
                <a:gd name="T30" fmla="*/ 2147483647 w 55"/>
                <a:gd name="T31" fmla="*/ 2147483647 h 62"/>
                <a:gd name="T32" fmla="*/ 2147483647 w 55"/>
                <a:gd name="T33" fmla="*/ 2147483647 h 62"/>
                <a:gd name="T34" fmla="*/ 2147483647 w 55"/>
                <a:gd name="T35" fmla="*/ 2147483647 h 62"/>
                <a:gd name="T36" fmla="*/ 2147483647 w 55"/>
                <a:gd name="T37" fmla="*/ 2147483647 h 62"/>
                <a:gd name="T38" fmla="*/ 2147483647 w 55"/>
                <a:gd name="T39" fmla="*/ 2147483647 h 62"/>
                <a:gd name="T40" fmla="*/ 2147483647 w 55"/>
                <a:gd name="T41" fmla="*/ 2147483647 h 62"/>
                <a:gd name="T42" fmla="*/ 2147483647 w 55"/>
                <a:gd name="T43" fmla="*/ 2147483647 h 62"/>
                <a:gd name="T44" fmla="*/ 2147483647 w 55"/>
                <a:gd name="T45" fmla="*/ 2147483647 h 62"/>
                <a:gd name="T46" fmla="*/ 2147483647 w 55"/>
                <a:gd name="T47" fmla="*/ 2147483647 h 62"/>
                <a:gd name="T48" fmla="*/ 2147483647 w 55"/>
                <a:gd name="T49" fmla="*/ 2147483647 h 62"/>
                <a:gd name="T50" fmla="*/ 2147483647 w 55"/>
                <a:gd name="T51" fmla="*/ 2147483647 h 6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55" h="62">
                  <a:moveTo>
                    <a:pt x="29" y="26"/>
                  </a:moveTo>
                  <a:lnTo>
                    <a:pt x="8" y="0"/>
                  </a:lnTo>
                  <a:lnTo>
                    <a:pt x="4" y="5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1"/>
                  </a:lnTo>
                  <a:lnTo>
                    <a:pt x="2" y="26"/>
                  </a:lnTo>
                  <a:lnTo>
                    <a:pt x="4" y="31"/>
                  </a:lnTo>
                  <a:lnTo>
                    <a:pt x="8" y="36"/>
                  </a:lnTo>
                  <a:lnTo>
                    <a:pt x="11" y="41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6" y="53"/>
                  </a:lnTo>
                  <a:lnTo>
                    <a:pt x="33" y="56"/>
                  </a:lnTo>
                  <a:lnTo>
                    <a:pt x="38" y="58"/>
                  </a:lnTo>
                  <a:lnTo>
                    <a:pt x="44" y="60"/>
                  </a:lnTo>
                  <a:lnTo>
                    <a:pt x="49" y="61"/>
                  </a:lnTo>
                  <a:lnTo>
                    <a:pt x="55" y="62"/>
                  </a:lnTo>
                  <a:lnTo>
                    <a:pt x="54" y="53"/>
                  </a:lnTo>
                  <a:lnTo>
                    <a:pt x="53" y="46"/>
                  </a:lnTo>
                  <a:lnTo>
                    <a:pt x="49" y="40"/>
                  </a:lnTo>
                  <a:lnTo>
                    <a:pt x="46" y="35"/>
                  </a:lnTo>
                  <a:lnTo>
                    <a:pt x="43" y="31"/>
                  </a:lnTo>
                  <a:lnTo>
                    <a:pt x="38" y="28"/>
                  </a:lnTo>
                  <a:lnTo>
                    <a:pt x="33" y="26"/>
                  </a:lnTo>
                  <a:lnTo>
                    <a:pt x="29" y="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31" name="Freeform 209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4499607" y="5898002"/>
              <a:ext cx="11112" cy="58737"/>
            </a:xfrm>
            <a:custGeom>
              <a:avLst/>
              <a:gdLst>
                <a:gd name="T0" fmla="*/ 2147483647 w 35"/>
                <a:gd name="T1" fmla="*/ 2147483647 h 43"/>
                <a:gd name="T2" fmla="*/ 2147483647 w 35"/>
                <a:gd name="T3" fmla="*/ 0 h 43"/>
                <a:gd name="T4" fmla="*/ 2147483647 w 35"/>
                <a:gd name="T5" fmla="*/ 2147483647 h 43"/>
                <a:gd name="T6" fmla="*/ 0 w 35"/>
                <a:gd name="T7" fmla="*/ 2147483647 h 43"/>
                <a:gd name="T8" fmla="*/ 2147483647 w 35"/>
                <a:gd name="T9" fmla="*/ 2147483647 h 43"/>
                <a:gd name="T10" fmla="*/ 2147483647 w 35"/>
                <a:gd name="T11" fmla="*/ 2147483647 h 43"/>
                <a:gd name="T12" fmla="*/ 2147483647 w 35"/>
                <a:gd name="T13" fmla="*/ 2147483647 h 43"/>
                <a:gd name="T14" fmla="*/ 2147483647 w 35"/>
                <a:gd name="T15" fmla="*/ 2147483647 h 43"/>
                <a:gd name="T16" fmla="*/ 2147483647 w 35"/>
                <a:gd name="T17" fmla="*/ 2147483647 h 43"/>
                <a:gd name="T18" fmla="*/ 2147483647 w 35"/>
                <a:gd name="T19" fmla="*/ 2147483647 h 43"/>
                <a:gd name="T20" fmla="*/ 2147483647 w 35"/>
                <a:gd name="T21" fmla="*/ 2147483647 h 43"/>
                <a:gd name="T22" fmla="*/ 2147483647 w 35"/>
                <a:gd name="T23" fmla="*/ 2147483647 h 43"/>
                <a:gd name="T24" fmla="*/ 2147483647 w 35"/>
                <a:gd name="T25" fmla="*/ 2147483647 h 43"/>
                <a:gd name="T26" fmla="*/ 2147483647 w 35"/>
                <a:gd name="T27" fmla="*/ 2147483647 h 43"/>
                <a:gd name="T28" fmla="*/ 2147483647 w 35"/>
                <a:gd name="T29" fmla="*/ 2147483647 h 43"/>
                <a:gd name="T30" fmla="*/ 2147483647 w 35"/>
                <a:gd name="T31" fmla="*/ 2147483647 h 43"/>
                <a:gd name="T32" fmla="*/ 2147483647 w 35"/>
                <a:gd name="T33" fmla="*/ 2147483647 h 43"/>
                <a:gd name="T34" fmla="*/ 2147483647 w 35"/>
                <a:gd name="T35" fmla="*/ 2147483647 h 4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43">
                  <a:moveTo>
                    <a:pt x="33" y="13"/>
                  </a:moveTo>
                  <a:lnTo>
                    <a:pt x="7" y="0"/>
                  </a:lnTo>
                  <a:lnTo>
                    <a:pt x="4" y="8"/>
                  </a:lnTo>
                  <a:lnTo>
                    <a:pt x="0" y="19"/>
                  </a:lnTo>
                  <a:lnTo>
                    <a:pt x="2" y="28"/>
                  </a:lnTo>
                  <a:lnTo>
                    <a:pt x="5" y="36"/>
                  </a:lnTo>
                  <a:lnTo>
                    <a:pt x="6" y="39"/>
                  </a:lnTo>
                  <a:lnTo>
                    <a:pt x="8" y="41"/>
                  </a:lnTo>
                  <a:lnTo>
                    <a:pt x="11" y="43"/>
                  </a:lnTo>
                  <a:lnTo>
                    <a:pt x="14" y="43"/>
                  </a:lnTo>
                  <a:lnTo>
                    <a:pt x="18" y="43"/>
                  </a:lnTo>
                  <a:lnTo>
                    <a:pt x="22" y="42"/>
                  </a:lnTo>
                  <a:lnTo>
                    <a:pt x="26" y="41"/>
                  </a:lnTo>
                  <a:lnTo>
                    <a:pt x="28" y="39"/>
                  </a:lnTo>
                  <a:lnTo>
                    <a:pt x="31" y="35"/>
                  </a:lnTo>
                  <a:lnTo>
                    <a:pt x="33" y="30"/>
                  </a:lnTo>
                  <a:lnTo>
                    <a:pt x="35" y="20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32" name="Freeform 210"/>
            <p:cNvSpPr>
              <a:spLocks/>
            </p:cNvSpPr>
            <p:nvPr>
              <p:custDataLst>
                <p:tags r:id="rId17"/>
              </p:custDataLst>
            </p:nvPr>
          </p:nvSpPr>
          <p:spPr bwMode="auto">
            <a:xfrm>
              <a:off x="4496432" y="5931339"/>
              <a:ext cx="20637" cy="55563"/>
            </a:xfrm>
            <a:custGeom>
              <a:avLst/>
              <a:gdLst>
                <a:gd name="T0" fmla="*/ 2147483647 w 53"/>
                <a:gd name="T1" fmla="*/ 0 h 21"/>
                <a:gd name="T2" fmla="*/ 2147483647 w 53"/>
                <a:gd name="T3" fmla="*/ 2147483647 h 21"/>
                <a:gd name="T4" fmla="*/ 2147483647 w 53"/>
                <a:gd name="T5" fmla="*/ 2147483647 h 21"/>
                <a:gd name="T6" fmla="*/ 2147483647 w 53"/>
                <a:gd name="T7" fmla="*/ 2147483647 h 21"/>
                <a:gd name="T8" fmla="*/ 2147483647 w 53"/>
                <a:gd name="T9" fmla="*/ 2147483647 h 21"/>
                <a:gd name="T10" fmla="*/ 2147483647 w 53"/>
                <a:gd name="T11" fmla="*/ 2147483647 h 21"/>
                <a:gd name="T12" fmla="*/ 2147483647 w 53"/>
                <a:gd name="T13" fmla="*/ 2147483647 h 21"/>
                <a:gd name="T14" fmla="*/ 2147483647 w 53"/>
                <a:gd name="T15" fmla="*/ 2147483647 h 21"/>
                <a:gd name="T16" fmla="*/ 0 w 53"/>
                <a:gd name="T17" fmla="*/ 2147483647 h 21"/>
                <a:gd name="T18" fmla="*/ 2147483647 w 53"/>
                <a:gd name="T19" fmla="*/ 2147483647 h 21"/>
                <a:gd name="T20" fmla="*/ 2147483647 w 53"/>
                <a:gd name="T21" fmla="*/ 2147483647 h 21"/>
                <a:gd name="T22" fmla="*/ 2147483647 w 53"/>
                <a:gd name="T23" fmla="*/ 2147483647 h 21"/>
                <a:gd name="T24" fmla="*/ 2147483647 w 53"/>
                <a:gd name="T25" fmla="*/ 2147483647 h 21"/>
                <a:gd name="T26" fmla="*/ 2147483647 w 53"/>
                <a:gd name="T27" fmla="*/ 2147483647 h 21"/>
                <a:gd name="T28" fmla="*/ 2147483647 w 53"/>
                <a:gd name="T29" fmla="*/ 2147483647 h 21"/>
                <a:gd name="T30" fmla="*/ 2147483647 w 53"/>
                <a:gd name="T31" fmla="*/ 0 h 2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21">
                  <a:moveTo>
                    <a:pt x="53" y="0"/>
                  </a:moveTo>
                  <a:lnTo>
                    <a:pt x="41" y="1"/>
                  </a:lnTo>
                  <a:lnTo>
                    <a:pt x="32" y="2"/>
                  </a:lnTo>
                  <a:lnTo>
                    <a:pt x="25" y="5"/>
                  </a:lnTo>
                  <a:lnTo>
                    <a:pt x="21" y="7"/>
                  </a:lnTo>
                  <a:lnTo>
                    <a:pt x="17" y="10"/>
                  </a:lnTo>
                  <a:lnTo>
                    <a:pt x="13" y="13"/>
                  </a:lnTo>
                  <a:lnTo>
                    <a:pt x="8" y="16"/>
                  </a:lnTo>
                  <a:lnTo>
                    <a:pt x="0" y="18"/>
                  </a:lnTo>
                  <a:lnTo>
                    <a:pt x="5" y="20"/>
                  </a:lnTo>
                  <a:lnTo>
                    <a:pt x="11" y="21"/>
                  </a:lnTo>
                  <a:lnTo>
                    <a:pt x="17" y="21"/>
                  </a:lnTo>
                  <a:lnTo>
                    <a:pt x="24" y="21"/>
                  </a:lnTo>
                  <a:lnTo>
                    <a:pt x="38" y="19"/>
                  </a:lnTo>
                  <a:lnTo>
                    <a:pt x="53" y="18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33" name="Freeform 211"/>
            <p:cNvSpPr>
              <a:spLocks/>
            </p:cNvSpPr>
            <p:nvPr>
              <p:custDataLst>
                <p:tags r:id="rId18"/>
              </p:custDataLst>
            </p:nvPr>
          </p:nvSpPr>
          <p:spPr bwMode="auto">
            <a:xfrm>
              <a:off x="4520244" y="5945627"/>
              <a:ext cx="17463" cy="57150"/>
            </a:xfrm>
            <a:custGeom>
              <a:avLst/>
              <a:gdLst>
                <a:gd name="T0" fmla="*/ 2147483647 w 43"/>
                <a:gd name="T1" fmla="*/ 0 h 38"/>
                <a:gd name="T2" fmla="*/ 2147483647 w 43"/>
                <a:gd name="T3" fmla="*/ 0 h 38"/>
                <a:gd name="T4" fmla="*/ 2147483647 w 43"/>
                <a:gd name="T5" fmla="*/ 0 h 38"/>
                <a:gd name="T6" fmla="*/ 2147483647 w 43"/>
                <a:gd name="T7" fmla="*/ 0 h 38"/>
                <a:gd name="T8" fmla="*/ 0 w 43"/>
                <a:gd name="T9" fmla="*/ 2147483647 h 38"/>
                <a:gd name="T10" fmla="*/ 0 w 43"/>
                <a:gd name="T11" fmla="*/ 2147483647 h 38"/>
                <a:gd name="T12" fmla="*/ 0 w 43"/>
                <a:gd name="T13" fmla="*/ 2147483647 h 38"/>
                <a:gd name="T14" fmla="*/ 2147483647 w 43"/>
                <a:gd name="T15" fmla="*/ 2147483647 h 38"/>
                <a:gd name="T16" fmla="*/ 2147483647 w 43"/>
                <a:gd name="T17" fmla="*/ 2147483647 h 38"/>
                <a:gd name="T18" fmla="*/ 2147483647 w 43"/>
                <a:gd name="T19" fmla="*/ 2147483647 h 38"/>
                <a:gd name="T20" fmla="*/ 2147483647 w 43"/>
                <a:gd name="T21" fmla="*/ 2147483647 h 38"/>
                <a:gd name="T22" fmla="*/ 2147483647 w 43"/>
                <a:gd name="T23" fmla="*/ 2147483647 h 38"/>
                <a:gd name="T24" fmla="*/ 2147483647 w 43"/>
                <a:gd name="T25" fmla="*/ 2147483647 h 38"/>
                <a:gd name="T26" fmla="*/ 2147483647 w 43"/>
                <a:gd name="T27" fmla="*/ 2147483647 h 38"/>
                <a:gd name="T28" fmla="*/ 2147483647 w 43"/>
                <a:gd name="T29" fmla="*/ 2147483647 h 38"/>
                <a:gd name="T30" fmla="*/ 2147483647 w 43"/>
                <a:gd name="T31" fmla="*/ 2147483647 h 38"/>
                <a:gd name="T32" fmla="*/ 2147483647 w 43"/>
                <a:gd name="T33" fmla="*/ 2147483647 h 38"/>
                <a:gd name="T34" fmla="*/ 2147483647 w 43"/>
                <a:gd name="T35" fmla="*/ 2147483647 h 38"/>
                <a:gd name="T36" fmla="*/ 2147483647 w 43"/>
                <a:gd name="T37" fmla="*/ 2147483647 h 38"/>
                <a:gd name="T38" fmla="*/ 2147483647 w 43"/>
                <a:gd name="T39" fmla="*/ 2147483647 h 38"/>
                <a:gd name="T40" fmla="*/ 2147483647 w 43"/>
                <a:gd name="T41" fmla="*/ 2147483647 h 38"/>
                <a:gd name="T42" fmla="*/ 2147483647 w 43"/>
                <a:gd name="T43" fmla="*/ 2147483647 h 38"/>
                <a:gd name="T44" fmla="*/ 2147483647 w 43"/>
                <a:gd name="T45" fmla="*/ 2147483647 h 38"/>
                <a:gd name="T46" fmla="*/ 2147483647 w 43"/>
                <a:gd name="T47" fmla="*/ 2147483647 h 38"/>
                <a:gd name="T48" fmla="*/ 2147483647 w 43"/>
                <a:gd name="T49" fmla="*/ 0 h 3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3" h="38">
                  <a:moveTo>
                    <a:pt x="22" y="0"/>
                  </a:moveTo>
                  <a:lnTo>
                    <a:pt x="12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1"/>
                  </a:lnTo>
                  <a:lnTo>
                    <a:pt x="0" y="3"/>
                  </a:lnTo>
                  <a:lnTo>
                    <a:pt x="0" y="6"/>
                  </a:lnTo>
                  <a:lnTo>
                    <a:pt x="1" y="10"/>
                  </a:lnTo>
                  <a:lnTo>
                    <a:pt x="2" y="12"/>
                  </a:lnTo>
                  <a:lnTo>
                    <a:pt x="3" y="18"/>
                  </a:lnTo>
                  <a:lnTo>
                    <a:pt x="5" y="25"/>
                  </a:lnTo>
                  <a:lnTo>
                    <a:pt x="10" y="30"/>
                  </a:lnTo>
                  <a:lnTo>
                    <a:pt x="15" y="34"/>
                  </a:lnTo>
                  <a:lnTo>
                    <a:pt x="21" y="37"/>
                  </a:lnTo>
                  <a:lnTo>
                    <a:pt x="27" y="38"/>
                  </a:lnTo>
                  <a:lnTo>
                    <a:pt x="35" y="38"/>
                  </a:lnTo>
                  <a:lnTo>
                    <a:pt x="43" y="37"/>
                  </a:lnTo>
                  <a:lnTo>
                    <a:pt x="40" y="29"/>
                  </a:lnTo>
                  <a:lnTo>
                    <a:pt x="36" y="23"/>
                  </a:lnTo>
                  <a:lnTo>
                    <a:pt x="33" y="17"/>
                  </a:lnTo>
                  <a:lnTo>
                    <a:pt x="30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3" y="4"/>
                  </a:lnTo>
                  <a:lnTo>
                    <a:pt x="2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34" name="Freeform 212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4521832" y="5974202"/>
              <a:ext cx="6350" cy="57150"/>
            </a:xfrm>
            <a:custGeom>
              <a:avLst/>
              <a:gdLst>
                <a:gd name="T0" fmla="*/ 0 w 20"/>
                <a:gd name="T1" fmla="*/ 0 h 5"/>
                <a:gd name="T2" fmla="*/ 2147483647 w 20"/>
                <a:gd name="T3" fmla="*/ 2147483647 h 5"/>
                <a:gd name="T4" fmla="*/ 2147483647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2147483647 h 5"/>
                <a:gd name="T16" fmla="*/ 2147483647 w 20"/>
                <a:gd name="T17" fmla="*/ 0 h 5"/>
                <a:gd name="T18" fmla="*/ 0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0" h="5">
                  <a:moveTo>
                    <a:pt x="0" y="0"/>
                  </a:moveTo>
                  <a:lnTo>
                    <a:pt x="1" y="2"/>
                  </a:lnTo>
                  <a:lnTo>
                    <a:pt x="2" y="3"/>
                  </a:lnTo>
                  <a:lnTo>
                    <a:pt x="4" y="4"/>
                  </a:lnTo>
                  <a:lnTo>
                    <a:pt x="7" y="5"/>
                  </a:lnTo>
                  <a:lnTo>
                    <a:pt x="11" y="4"/>
                  </a:lnTo>
                  <a:lnTo>
                    <a:pt x="14" y="3"/>
                  </a:lnTo>
                  <a:lnTo>
                    <a:pt x="17" y="2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35" name="Freeform 213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4596444" y="6044052"/>
              <a:ext cx="34925" cy="57150"/>
            </a:xfrm>
            <a:custGeom>
              <a:avLst/>
              <a:gdLst>
                <a:gd name="T0" fmla="*/ 2147483647 w 73"/>
                <a:gd name="T1" fmla="*/ 0 h 22"/>
                <a:gd name="T2" fmla="*/ 2147483647 w 73"/>
                <a:gd name="T3" fmla="*/ 2147483647 h 22"/>
                <a:gd name="T4" fmla="*/ 2147483647 w 73"/>
                <a:gd name="T5" fmla="*/ 2147483647 h 22"/>
                <a:gd name="T6" fmla="*/ 2147483647 w 73"/>
                <a:gd name="T7" fmla="*/ 2147483647 h 22"/>
                <a:gd name="T8" fmla="*/ 2147483647 w 73"/>
                <a:gd name="T9" fmla="*/ 2147483647 h 22"/>
                <a:gd name="T10" fmla="*/ 2147483647 w 73"/>
                <a:gd name="T11" fmla="*/ 2147483647 h 22"/>
                <a:gd name="T12" fmla="*/ 0 w 73"/>
                <a:gd name="T13" fmla="*/ 2147483647 h 22"/>
                <a:gd name="T14" fmla="*/ 2147483647 w 73"/>
                <a:gd name="T15" fmla="*/ 2147483647 h 22"/>
                <a:gd name="T16" fmla="*/ 2147483647 w 73"/>
                <a:gd name="T17" fmla="*/ 2147483647 h 22"/>
                <a:gd name="T18" fmla="*/ 2147483647 w 73"/>
                <a:gd name="T19" fmla="*/ 2147483647 h 22"/>
                <a:gd name="T20" fmla="*/ 2147483647 w 73"/>
                <a:gd name="T21" fmla="*/ 2147483647 h 22"/>
                <a:gd name="T22" fmla="*/ 2147483647 w 73"/>
                <a:gd name="T23" fmla="*/ 2147483647 h 22"/>
                <a:gd name="T24" fmla="*/ 2147483647 w 73"/>
                <a:gd name="T25" fmla="*/ 2147483647 h 22"/>
                <a:gd name="T26" fmla="*/ 2147483647 w 73"/>
                <a:gd name="T27" fmla="*/ 2147483647 h 22"/>
                <a:gd name="T28" fmla="*/ 2147483647 w 73"/>
                <a:gd name="T29" fmla="*/ 2147483647 h 22"/>
                <a:gd name="T30" fmla="*/ 2147483647 w 73"/>
                <a:gd name="T31" fmla="*/ 2147483647 h 22"/>
                <a:gd name="T32" fmla="*/ 2147483647 w 73"/>
                <a:gd name="T33" fmla="*/ 2147483647 h 22"/>
                <a:gd name="T34" fmla="*/ 2147483647 w 73"/>
                <a:gd name="T35" fmla="*/ 2147483647 h 22"/>
                <a:gd name="T36" fmla="*/ 2147483647 w 73"/>
                <a:gd name="T37" fmla="*/ 0 h 2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73" h="22">
                  <a:moveTo>
                    <a:pt x="40" y="0"/>
                  </a:moveTo>
                  <a:lnTo>
                    <a:pt x="32" y="1"/>
                  </a:lnTo>
                  <a:lnTo>
                    <a:pt x="26" y="2"/>
                  </a:lnTo>
                  <a:lnTo>
                    <a:pt x="20" y="5"/>
                  </a:lnTo>
                  <a:lnTo>
                    <a:pt x="15" y="8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20" y="20"/>
                  </a:lnTo>
                  <a:lnTo>
                    <a:pt x="39" y="22"/>
                  </a:lnTo>
                  <a:lnTo>
                    <a:pt x="49" y="22"/>
                  </a:lnTo>
                  <a:lnTo>
                    <a:pt x="57" y="22"/>
                  </a:lnTo>
                  <a:lnTo>
                    <a:pt x="65" y="21"/>
                  </a:lnTo>
                  <a:lnTo>
                    <a:pt x="73" y="19"/>
                  </a:lnTo>
                  <a:lnTo>
                    <a:pt x="64" y="14"/>
                  </a:lnTo>
                  <a:lnTo>
                    <a:pt x="56" y="8"/>
                  </a:lnTo>
                  <a:lnTo>
                    <a:pt x="53" y="5"/>
                  </a:lnTo>
                  <a:lnTo>
                    <a:pt x="49" y="2"/>
                  </a:lnTo>
                  <a:lnTo>
                    <a:pt x="44" y="1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36" name="Freeform 214"/>
            <p:cNvSpPr>
              <a:spLocks/>
            </p:cNvSpPr>
            <p:nvPr>
              <p:custDataLst>
                <p:tags r:id="rId21"/>
              </p:custDataLst>
            </p:nvPr>
          </p:nvSpPr>
          <p:spPr bwMode="auto">
            <a:xfrm>
              <a:off x="4634544" y="5985314"/>
              <a:ext cx="123825" cy="100013"/>
            </a:xfrm>
            <a:custGeom>
              <a:avLst/>
              <a:gdLst>
                <a:gd name="T0" fmla="*/ 2147483647 w 281"/>
                <a:gd name="T1" fmla="*/ 2147483647 h 193"/>
                <a:gd name="T2" fmla="*/ 2147483647 w 281"/>
                <a:gd name="T3" fmla="*/ 2147483647 h 193"/>
                <a:gd name="T4" fmla="*/ 2147483647 w 281"/>
                <a:gd name="T5" fmla="*/ 2147483647 h 193"/>
                <a:gd name="T6" fmla="*/ 2147483647 w 281"/>
                <a:gd name="T7" fmla="*/ 2147483647 h 193"/>
                <a:gd name="T8" fmla="*/ 2147483647 w 281"/>
                <a:gd name="T9" fmla="*/ 2147483647 h 193"/>
                <a:gd name="T10" fmla="*/ 2147483647 w 281"/>
                <a:gd name="T11" fmla="*/ 2147483647 h 193"/>
                <a:gd name="T12" fmla="*/ 2147483647 w 281"/>
                <a:gd name="T13" fmla="*/ 2147483647 h 193"/>
                <a:gd name="T14" fmla="*/ 2147483647 w 281"/>
                <a:gd name="T15" fmla="*/ 2147483647 h 193"/>
                <a:gd name="T16" fmla="*/ 2147483647 w 281"/>
                <a:gd name="T17" fmla="*/ 2147483647 h 193"/>
                <a:gd name="T18" fmla="*/ 2147483647 w 281"/>
                <a:gd name="T19" fmla="*/ 0 h 193"/>
                <a:gd name="T20" fmla="*/ 2147483647 w 281"/>
                <a:gd name="T21" fmla="*/ 2147483647 h 193"/>
                <a:gd name="T22" fmla="*/ 2147483647 w 281"/>
                <a:gd name="T23" fmla="*/ 2147483647 h 193"/>
                <a:gd name="T24" fmla="*/ 2147483647 w 281"/>
                <a:gd name="T25" fmla="*/ 2147483647 h 193"/>
                <a:gd name="T26" fmla="*/ 0 w 281"/>
                <a:gd name="T27" fmla="*/ 2147483647 h 193"/>
                <a:gd name="T28" fmla="*/ 2147483647 w 281"/>
                <a:gd name="T29" fmla="*/ 2147483647 h 193"/>
                <a:gd name="T30" fmla="*/ 2147483647 w 281"/>
                <a:gd name="T31" fmla="*/ 2147483647 h 193"/>
                <a:gd name="T32" fmla="*/ 2147483647 w 281"/>
                <a:gd name="T33" fmla="*/ 2147483647 h 193"/>
                <a:gd name="T34" fmla="*/ 2147483647 w 281"/>
                <a:gd name="T35" fmla="*/ 2147483647 h 193"/>
                <a:gd name="T36" fmla="*/ 2147483647 w 281"/>
                <a:gd name="T37" fmla="*/ 2147483647 h 193"/>
                <a:gd name="T38" fmla="*/ 2147483647 w 281"/>
                <a:gd name="T39" fmla="*/ 2147483647 h 193"/>
                <a:gd name="T40" fmla="*/ 2147483647 w 281"/>
                <a:gd name="T41" fmla="*/ 2147483647 h 193"/>
                <a:gd name="T42" fmla="*/ 2147483647 w 281"/>
                <a:gd name="T43" fmla="*/ 2147483647 h 193"/>
                <a:gd name="T44" fmla="*/ 2147483647 w 281"/>
                <a:gd name="T45" fmla="*/ 2147483647 h 193"/>
                <a:gd name="T46" fmla="*/ 2147483647 w 281"/>
                <a:gd name="T47" fmla="*/ 2147483647 h 193"/>
                <a:gd name="T48" fmla="*/ 2147483647 w 281"/>
                <a:gd name="T49" fmla="*/ 2147483647 h 193"/>
                <a:gd name="T50" fmla="*/ 2147483647 w 281"/>
                <a:gd name="T51" fmla="*/ 2147483647 h 193"/>
                <a:gd name="T52" fmla="*/ 2147483647 w 281"/>
                <a:gd name="T53" fmla="*/ 2147483647 h 193"/>
                <a:gd name="T54" fmla="*/ 2147483647 w 281"/>
                <a:gd name="T55" fmla="*/ 2147483647 h 193"/>
                <a:gd name="T56" fmla="*/ 2147483647 w 281"/>
                <a:gd name="T57" fmla="*/ 2147483647 h 193"/>
                <a:gd name="T58" fmla="*/ 2147483647 w 281"/>
                <a:gd name="T59" fmla="*/ 2147483647 h 193"/>
                <a:gd name="T60" fmla="*/ 2147483647 w 281"/>
                <a:gd name="T61" fmla="*/ 2147483647 h 193"/>
                <a:gd name="T62" fmla="*/ 2147483647 w 281"/>
                <a:gd name="T63" fmla="*/ 2147483647 h 193"/>
                <a:gd name="T64" fmla="*/ 2147483647 w 281"/>
                <a:gd name="T65" fmla="*/ 2147483647 h 193"/>
                <a:gd name="T66" fmla="*/ 2147483647 w 281"/>
                <a:gd name="T67" fmla="*/ 2147483647 h 193"/>
                <a:gd name="T68" fmla="*/ 2147483647 w 281"/>
                <a:gd name="T69" fmla="*/ 2147483647 h 193"/>
                <a:gd name="T70" fmla="*/ 2147483647 w 281"/>
                <a:gd name="T71" fmla="*/ 2147483647 h 1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81" h="193">
                  <a:moveTo>
                    <a:pt x="275" y="167"/>
                  </a:moveTo>
                  <a:lnTo>
                    <a:pt x="235" y="168"/>
                  </a:lnTo>
                  <a:lnTo>
                    <a:pt x="202" y="171"/>
                  </a:lnTo>
                  <a:lnTo>
                    <a:pt x="188" y="171"/>
                  </a:lnTo>
                  <a:lnTo>
                    <a:pt x="175" y="169"/>
                  </a:lnTo>
                  <a:lnTo>
                    <a:pt x="168" y="168"/>
                  </a:lnTo>
                  <a:lnTo>
                    <a:pt x="162" y="166"/>
                  </a:lnTo>
                  <a:lnTo>
                    <a:pt x="155" y="164"/>
                  </a:lnTo>
                  <a:lnTo>
                    <a:pt x="149" y="161"/>
                  </a:lnTo>
                  <a:lnTo>
                    <a:pt x="130" y="135"/>
                  </a:lnTo>
                  <a:lnTo>
                    <a:pt x="108" y="103"/>
                  </a:lnTo>
                  <a:lnTo>
                    <a:pt x="104" y="94"/>
                  </a:lnTo>
                  <a:lnTo>
                    <a:pt x="98" y="84"/>
                  </a:lnTo>
                  <a:lnTo>
                    <a:pt x="94" y="74"/>
                  </a:lnTo>
                  <a:lnTo>
                    <a:pt x="90" y="63"/>
                  </a:lnTo>
                  <a:lnTo>
                    <a:pt x="87" y="51"/>
                  </a:lnTo>
                  <a:lnTo>
                    <a:pt x="85" y="39"/>
                  </a:lnTo>
                  <a:lnTo>
                    <a:pt x="83" y="27"/>
                  </a:lnTo>
                  <a:lnTo>
                    <a:pt x="83" y="13"/>
                  </a:lnTo>
                  <a:lnTo>
                    <a:pt x="43" y="0"/>
                  </a:lnTo>
                  <a:lnTo>
                    <a:pt x="30" y="50"/>
                  </a:lnTo>
                  <a:lnTo>
                    <a:pt x="28" y="52"/>
                  </a:lnTo>
                  <a:lnTo>
                    <a:pt x="23" y="56"/>
                  </a:lnTo>
                  <a:lnTo>
                    <a:pt x="18" y="61"/>
                  </a:lnTo>
                  <a:lnTo>
                    <a:pt x="11" y="65"/>
                  </a:lnTo>
                  <a:lnTo>
                    <a:pt x="6" y="69"/>
                  </a:lnTo>
                  <a:lnTo>
                    <a:pt x="1" y="72"/>
                  </a:lnTo>
                  <a:lnTo>
                    <a:pt x="0" y="73"/>
                  </a:lnTo>
                  <a:lnTo>
                    <a:pt x="0" y="74"/>
                  </a:lnTo>
                  <a:lnTo>
                    <a:pt x="1" y="75"/>
                  </a:lnTo>
                  <a:lnTo>
                    <a:pt x="3" y="75"/>
                  </a:lnTo>
                  <a:lnTo>
                    <a:pt x="9" y="81"/>
                  </a:lnTo>
                  <a:lnTo>
                    <a:pt x="23" y="96"/>
                  </a:lnTo>
                  <a:lnTo>
                    <a:pt x="37" y="111"/>
                  </a:lnTo>
                  <a:lnTo>
                    <a:pt x="43" y="118"/>
                  </a:lnTo>
                  <a:lnTo>
                    <a:pt x="45" y="122"/>
                  </a:lnTo>
                  <a:lnTo>
                    <a:pt x="49" y="126"/>
                  </a:lnTo>
                  <a:lnTo>
                    <a:pt x="53" y="129"/>
                  </a:lnTo>
                  <a:lnTo>
                    <a:pt x="57" y="132"/>
                  </a:lnTo>
                  <a:lnTo>
                    <a:pt x="62" y="134"/>
                  </a:lnTo>
                  <a:lnTo>
                    <a:pt x="66" y="135"/>
                  </a:lnTo>
                  <a:lnTo>
                    <a:pt x="71" y="136"/>
                  </a:lnTo>
                  <a:lnTo>
                    <a:pt x="76" y="136"/>
                  </a:lnTo>
                  <a:lnTo>
                    <a:pt x="76" y="141"/>
                  </a:lnTo>
                  <a:lnTo>
                    <a:pt x="77" y="145"/>
                  </a:lnTo>
                  <a:lnTo>
                    <a:pt x="79" y="148"/>
                  </a:lnTo>
                  <a:lnTo>
                    <a:pt x="82" y="150"/>
                  </a:lnTo>
                  <a:lnTo>
                    <a:pt x="86" y="153"/>
                  </a:lnTo>
                  <a:lnTo>
                    <a:pt x="93" y="154"/>
                  </a:lnTo>
                  <a:lnTo>
                    <a:pt x="99" y="154"/>
                  </a:lnTo>
                  <a:lnTo>
                    <a:pt x="104" y="156"/>
                  </a:lnTo>
                  <a:lnTo>
                    <a:pt x="106" y="157"/>
                  </a:lnTo>
                  <a:lnTo>
                    <a:pt x="108" y="160"/>
                  </a:lnTo>
                  <a:lnTo>
                    <a:pt x="109" y="163"/>
                  </a:lnTo>
                  <a:lnTo>
                    <a:pt x="109" y="167"/>
                  </a:lnTo>
                  <a:lnTo>
                    <a:pt x="109" y="179"/>
                  </a:lnTo>
                  <a:lnTo>
                    <a:pt x="111" y="187"/>
                  </a:lnTo>
                  <a:lnTo>
                    <a:pt x="111" y="189"/>
                  </a:lnTo>
                  <a:lnTo>
                    <a:pt x="113" y="191"/>
                  </a:lnTo>
                  <a:lnTo>
                    <a:pt x="115" y="193"/>
                  </a:lnTo>
                  <a:lnTo>
                    <a:pt x="117" y="193"/>
                  </a:lnTo>
                  <a:lnTo>
                    <a:pt x="129" y="193"/>
                  </a:lnTo>
                  <a:lnTo>
                    <a:pt x="149" y="192"/>
                  </a:lnTo>
                  <a:lnTo>
                    <a:pt x="164" y="191"/>
                  </a:lnTo>
                  <a:lnTo>
                    <a:pt x="174" y="190"/>
                  </a:lnTo>
                  <a:lnTo>
                    <a:pt x="180" y="189"/>
                  </a:lnTo>
                  <a:lnTo>
                    <a:pt x="186" y="187"/>
                  </a:lnTo>
                  <a:lnTo>
                    <a:pt x="192" y="186"/>
                  </a:lnTo>
                  <a:lnTo>
                    <a:pt x="200" y="187"/>
                  </a:lnTo>
                  <a:lnTo>
                    <a:pt x="212" y="188"/>
                  </a:lnTo>
                  <a:lnTo>
                    <a:pt x="229" y="192"/>
                  </a:lnTo>
                  <a:lnTo>
                    <a:pt x="281" y="167"/>
                  </a:lnTo>
                  <a:lnTo>
                    <a:pt x="275" y="16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1096" name="Group 438"/>
            <p:cNvGrpSpPr>
              <a:grpSpLocks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4447219" y="5042432"/>
              <a:ext cx="384175" cy="1031905"/>
              <a:chOff x="1589" y="3126"/>
              <a:chExt cx="290" cy="657"/>
            </a:xfrm>
            <a:solidFill>
              <a:srgbClr val="FFFF00"/>
            </a:solidFill>
          </p:grpSpPr>
          <p:sp>
            <p:nvSpPr>
              <p:cNvPr id="1617" name="Freeform 439"/>
              <p:cNvSpPr>
                <a:spLocks/>
              </p:cNvSpPr>
              <p:nvPr/>
            </p:nvSpPr>
            <p:spPr bwMode="auto">
              <a:xfrm>
                <a:off x="1748" y="3531"/>
                <a:ext cx="15" cy="17"/>
              </a:xfrm>
              <a:custGeom>
                <a:avLst/>
                <a:gdLst>
                  <a:gd name="T0" fmla="*/ 46 w 46"/>
                  <a:gd name="T1" fmla="*/ 12 h 51"/>
                  <a:gd name="T2" fmla="*/ 19 w 46"/>
                  <a:gd name="T3" fmla="*/ 0 h 51"/>
                  <a:gd name="T4" fmla="*/ 13 w 46"/>
                  <a:gd name="T5" fmla="*/ 5 h 51"/>
                  <a:gd name="T6" fmla="*/ 7 w 46"/>
                  <a:gd name="T7" fmla="*/ 9 h 51"/>
                  <a:gd name="T8" fmla="*/ 4 w 46"/>
                  <a:gd name="T9" fmla="*/ 12 h 51"/>
                  <a:gd name="T10" fmla="*/ 2 w 46"/>
                  <a:gd name="T11" fmla="*/ 14 h 51"/>
                  <a:gd name="T12" fmla="*/ 0 w 46"/>
                  <a:gd name="T13" fmla="*/ 16 h 51"/>
                  <a:gd name="T14" fmla="*/ 0 w 46"/>
                  <a:gd name="T15" fmla="*/ 19 h 51"/>
                  <a:gd name="T16" fmla="*/ 0 w 46"/>
                  <a:gd name="T17" fmla="*/ 24 h 51"/>
                  <a:gd name="T18" fmla="*/ 2 w 46"/>
                  <a:gd name="T19" fmla="*/ 29 h 51"/>
                  <a:gd name="T20" fmla="*/ 4 w 46"/>
                  <a:gd name="T21" fmla="*/ 36 h 51"/>
                  <a:gd name="T22" fmla="*/ 7 w 46"/>
                  <a:gd name="T23" fmla="*/ 41 h 51"/>
                  <a:gd name="T24" fmla="*/ 10 w 46"/>
                  <a:gd name="T25" fmla="*/ 46 h 51"/>
                  <a:gd name="T26" fmla="*/ 13 w 46"/>
                  <a:gd name="T27" fmla="*/ 49 h 51"/>
                  <a:gd name="T28" fmla="*/ 15 w 46"/>
                  <a:gd name="T29" fmla="*/ 50 h 51"/>
                  <a:gd name="T30" fmla="*/ 16 w 46"/>
                  <a:gd name="T31" fmla="*/ 51 h 51"/>
                  <a:gd name="T32" fmla="*/ 18 w 46"/>
                  <a:gd name="T33" fmla="*/ 51 h 51"/>
                  <a:gd name="T34" fmla="*/ 19 w 46"/>
                  <a:gd name="T35" fmla="*/ 50 h 51"/>
                  <a:gd name="T36" fmla="*/ 35 w 46"/>
                  <a:gd name="T37" fmla="*/ 50 h 51"/>
                  <a:gd name="T38" fmla="*/ 46 w 46"/>
                  <a:gd name="T39" fmla="*/ 50 h 51"/>
                  <a:gd name="T40" fmla="*/ 46 w 46"/>
                  <a:gd name="T41" fmla="*/ 37 h 51"/>
                  <a:gd name="T42" fmla="*/ 46 w 46"/>
                  <a:gd name="T43" fmla="*/ 26 h 51"/>
                  <a:gd name="T44" fmla="*/ 46 w 46"/>
                  <a:gd name="T45" fmla="*/ 18 h 51"/>
                  <a:gd name="T46" fmla="*/ 46 w 46"/>
                  <a:gd name="T47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6" h="51">
                    <a:moveTo>
                      <a:pt x="46" y="12"/>
                    </a:moveTo>
                    <a:lnTo>
                      <a:pt x="19" y="0"/>
                    </a:lnTo>
                    <a:lnTo>
                      <a:pt x="13" y="5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0" y="19"/>
                    </a:lnTo>
                    <a:lnTo>
                      <a:pt x="0" y="24"/>
                    </a:lnTo>
                    <a:lnTo>
                      <a:pt x="2" y="29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3" y="49"/>
                    </a:lnTo>
                    <a:lnTo>
                      <a:pt x="15" y="50"/>
                    </a:lnTo>
                    <a:lnTo>
                      <a:pt x="16" y="51"/>
                    </a:lnTo>
                    <a:lnTo>
                      <a:pt x="18" y="51"/>
                    </a:lnTo>
                    <a:lnTo>
                      <a:pt x="19" y="50"/>
                    </a:lnTo>
                    <a:lnTo>
                      <a:pt x="35" y="50"/>
                    </a:lnTo>
                    <a:lnTo>
                      <a:pt x="46" y="50"/>
                    </a:lnTo>
                    <a:lnTo>
                      <a:pt x="46" y="37"/>
                    </a:lnTo>
                    <a:lnTo>
                      <a:pt x="46" y="26"/>
                    </a:lnTo>
                    <a:lnTo>
                      <a:pt x="46" y="18"/>
                    </a:lnTo>
                    <a:lnTo>
                      <a:pt x="46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618" name="Freeform 440"/>
              <p:cNvSpPr>
                <a:spLocks/>
              </p:cNvSpPr>
              <p:nvPr/>
            </p:nvSpPr>
            <p:spPr bwMode="auto">
              <a:xfrm>
                <a:off x="1759" y="3730"/>
                <a:ext cx="63" cy="53"/>
              </a:xfrm>
              <a:custGeom>
                <a:avLst/>
                <a:gdLst>
                  <a:gd name="T0" fmla="*/ 0 w 192"/>
                  <a:gd name="T1" fmla="*/ 0 h 158"/>
                  <a:gd name="T2" fmla="*/ 0 w 192"/>
                  <a:gd name="T3" fmla="*/ 14 h 158"/>
                  <a:gd name="T4" fmla="*/ 2 w 192"/>
                  <a:gd name="T5" fmla="*/ 26 h 158"/>
                  <a:gd name="T6" fmla="*/ 4 w 192"/>
                  <a:gd name="T7" fmla="*/ 38 h 158"/>
                  <a:gd name="T8" fmla="*/ 7 w 192"/>
                  <a:gd name="T9" fmla="*/ 50 h 158"/>
                  <a:gd name="T10" fmla="*/ 11 w 192"/>
                  <a:gd name="T11" fmla="*/ 61 h 158"/>
                  <a:gd name="T12" fmla="*/ 15 w 192"/>
                  <a:gd name="T13" fmla="*/ 71 h 158"/>
                  <a:gd name="T14" fmla="*/ 21 w 192"/>
                  <a:gd name="T15" fmla="*/ 81 h 158"/>
                  <a:gd name="T16" fmla="*/ 25 w 192"/>
                  <a:gd name="T17" fmla="*/ 90 h 158"/>
                  <a:gd name="T18" fmla="*/ 47 w 192"/>
                  <a:gd name="T19" fmla="*/ 122 h 158"/>
                  <a:gd name="T20" fmla="*/ 66 w 192"/>
                  <a:gd name="T21" fmla="*/ 148 h 158"/>
                  <a:gd name="T22" fmla="*/ 72 w 192"/>
                  <a:gd name="T23" fmla="*/ 151 h 158"/>
                  <a:gd name="T24" fmla="*/ 79 w 192"/>
                  <a:gd name="T25" fmla="*/ 153 h 158"/>
                  <a:gd name="T26" fmla="*/ 85 w 192"/>
                  <a:gd name="T27" fmla="*/ 155 h 158"/>
                  <a:gd name="T28" fmla="*/ 92 w 192"/>
                  <a:gd name="T29" fmla="*/ 156 h 158"/>
                  <a:gd name="T30" fmla="*/ 105 w 192"/>
                  <a:gd name="T31" fmla="*/ 158 h 158"/>
                  <a:gd name="T32" fmla="*/ 119 w 192"/>
                  <a:gd name="T33" fmla="*/ 158 h 158"/>
                  <a:gd name="T34" fmla="*/ 152 w 192"/>
                  <a:gd name="T35" fmla="*/ 155 h 158"/>
                  <a:gd name="T36" fmla="*/ 192 w 192"/>
                  <a:gd name="T37" fmla="*/ 154 h 158"/>
                  <a:gd name="T38" fmla="*/ 184 w 192"/>
                  <a:gd name="T39" fmla="*/ 153 h 158"/>
                  <a:gd name="T40" fmla="*/ 176 w 192"/>
                  <a:gd name="T41" fmla="*/ 152 h 158"/>
                  <a:gd name="T42" fmla="*/ 168 w 192"/>
                  <a:gd name="T43" fmla="*/ 151 h 158"/>
                  <a:gd name="T44" fmla="*/ 160 w 192"/>
                  <a:gd name="T45" fmla="*/ 149 h 158"/>
                  <a:gd name="T46" fmla="*/ 145 w 192"/>
                  <a:gd name="T47" fmla="*/ 144 h 158"/>
                  <a:gd name="T48" fmla="*/ 129 w 192"/>
                  <a:gd name="T49" fmla="*/ 138 h 158"/>
                  <a:gd name="T50" fmla="*/ 115 w 192"/>
                  <a:gd name="T51" fmla="*/ 130 h 158"/>
                  <a:gd name="T52" fmla="*/ 101 w 192"/>
                  <a:gd name="T53" fmla="*/ 120 h 158"/>
                  <a:gd name="T54" fmla="*/ 87 w 192"/>
                  <a:gd name="T55" fmla="*/ 110 h 158"/>
                  <a:gd name="T56" fmla="*/ 75 w 192"/>
                  <a:gd name="T57" fmla="*/ 98 h 158"/>
                  <a:gd name="T58" fmla="*/ 63 w 192"/>
                  <a:gd name="T59" fmla="*/ 87 h 158"/>
                  <a:gd name="T60" fmla="*/ 52 w 192"/>
                  <a:gd name="T61" fmla="*/ 75 h 158"/>
                  <a:gd name="T62" fmla="*/ 42 w 192"/>
                  <a:gd name="T63" fmla="*/ 63 h 158"/>
                  <a:gd name="T64" fmla="*/ 35 w 192"/>
                  <a:gd name="T65" fmla="*/ 50 h 158"/>
                  <a:gd name="T66" fmla="*/ 27 w 192"/>
                  <a:gd name="T67" fmla="*/ 38 h 158"/>
                  <a:gd name="T68" fmla="*/ 21 w 192"/>
                  <a:gd name="T69" fmla="*/ 26 h 158"/>
                  <a:gd name="T70" fmla="*/ 16 w 192"/>
                  <a:gd name="T71" fmla="*/ 16 h 158"/>
                  <a:gd name="T72" fmla="*/ 13 w 192"/>
                  <a:gd name="T73" fmla="*/ 6 h 158"/>
                  <a:gd name="T74" fmla="*/ 0 w 192"/>
                  <a:gd name="T75" fmla="*/ 0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92" h="158">
                    <a:moveTo>
                      <a:pt x="0" y="0"/>
                    </a:moveTo>
                    <a:lnTo>
                      <a:pt x="0" y="14"/>
                    </a:lnTo>
                    <a:lnTo>
                      <a:pt x="2" y="26"/>
                    </a:lnTo>
                    <a:lnTo>
                      <a:pt x="4" y="38"/>
                    </a:lnTo>
                    <a:lnTo>
                      <a:pt x="7" y="50"/>
                    </a:lnTo>
                    <a:lnTo>
                      <a:pt x="11" y="61"/>
                    </a:lnTo>
                    <a:lnTo>
                      <a:pt x="15" y="71"/>
                    </a:lnTo>
                    <a:lnTo>
                      <a:pt x="21" y="81"/>
                    </a:lnTo>
                    <a:lnTo>
                      <a:pt x="25" y="90"/>
                    </a:lnTo>
                    <a:lnTo>
                      <a:pt x="47" y="122"/>
                    </a:lnTo>
                    <a:lnTo>
                      <a:pt x="66" y="148"/>
                    </a:lnTo>
                    <a:lnTo>
                      <a:pt x="72" y="151"/>
                    </a:lnTo>
                    <a:lnTo>
                      <a:pt x="79" y="153"/>
                    </a:lnTo>
                    <a:lnTo>
                      <a:pt x="85" y="155"/>
                    </a:lnTo>
                    <a:lnTo>
                      <a:pt x="92" y="156"/>
                    </a:lnTo>
                    <a:lnTo>
                      <a:pt x="105" y="158"/>
                    </a:lnTo>
                    <a:lnTo>
                      <a:pt x="119" y="158"/>
                    </a:lnTo>
                    <a:lnTo>
                      <a:pt x="152" y="155"/>
                    </a:lnTo>
                    <a:lnTo>
                      <a:pt x="192" y="154"/>
                    </a:lnTo>
                    <a:lnTo>
                      <a:pt x="184" y="153"/>
                    </a:lnTo>
                    <a:lnTo>
                      <a:pt x="176" y="152"/>
                    </a:lnTo>
                    <a:lnTo>
                      <a:pt x="168" y="151"/>
                    </a:lnTo>
                    <a:lnTo>
                      <a:pt x="160" y="149"/>
                    </a:lnTo>
                    <a:lnTo>
                      <a:pt x="145" y="144"/>
                    </a:lnTo>
                    <a:lnTo>
                      <a:pt x="129" y="138"/>
                    </a:lnTo>
                    <a:lnTo>
                      <a:pt x="115" y="130"/>
                    </a:lnTo>
                    <a:lnTo>
                      <a:pt x="101" y="120"/>
                    </a:lnTo>
                    <a:lnTo>
                      <a:pt x="87" y="110"/>
                    </a:lnTo>
                    <a:lnTo>
                      <a:pt x="75" y="98"/>
                    </a:lnTo>
                    <a:lnTo>
                      <a:pt x="63" y="87"/>
                    </a:lnTo>
                    <a:lnTo>
                      <a:pt x="52" y="75"/>
                    </a:lnTo>
                    <a:lnTo>
                      <a:pt x="42" y="63"/>
                    </a:lnTo>
                    <a:lnTo>
                      <a:pt x="35" y="50"/>
                    </a:lnTo>
                    <a:lnTo>
                      <a:pt x="27" y="38"/>
                    </a:lnTo>
                    <a:lnTo>
                      <a:pt x="21" y="26"/>
                    </a:lnTo>
                    <a:lnTo>
                      <a:pt x="16" y="16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619" name="Freeform 441"/>
              <p:cNvSpPr>
                <a:spLocks/>
              </p:cNvSpPr>
              <p:nvPr/>
            </p:nvSpPr>
            <p:spPr bwMode="auto">
              <a:xfrm>
                <a:off x="1589" y="3126"/>
                <a:ext cx="290" cy="606"/>
              </a:xfrm>
              <a:custGeom>
                <a:avLst/>
                <a:gdLst>
                  <a:gd name="T0" fmla="*/ 772 w 884"/>
                  <a:gd name="T1" fmla="*/ 415 h 1818"/>
                  <a:gd name="T2" fmla="*/ 873 w 884"/>
                  <a:gd name="T3" fmla="*/ 342 h 1818"/>
                  <a:gd name="T4" fmla="*/ 884 w 884"/>
                  <a:gd name="T5" fmla="*/ 232 h 1818"/>
                  <a:gd name="T6" fmla="*/ 840 w 884"/>
                  <a:gd name="T7" fmla="*/ 192 h 1818"/>
                  <a:gd name="T8" fmla="*/ 841 w 884"/>
                  <a:gd name="T9" fmla="*/ 262 h 1818"/>
                  <a:gd name="T10" fmla="*/ 774 w 884"/>
                  <a:gd name="T11" fmla="*/ 328 h 1818"/>
                  <a:gd name="T12" fmla="*/ 667 w 884"/>
                  <a:gd name="T13" fmla="*/ 331 h 1818"/>
                  <a:gd name="T14" fmla="*/ 625 w 884"/>
                  <a:gd name="T15" fmla="*/ 290 h 1818"/>
                  <a:gd name="T16" fmla="*/ 658 w 884"/>
                  <a:gd name="T17" fmla="*/ 215 h 1818"/>
                  <a:gd name="T18" fmla="*/ 544 w 884"/>
                  <a:gd name="T19" fmla="*/ 148 h 1818"/>
                  <a:gd name="T20" fmla="*/ 425 w 884"/>
                  <a:gd name="T21" fmla="*/ 87 h 1818"/>
                  <a:gd name="T22" fmla="*/ 373 w 884"/>
                  <a:gd name="T23" fmla="*/ 10 h 1818"/>
                  <a:gd name="T24" fmla="*/ 286 w 884"/>
                  <a:gd name="T25" fmla="*/ 22 h 1818"/>
                  <a:gd name="T26" fmla="*/ 234 w 884"/>
                  <a:gd name="T27" fmla="*/ 24 h 1818"/>
                  <a:gd name="T28" fmla="*/ 171 w 884"/>
                  <a:gd name="T29" fmla="*/ 8 h 1818"/>
                  <a:gd name="T30" fmla="*/ 98 w 884"/>
                  <a:gd name="T31" fmla="*/ 54 h 1818"/>
                  <a:gd name="T32" fmla="*/ 67 w 884"/>
                  <a:gd name="T33" fmla="*/ 116 h 1818"/>
                  <a:gd name="T34" fmla="*/ 27 w 884"/>
                  <a:gd name="T35" fmla="*/ 179 h 1818"/>
                  <a:gd name="T36" fmla="*/ 55 w 884"/>
                  <a:gd name="T37" fmla="*/ 251 h 1818"/>
                  <a:gd name="T38" fmla="*/ 51 w 884"/>
                  <a:gd name="T39" fmla="*/ 319 h 1818"/>
                  <a:gd name="T40" fmla="*/ 0 w 884"/>
                  <a:gd name="T41" fmla="*/ 432 h 1818"/>
                  <a:gd name="T42" fmla="*/ 12 w 884"/>
                  <a:gd name="T43" fmla="*/ 609 h 1818"/>
                  <a:gd name="T44" fmla="*/ 76 w 884"/>
                  <a:gd name="T45" fmla="*/ 696 h 1818"/>
                  <a:gd name="T46" fmla="*/ 60 w 884"/>
                  <a:gd name="T47" fmla="*/ 753 h 1818"/>
                  <a:gd name="T48" fmla="*/ 60 w 884"/>
                  <a:gd name="T49" fmla="*/ 808 h 1818"/>
                  <a:gd name="T50" fmla="*/ 81 w 884"/>
                  <a:gd name="T51" fmla="*/ 850 h 1818"/>
                  <a:gd name="T52" fmla="*/ 53 w 884"/>
                  <a:gd name="T53" fmla="*/ 900 h 1818"/>
                  <a:gd name="T54" fmla="*/ 82 w 884"/>
                  <a:gd name="T55" fmla="*/ 983 h 1818"/>
                  <a:gd name="T56" fmla="*/ 81 w 884"/>
                  <a:gd name="T57" fmla="*/ 1055 h 1818"/>
                  <a:gd name="T58" fmla="*/ 78 w 884"/>
                  <a:gd name="T59" fmla="*/ 1152 h 1818"/>
                  <a:gd name="T60" fmla="*/ 137 w 884"/>
                  <a:gd name="T61" fmla="*/ 1265 h 1818"/>
                  <a:gd name="T62" fmla="*/ 198 w 884"/>
                  <a:gd name="T63" fmla="*/ 1394 h 1818"/>
                  <a:gd name="T64" fmla="*/ 217 w 884"/>
                  <a:gd name="T65" fmla="*/ 1463 h 1818"/>
                  <a:gd name="T66" fmla="*/ 230 w 884"/>
                  <a:gd name="T67" fmla="*/ 1526 h 1818"/>
                  <a:gd name="T68" fmla="*/ 213 w 884"/>
                  <a:gd name="T69" fmla="*/ 1590 h 1818"/>
                  <a:gd name="T70" fmla="*/ 201 w 884"/>
                  <a:gd name="T71" fmla="*/ 1644 h 1818"/>
                  <a:gd name="T72" fmla="*/ 228 w 884"/>
                  <a:gd name="T73" fmla="*/ 1718 h 1818"/>
                  <a:gd name="T74" fmla="*/ 311 w 884"/>
                  <a:gd name="T75" fmla="*/ 1772 h 1818"/>
                  <a:gd name="T76" fmla="*/ 392 w 884"/>
                  <a:gd name="T77" fmla="*/ 1798 h 1818"/>
                  <a:gd name="T78" fmla="*/ 451 w 884"/>
                  <a:gd name="T79" fmla="*/ 1786 h 1818"/>
                  <a:gd name="T80" fmla="*/ 454 w 884"/>
                  <a:gd name="T81" fmla="*/ 1703 h 1818"/>
                  <a:gd name="T82" fmla="*/ 470 w 884"/>
                  <a:gd name="T83" fmla="*/ 1612 h 1818"/>
                  <a:gd name="T84" fmla="*/ 495 w 884"/>
                  <a:gd name="T85" fmla="*/ 1509 h 1818"/>
                  <a:gd name="T86" fmla="*/ 420 w 884"/>
                  <a:gd name="T87" fmla="*/ 1486 h 1818"/>
                  <a:gd name="T88" fmla="*/ 401 w 884"/>
                  <a:gd name="T89" fmla="*/ 1430 h 1818"/>
                  <a:gd name="T90" fmla="*/ 453 w 884"/>
                  <a:gd name="T91" fmla="*/ 1395 h 1818"/>
                  <a:gd name="T92" fmla="*/ 484 w 884"/>
                  <a:gd name="T93" fmla="*/ 1332 h 1818"/>
                  <a:gd name="T94" fmla="*/ 455 w 884"/>
                  <a:gd name="T95" fmla="*/ 1224 h 1818"/>
                  <a:gd name="T96" fmla="*/ 425 w 884"/>
                  <a:gd name="T97" fmla="*/ 1141 h 1818"/>
                  <a:gd name="T98" fmla="*/ 518 w 884"/>
                  <a:gd name="T99" fmla="*/ 1166 h 1818"/>
                  <a:gd name="T100" fmla="*/ 568 w 884"/>
                  <a:gd name="T101" fmla="*/ 1151 h 1818"/>
                  <a:gd name="T102" fmla="*/ 558 w 884"/>
                  <a:gd name="T103" fmla="*/ 1078 h 1818"/>
                  <a:gd name="T104" fmla="*/ 565 w 884"/>
                  <a:gd name="T105" fmla="*/ 1030 h 1818"/>
                  <a:gd name="T106" fmla="*/ 676 w 884"/>
                  <a:gd name="T107" fmla="*/ 1023 h 1818"/>
                  <a:gd name="T108" fmla="*/ 795 w 884"/>
                  <a:gd name="T109" fmla="*/ 973 h 1818"/>
                  <a:gd name="T110" fmla="*/ 816 w 884"/>
                  <a:gd name="T111" fmla="*/ 882 h 1818"/>
                  <a:gd name="T112" fmla="*/ 781 w 884"/>
                  <a:gd name="T113" fmla="*/ 852 h 1818"/>
                  <a:gd name="T114" fmla="*/ 758 w 884"/>
                  <a:gd name="T115" fmla="*/ 810 h 1818"/>
                  <a:gd name="T116" fmla="*/ 692 w 884"/>
                  <a:gd name="T117" fmla="*/ 752 h 1818"/>
                  <a:gd name="T118" fmla="*/ 701 w 884"/>
                  <a:gd name="T119" fmla="*/ 532 h 18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84" h="1818">
                    <a:moveTo>
                      <a:pt x="725" y="493"/>
                    </a:moveTo>
                    <a:lnTo>
                      <a:pt x="726" y="484"/>
                    </a:lnTo>
                    <a:lnTo>
                      <a:pt x="729" y="474"/>
                    </a:lnTo>
                    <a:lnTo>
                      <a:pt x="735" y="462"/>
                    </a:lnTo>
                    <a:lnTo>
                      <a:pt x="742" y="450"/>
                    </a:lnTo>
                    <a:lnTo>
                      <a:pt x="750" y="438"/>
                    </a:lnTo>
                    <a:lnTo>
                      <a:pt x="761" y="427"/>
                    </a:lnTo>
                    <a:lnTo>
                      <a:pt x="772" y="415"/>
                    </a:lnTo>
                    <a:lnTo>
                      <a:pt x="784" y="402"/>
                    </a:lnTo>
                    <a:lnTo>
                      <a:pt x="798" y="391"/>
                    </a:lnTo>
                    <a:lnTo>
                      <a:pt x="811" y="381"/>
                    </a:lnTo>
                    <a:lnTo>
                      <a:pt x="824" y="371"/>
                    </a:lnTo>
                    <a:lnTo>
                      <a:pt x="837" y="362"/>
                    </a:lnTo>
                    <a:lnTo>
                      <a:pt x="849" y="353"/>
                    </a:lnTo>
                    <a:lnTo>
                      <a:pt x="862" y="347"/>
                    </a:lnTo>
                    <a:lnTo>
                      <a:pt x="873" y="342"/>
                    </a:lnTo>
                    <a:lnTo>
                      <a:pt x="884" y="339"/>
                    </a:lnTo>
                    <a:lnTo>
                      <a:pt x="884" y="329"/>
                    </a:lnTo>
                    <a:lnTo>
                      <a:pt x="884" y="310"/>
                    </a:lnTo>
                    <a:lnTo>
                      <a:pt x="884" y="289"/>
                    </a:lnTo>
                    <a:lnTo>
                      <a:pt x="884" y="272"/>
                    </a:lnTo>
                    <a:lnTo>
                      <a:pt x="884" y="259"/>
                    </a:lnTo>
                    <a:lnTo>
                      <a:pt x="884" y="247"/>
                    </a:lnTo>
                    <a:lnTo>
                      <a:pt x="884" y="232"/>
                    </a:lnTo>
                    <a:lnTo>
                      <a:pt x="884" y="216"/>
                    </a:lnTo>
                    <a:lnTo>
                      <a:pt x="874" y="216"/>
                    </a:lnTo>
                    <a:lnTo>
                      <a:pt x="867" y="214"/>
                    </a:lnTo>
                    <a:lnTo>
                      <a:pt x="859" y="211"/>
                    </a:lnTo>
                    <a:lnTo>
                      <a:pt x="854" y="208"/>
                    </a:lnTo>
                    <a:lnTo>
                      <a:pt x="848" y="203"/>
                    </a:lnTo>
                    <a:lnTo>
                      <a:pt x="844" y="198"/>
                    </a:lnTo>
                    <a:lnTo>
                      <a:pt x="840" y="192"/>
                    </a:lnTo>
                    <a:lnTo>
                      <a:pt x="837" y="185"/>
                    </a:lnTo>
                    <a:lnTo>
                      <a:pt x="837" y="222"/>
                    </a:lnTo>
                    <a:lnTo>
                      <a:pt x="840" y="227"/>
                    </a:lnTo>
                    <a:lnTo>
                      <a:pt x="843" y="231"/>
                    </a:lnTo>
                    <a:lnTo>
                      <a:pt x="844" y="236"/>
                    </a:lnTo>
                    <a:lnTo>
                      <a:pt x="845" y="241"/>
                    </a:lnTo>
                    <a:lnTo>
                      <a:pt x="844" y="252"/>
                    </a:lnTo>
                    <a:lnTo>
                      <a:pt x="841" y="262"/>
                    </a:lnTo>
                    <a:lnTo>
                      <a:pt x="837" y="271"/>
                    </a:lnTo>
                    <a:lnTo>
                      <a:pt x="832" y="281"/>
                    </a:lnTo>
                    <a:lnTo>
                      <a:pt x="824" y="290"/>
                    </a:lnTo>
                    <a:lnTo>
                      <a:pt x="815" y="299"/>
                    </a:lnTo>
                    <a:lnTo>
                      <a:pt x="805" y="308"/>
                    </a:lnTo>
                    <a:lnTo>
                      <a:pt x="795" y="316"/>
                    </a:lnTo>
                    <a:lnTo>
                      <a:pt x="785" y="322"/>
                    </a:lnTo>
                    <a:lnTo>
                      <a:pt x="774" y="328"/>
                    </a:lnTo>
                    <a:lnTo>
                      <a:pt x="765" y="333"/>
                    </a:lnTo>
                    <a:lnTo>
                      <a:pt x="755" y="336"/>
                    </a:lnTo>
                    <a:lnTo>
                      <a:pt x="746" y="338"/>
                    </a:lnTo>
                    <a:lnTo>
                      <a:pt x="738" y="339"/>
                    </a:lnTo>
                    <a:lnTo>
                      <a:pt x="722" y="339"/>
                    </a:lnTo>
                    <a:lnTo>
                      <a:pt x="703" y="338"/>
                    </a:lnTo>
                    <a:lnTo>
                      <a:pt x="684" y="335"/>
                    </a:lnTo>
                    <a:lnTo>
                      <a:pt x="667" y="331"/>
                    </a:lnTo>
                    <a:lnTo>
                      <a:pt x="658" y="328"/>
                    </a:lnTo>
                    <a:lnTo>
                      <a:pt x="650" y="325"/>
                    </a:lnTo>
                    <a:lnTo>
                      <a:pt x="643" y="321"/>
                    </a:lnTo>
                    <a:lnTo>
                      <a:pt x="637" y="316"/>
                    </a:lnTo>
                    <a:lnTo>
                      <a:pt x="632" y="311"/>
                    </a:lnTo>
                    <a:lnTo>
                      <a:pt x="628" y="305"/>
                    </a:lnTo>
                    <a:lnTo>
                      <a:pt x="625" y="297"/>
                    </a:lnTo>
                    <a:lnTo>
                      <a:pt x="625" y="290"/>
                    </a:lnTo>
                    <a:lnTo>
                      <a:pt x="625" y="283"/>
                    </a:lnTo>
                    <a:lnTo>
                      <a:pt x="626" y="277"/>
                    </a:lnTo>
                    <a:lnTo>
                      <a:pt x="628" y="270"/>
                    </a:lnTo>
                    <a:lnTo>
                      <a:pt x="631" y="264"/>
                    </a:lnTo>
                    <a:lnTo>
                      <a:pt x="636" y="252"/>
                    </a:lnTo>
                    <a:lnTo>
                      <a:pt x="643" y="240"/>
                    </a:lnTo>
                    <a:lnTo>
                      <a:pt x="650" y="228"/>
                    </a:lnTo>
                    <a:lnTo>
                      <a:pt x="658" y="215"/>
                    </a:lnTo>
                    <a:lnTo>
                      <a:pt x="666" y="201"/>
                    </a:lnTo>
                    <a:lnTo>
                      <a:pt x="671" y="185"/>
                    </a:lnTo>
                    <a:lnTo>
                      <a:pt x="654" y="178"/>
                    </a:lnTo>
                    <a:lnTo>
                      <a:pt x="637" y="172"/>
                    </a:lnTo>
                    <a:lnTo>
                      <a:pt x="621" y="166"/>
                    </a:lnTo>
                    <a:lnTo>
                      <a:pt x="605" y="162"/>
                    </a:lnTo>
                    <a:lnTo>
                      <a:pt x="574" y="155"/>
                    </a:lnTo>
                    <a:lnTo>
                      <a:pt x="544" y="148"/>
                    </a:lnTo>
                    <a:lnTo>
                      <a:pt x="529" y="144"/>
                    </a:lnTo>
                    <a:lnTo>
                      <a:pt x="514" y="139"/>
                    </a:lnTo>
                    <a:lnTo>
                      <a:pt x="499" y="133"/>
                    </a:lnTo>
                    <a:lnTo>
                      <a:pt x="485" y="127"/>
                    </a:lnTo>
                    <a:lnTo>
                      <a:pt x="470" y="119"/>
                    </a:lnTo>
                    <a:lnTo>
                      <a:pt x="455" y="110"/>
                    </a:lnTo>
                    <a:lnTo>
                      <a:pt x="441" y="100"/>
                    </a:lnTo>
                    <a:lnTo>
                      <a:pt x="425" y="87"/>
                    </a:lnTo>
                    <a:lnTo>
                      <a:pt x="417" y="76"/>
                    </a:lnTo>
                    <a:lnTo>
                      <a:pt x="410" y="66"/>
                    </a:lnTo>
                    <a:lnTo>
                      <a:pt x="403" y="55"/>
                    </a:lnTo>
                    <a:lnTo>
                      <a:pt x="398" y="44"/>
                    </a:lnTo>
                    <a:lnTo>
                      <a:pt x="390" y="32"/>
                    </a:lnTo>
                    <a:lnTo>
                      <a:pt x="383" y="20"/>
                    </a:lnTo>
                    <a:lnTo>
                      <a:pt x="378" y="15"/>
                    </a:lnTo>
                    <a:lnTo>
                      <a:pt x="373" y="10"/>
                    </a:lnTo>
                    <a:lnTo>
                      <a:pt x="366" y="5"/>
                    </a:lnTo>
                    <a:lnTo>
                      <a:pt x="359" y="0"/>
                    </a:lnTo>
                    <a:lnTo>
                      <a:pt x="332" y="6"/>
                    </a:lnTo>
                    <a:lnTo>
                      <a:pt x="308" y="11"/>
                    </a:lnTo>
                    <a:lnTo>
                      <a:pt x="302" y="13"/>
                    </a:lnTo>
                    <a:lnTo>
                      <a:pt x="297" y="15"/>
                    </a:lnTo>
                    <a:lnTo>
                      <a:pt x="291" y="19"/>
                    </a:lnTo>
                    <a:lnTo>
                      <a:pt x="286" y="22"/>
                    </a:lnTo>
                    <a:lnTo>
                      <a:pt x="281" y="28"/>
                    </a:lnTo>
                    <a:lnTo>
                      <a:pt x="276" y="34"/>
                    </a:lnTo>
                    <a:lnTo>
                      <a:pt x="272" y="41"/>
                    </a:lnTo>
                    <a:lnTo>
                      <a:pt x="266" y="50"/>
                    </a:lnTo>
                    <a:lnTo>
                      <a:pt x="257" y="44"/>
                    </a:lnTo>
                    <a:lnTo>
                      <a:pt x="249" y="38"/>
                    </a:lnTo>
                    <a:lnTo>
                      <a:pt x="242" y="31"/>
                    </a:lnTo>
                    <a:lnTo>
                      <a:pt x="234" y="24"/>
                    </a:lnTo>
                    <a:lnTo>
                      <a:pt x="225" y="17"/>
                    </a:lnTo>
                    <a:lnTo>
                      <a:pt x="215" y="11"/>
                    </a:lnTo>
                    <a:lnTo>
                      <a:pt x="209" y="9"/>
                    </a:lnTo>
                    <a:lnTo>
                      <a:pt x="202" y="8"/>
                    </a:lnTo>
                    <a:lnTo>
                      <a:pt x="195" y="7"/>
                    </a:lnTo>
                    <a:lnTo>
                      <a:pt x="186" y="6"/>
                    </a:lnTo>
                    <a:lnTo>
                      <a:pt x="178" y="7"/>
                    </a:lnTo>
                    <a:lnTo>
                      <a:pt x="171" y="8"/>
                    </a:lnTo>
                    <a:lnTo>
                      <a:pt x="163" y="11"/>
                    </a:lnTo>
                    <a:lnTo>
                      <a:pt x="156" y="14"/>
                    </a:lnTo>
                    <a:lnTo>
                      <a:pt x="143" y="22"/>
                    </a:lnTo>
                    <a:lnTo>
                      <a:pt x="132" y="32"/>
                    </a:lnTo>
                    <a:lnTo>
                      <a:pt x="120" y="41"/>
                    </a:lnTo>
                    <a:lnTo>
                      <a:pt x="110" y="48"/>
                    </a:lnTo>
                    <a:lnTo>
                      <a:pt x="105" y="51"/>
                    </a:lnTo>
                    <a:lnTo>
                      <a:pt x="98" y="54"/>
                    </a:lnTo>
                    <a:lnTo>
                      <a:pt x="93" y="55"/>
                    </a:lnTo>
                    <a:lnTo>
                      <a:pt x="87" y="56"/>
                    </a:lnTo>
                    <a:lnTo>
                      <a:pt x="86" y="69"/>
                    </a:lnTo>
                    <a:lnTo>
                      <a:pt x="84" y="81"/>
                    </a:lnTo>
                    <a:lnTo>
                      <a:pt x="82" y="91"/>
                    </a:lnTo>
                    <a:lnTo>
                      <a:pt x="77" y="100"/>
                    </a:lnTo>
                    <a:lnTo>
                      <a:pt x="73" y="109"/>
                    </a:lnTo>
                    <a:lnTo>
                      <a:pt x="67" y="116"/>
                    </a:lnTo>
                    <a:lnTo>
                      <a:pt x="62" y="123"/>
                    </a:lnTo>
                    <a:lnTo>
                      <a:pt x="56" y="129"/>
                    </a:lnTo>
                    <a:lnTo>
                      <a:pt x="45" y="141"/>
                    </a:lnTo>
                    <a:lnTo>
                      <a:pt x="37" y="152"/>
                    </a:lnTo>
                    <a:lnTo>
                      <a:pt x="32" y="158"/>
                    </a:lnTo>
                    <a:lnTo>
                      <a:pt x="30" y="164"/>
                    </a:lnTo>
                    <a:lnTo>
                      <a:pt x="28" y="171"/>
                    </a:lnTo>
                    <a:lnTo>
                      <a:pt x="27" y="179"/>
                    </a:lnTo>
                    <a:lnTo>
                      <a:pt x="28" y="186"/>
                    </a:lnTo>
                    <a:lnTo>
                      <a:pt x="28" y="194"/>
                    </a:lnTo>
                    <a:lnTo>
                      <a:pt x="30" y="201"/>
                    </a:lnTo>
                    <a:lnTo>
                      <a:pt x="32" y="207"/>
                    </a:lnTo>
                    <a:lnTo>
                      <a:pt x="38" y="218"/>
                    </a:lnTo>
                    <a:lnTo>
                      <a:pt x="43" y="228"/>
                    </a:lnTo>
                    <a:lnTo>
                      <a:pt x="50" y="239"/>
                    </a:lnTo>
                    <a:lnTo>
                      <a:pt x="55" y="251"/>
                    </a:lnTo>
                    <a:lnTo>
                      <a:pt x="57" y="257"/>
                    </a:lnTo>
                    <a:lnTo>
                      <a:pt x="59" y="263"/>
                    </a:lnTo>
                    <a:lnTo>
                      <a:pt x="60" y="270"/>
                    </a:lnTo>
                    <a:lnTo>
                      <a:pt x="60" y="278"/>
                    </a:lnTo>
                    <a:lnTo>
                      <a:pt x="60" y="289"/>
                    </a:lnTo>
                    <a:lnTo>
                      <a:pt x="57" y="299"/>
                    </a:lnTo>
                    <a:lnTo>
                      <a:pt x="54" y="310"/>
                    </a:lnTo>
                    <a:lnTo>
                      <a:pt x="51" y="319"/>
                    </a:lnTo>
                    <a:lnTo>
                      <a:pt x="41" y="337"/>
                    </a:lnTo>
                    <a:lnTo>
                      <a:pt x="30" y="354"/>
                    </a:lnTo>
                    <a:lnTo>
                      <a:pt x="19" y="372"/>
                    </a:lnTo>
                    <a:lnTo>
                      <a:pt x="9" y="390"/>
                    </a:lnTo>
                    <a:lnTo>
                      <a:pt x="6" y="400"/>
                    </a:lnTo>
                    <a:lnTo>
                      <a:pt x="3" y="410"/>
                    </a:lnTo>
                    <a:lnTo>
                      <a:pt x="2" y="421"/>
                    </a:lnTo>
                    <a:lnTo>
                      <a:pt x="0" y="432"/>
                    </a:lnTo>
                    <a:lnTo>
                      <a:pt x="0" y="471"/>
                    </a:lnTo>
                    <a:lnTo>
                      <a:pt x="0" y="501"/>
                    </a:lnTo>
                    <a:lnTo>
                      <a:pt x="0" y="529"/>
                    </a:lnTo>
                    <a:lnTo>
                      <a:pt x="0" y="561"/>
                    </a:lnTo>
                    <a:lnTo>
                      <a:pt x="2" y="574"/>
                    </a:lnTo>
                    <a:lnTo>
                      <a:pt x="4" y="587"/>
                    </a:lnTo>
                    <a:lnTo>
                      <a:pt x="8" y="598"/>
                    </a:lnTo>
                    <a:lnTo>
                      <a:pt x="12" y="609"/>
                    </a:lnTo>
                    <a:lnTo>
                      <a:pt x="19" y="618"/>
                    </a:lnTo>
                    <a:lnTo>
                      <a:pt x="26" y="627"/>
                    </a:lnTo>
                    <a:lnTo>
                      <a:pt x="33" y="637"/>
                    </a:lnTo>
                    <a:lnTo>
                      <a:pt x="40" y="645"/>
                    </a:lnTo>
                    <a:lnTo>
                      <a:pt x="55" y="662"/>
                    </a:lnTo>
                    <a:lnTo>
                      <a:pt x="67" y="678"/>
                    </a:lnTo>
                    <a:lnTo>
                      <a:pt x="73" y="686"/>
                    </a:lnTo>
                    <a:lnTo>
                      <a:pt x="76" y="696"/>
                    </a:lnTo>
                    <a:lnTo>
                      <a:pt x="79" y="705"/>
                    </a:lnTo>
                    <a:lnTo>
                      <a:pt x="81" y="715"/>
                    </a:lnTo>
                    <a:lnTo>
                      <a:pt x="79" y="722"/>
                    </a:lnTo>
                    <a:lnTo>
                      <a:pt x="78" y="728"/>
                    </a:lnTo>
                    <a:lnTo>
                      <a:pt x="75" y="733"/>
                    </a:lnTo>
                    <a:lnTo>
                      <a:pt x="73" y="738"/>
                    </a:lnTo>
                    <a:lnTo>
                      <a:pt x="66" y="747"/>
                    </a:lnTo>
                    <a:lnTo>
                      <a:pt x="60" y="753"/>
                    </a:lnTo>
                    <a:lnTo>
                      <a:pt x="71" y="753"/>
                    </a:lnTo>
                    <a:lnTo>
                      <a:pt x="81" y="753"/>
                    </a:lnTo>
                    <a:lnTo>
                      <a:pt x="79" y="760"/>
                    </a:lnTo>
                    <a:lnTo>
                      <a:pt x="77" y="768"/>
                    </a:lnTo>
                    <a:lnTo>
                      <a:pt x="74" y="776"/>
                    </a:lnTo>
                    <a:lnTo>
                      <a:pt x="71" y="784"/>
                    </a:lnTo>
                    <a:lnTo>
                      <a:pt x="63" y="799"/>
                    </a:lnTo>
                    <a:lnTo>
                      <a:pt x="60" y="808"/>
                    </a:lnTo>
                    <a:lnTo>
                      <a:pt x="61" y="813"/>
                    </a:lnTo>
                    <a:lnTo>
                      <a:pt x="63" y="817"/>
                    </a:lnTo>
                    <a:lnTo>
                      <a:pt x="66" y="822"/>
                    </a:lnTo>
                    <a:lnTo>
                      <a:pt x="71" y="827"/>
                    </a:lnTo>
                    <a:lnTo>
                      <a:pt x="74" y="832"/>
                    </a:lnTo>
                    <a:lnTo>
                      <a:pt x="77" y="838"/>
                    </a:lnTo>
                    <a:lnTo>
                      <a:pt x="79" y="844"/>
                    </a:lnTo>
                    <a:lnTo>
                      <a:pt x="81" y="850"/>
                    </a:lnTo>
                    <a:lnTo>
                      <a:pt x="79" y="858"/>
                    </a:lnTo>
                    <a:lnTo>
                      <a:pt x="76" y="864"/>
                    </a:lnTo>
                    <a:lnTo>
                      <a:pt x="72" y="870"/>
                    </a:lnTo>
                    <a:lnTo>
                      <a:pt x="67" y="876"/>
                    </a:lnTo>
                    <a:lnTo>
                      <a:pt x="62" y="881"/>
                    </a:lnTo>
                    <a:lnTo>
                      <a:pt x="57" y="887"/>
                    </a:lnTo>
                    <a:lnTo>
                      <a:pt x="54" y="893"/>
                    </a:lnTo>
                    <a:lnTo>
                      <a:pt x="53" y="900"/>
                    </a:lnTo>
                    <a:lnTo>
                      <a:pt x="54" y="909"/>
                    </a:lnTo>
                    <a:lnTo>
                      <a:pt x="55" y="918"/>
                    </a:lnTo>
                    <a:lnTo>
                      <a:pt x="56" y="925"/>
                    </a:lnTo>
                    <a:lnTo>
                      <a:pt x="59" y="932"/>
                    </a:lnTo>
                    <a:lnTo>
                      <a:pt x="64" y="945"/>
                    </a:lnTo>
                    <a:lnTo>
                      <a:pt x="71" y="958"/>
                    </a:lnTo>
                    <a:lnTo>
                      <a:pt x="76" y="970"/>
                    </a:lnTo>
                    <a:lnTo>
                      <a:pt x="82" y="983"/>
                    </a:lnTo>
                    <a:lnTo>
                      <a:pt x="84" y="989"/>
                    </a:lnTo>
                    <a:lnTo>
                      <a:pt x="85" y="996"/>
                    </a:lnTo>
                    <a:lnTo>
                      <a:pt x="86" y="1003"/>
                    </a:lnTo>
                    <a:lnTo>
                      <a:pt x="87" y="1011"/>
                    </a:lnTo>
                    <a:lnTo>
                      <a:pt x="86" y="1022"/>
                    </a:lnTo>
                    <a:lnTo>
                      <a:pt x="85" y="1034"/>
                    </a:lnTo>
                    <a:lnTo>
                      <a:pt x="83" y="1044"/>
                    </a:lnTo>
                    <a:lnTo>
                      <a:pt x="81" y="1055"/>
                    </a:lnTo>
                    <a:lnTo>
                      <a:pt x="77" y="1066"/>
                    </a:lnTo>
                    <a:lnTo>
                      <a:pt x="75" y="1077"/>
                    </a:lnTo>
                    <a:lnTo>
                      <a:pt x="74" y="1090"/>
                    </a:lnTo>
                    <a:lnTo>
                      <a:pt x="74" y="1103"/>
                    </a:lnTo>
                    <a:lnTo>
                      <a:pt x="74" y="1116"/>
                    </a:lnTo>
                    <a:lnTo>
                      <a:pt x="75" y="1128"/>
                    </a:lnTo>
                    <a:lnTo>
                      <a:pt x="76" y="1141"/>
                    </a:lnTo>
                    <a:lnTo>
                      <a:pt x="78" y="1152"/>
                    </a:lnTo>
                    <a:lnTo>
                      <a:pt x="82" y="1163"/>
                    </a:lnTo>
                    <a:lnTo>
                      <a:pt x="85" y="1174"/>
                    </a:lnTo>
                    <a:lnTo>
                      <a:pt x="89" y="1184"/>
                    </a:lnTo>
                    <a:lnTo>
                      <a:pt x="94" y="1195"/>
                    </a:lnTo>
                    <a:lnTo>
                      <a:pt x="103" y="1213"/>
                    </a:lnTo>
                    <a:lnTo>
                      <a:pt x="113" y="1231"/>
                    </a:lnTo>
                    <a:lnTo>
                      <a:pt x="124" y="1249"/>
                    </a:lnTo>
                    <a:lnTo>
                      <a:pt x="137" y="1265"/>
                    </a:lnTo>
                    <a:lnTo>
                      <a:pt x="149" y="1282"/>
                    </a:lnTo>
                    <a:lnTo>
                      <a:pt x="160" y="1298"/>
                    </a:lnTo>
                    <a:lnTo>
                      <a:pt x="171" y="1316"/>
                    </a:lnTo>
                    <a:lnTo>
                      <a:pt x="180" y="1334"/>
                    </a:lnTo>
                    <a:lnTo>
                      <a:pt x="188" y="1352"/>
                    </a:lnTo>
                    <a:lnTo>
                      <a:pt x="195" y="1373"/>
                    </a:lnTo>
                    <a:lnTo>
                      <a:pt x="197" y="1383"/>
                    </a:lnTo>
                    <a:lnTo>
                      <a:pt x="198" y="1394"/>
                    </a:lnTo>
                    <a:lnTo>
                      <a:pt x="199" y="1405"/>
                    </a:lnTo>
                    <a:lnTo>
                      <a:pt x="200" y="1418"/>
                    </a:lnTo>
                    <a:lnTo>
                      <a:pt x="200" y="1425"/>
                    </a:lnTo>
                    <a:lnTo>
                      <a:pt x="201" y="1431"/>
                    </a:lnTo>
                    <a:lnTo>
                      <a:pt x="202" y="1437"/>
                    </a:lnTo>
                    <a:lnTo>
                      <a:pt x="205" y="1442"/>
                    </a:lnTo>
                    <a:lnTo>
                      <a:pt x="210" y="1453"/>
                    </a:lnTo>
                    <a:lnTo>
                      <a:pt x="217" y="1463"/>
                    </a:lnTo>
                    <a:lnTo>
                      <a:pt x="222" y="1475"/>
                    </a:lnTo>
                    <a:lnTo>
                      <a:pt x="228" y="1485"/>
                    </a:lnTo>
                    <a:lnTo>
                      <a:pt x="230" y="1491"/>
                    </a:lnTo>
                    <a:lnTo>
                      <a:pt x="231" y="1497"/>
                    </a:lnTo>
                    <a:lnTo>
                      <a:pt x="232" y="1503"/>
                    </a:lnTo>
                    <a:lnTo>
                      <a:pt x="233" y="1510"/>
                    </a:lnTo>
                    <a:lnTo>
                      <a:pt x="232" y="1518"/>
                    </a:lnTo>
                    <a:lnTo>
                      <a:pt x="230" y="1526"/>
                    </a:lnTo>
                    <a:lnTo>
                      <a:pt x="227" y="1532"/>
                    </a:lnTo>
                    <a:lnTo>
                      <a:pt x="223" y="1537"/>
                    </a:lnTo>
                    <a:lnTo>
                      <a:pt x="219" y="1542"/>
                    </a:lnTo>
                    <a:lnTo>
                      <a:pt x="216" y="1547"/>
                    </a:lnTo>
                    <a:lnTo>
                      <a:pt x="213" y="1553"/>
                    </a:lnTo>
                    <a:lnTo>
                      <a:pt x="213" y="1559"/>
                    </a:lnTo>
                    <a:lnTo>
                      <a:pt x="213" y="1578"/>
                    </a:lnTo>
                    <a:lnTo>
                      <a:pt x="213" y="1590"/>
                    </a:lnTo>
                    <a:lnTo>
                      <a:pt x="213" y="1598"/>
                    </a:lnTo>
                    <a:lnTo>
                      <a:pt x="213" y="1603"/>
                    </a:lnTo>
                    <a:lnTo>
                      <a:pt x="212" y="1609"/>
                    </a:lnTo>
                    <a:lnTo>
                      <a:pt x="211" y="1615"/>
                    </a:lnTo>
                    <a:lnTo>
                      <a:pt x="209" y="1622"/>
                    </a:lnTo>
                    <a:lnTo>
                      <a:pt x="207" y="1628"/>
                    </a:lnTo>
                    <a:lnTo>
                      <a:pt x="204" y="1635"/>
                    </a:lnTo>
                    <a:lnTo>
                      <a:pt x="201" y="1644"/>
                    </a:lnTo>
                    <a:lnTo>
                      <a:pt x="200" y="1654"/>
                    </a:lnTo>
                    <a:lnTo>
                      <a:pt x="200" y="1664"/>
                    </a:lnTo>
                    <a:lnTo>
                      <a:pt x="200" y="1672"/>
                    </a:lnTo>
                    <a:lnTo>
                      <a:pt x="204" y="1681"/>
                    </a:lnTo>
                    <a:lnTo>
                      <a:pt x="207" y="1690"/>
                    </a:lnTo>
                    <a:lnTo>
                      <a:pt x="213" y="1700"/>
                    </a:lnTo>
                    <a:lnTo>
                      <a:pt x="220" y="1709"/>
                    </a:lnTo>
                    <a:lnTo>
                      <a:pt x="228" y="1718"/>
                    </a:lnTo>
                    <a:lnTo>
                      <a:pt x="236" y="1727"/>
                    </a:lnTo>
                    <a:lnTo>
                      <a:pt x="246" y="1735"/>
                    </a:lnTo>
                    <a:lnTo>
                      <a:pt x="256" y="1743"/>
                    </a:lnTo>
                    <a:lnTo>
                      <a:pt x="267" y="1752"/>
                    </a:lnTo>
                    <a:lnTo>
                      <a:pt x="278" y="1758"/>
                    </a:lnTo>
                    <a:lnTo>
                      <a:pt x="289" y="1764"/>
                    </a:lnTo>
                    <a:lnTo>
                      <a:pt x="300" y="1769"/>
                    </a:lnTo>
                    <a:lnTo>
                      <a:pt x="311" y="1772"/>
                    </a:lnTo>
                    <a:lnTo>
                      <a:pt x="322" y="1774"/>
                    </a:lnTo>
                    <a:lnTo>
                      <a:pt x="333" y="1775"/>
                    </a:lnTo>
                    <a:lnTo>
                      <a:pt x="342" y="1776"/>
                    </a:lnTo>
                    <a:lnTo>
                      <a:pt x="351" y="1779"/>
                    </a:lnTo>
                    <a:lnTo>
                      <a:pt x="358" y="1781"/>
                    </a:lnTo>
                    <a:lnTo>
                      <a:pt x="366" y="1784"/>
                    </a:lnTo>
                    <a:lnTo>
                      <a:pt x="380" y="1791"/>
                    </a:lnTo>
                    <a:lnTo>
                      <a:pt x="392" y="1798"/>
                    </a:lnTo>
                    <a:lnTo>
                      <a:pt x="404" y="1807"/>
                    </a:lnTo>
                    <a:lnTo>
                      <a:pt x="419" y="1813"/>
                    </a:lnTo>
                    <a:lnTo>
                      <a:pt x="426" y="1815"/>
                    </a:lnTo>
                    <a:lnTo>
                      <a:pt x="434" y="1817"/>
                    </a:lnTo>
                    <a:lnTo>
                      <a:pt x="443" y="1818"/>
                    </a:lnTo>
                    <a:lnTo>
                      <a:pt x="452" y="1818"/>
                    </a:lnTo>
                    <a:lnTo>
                      <a:pt x="452" y="1803"/>
                    </a:lnTo>
                    <a:lnTo>
                      <a:pt x="451" y="1786"/>
                    </a:lnTo>
                    <a:lnTo>
                      <a:pt x="448" y="1772"/>
                    </a:lnTo>
                    <a:lnTo>
                      <a:pt x="445" y="1758"/>
                    </a:lnTo>
                    <a:lnTo>
                      <a:pt x="441" y="1736"/>
                    </a:lnTo>
                    <a:lnTo>
                      <a:pt x="439" y="1726"/>
                    </a:lnTo>
                    <a:lnTo>
                      <a:pt x="440" y="1721"/>
                    </a:lnTo>
                    <a:lnTo>
                      <a:pt x="443" y="1715"/>
                    </a:lnTo>
                    <a:lnTo>
                      <a:pt x="448" y="1709"/>
                    </a:lnTo>
                    <a:lnTo>
                      <a:pt x="454" y="1703"/>
                    </a:lnTo>
                    <a:lnTo>
                      <a:pt x="460" y="1698"/>
                    </a:lnTo>
                    <a:lnTo>
                      <a:pt x="467" y="1693"/>
                    </a:lnTo>
                    <a:lnTo>
                      <a:pt x="474" y="1689"/>
                    </a:lnTo>
                    <a:lnTo>
                      <a:pt x="479" y="1688"/>
                    </a:lnTo>
                    <a:lnTo>
                      <a:pt x="466" y="1633"/>
                    </a:lnTo>
                    <a:lnTo>
                      <a:pt x="459" y="1633"/>
                    </a:lnTo>
                    <a:lnTo>
                      <a:pt x="459" y="1615"/>
                    </a:lnTo>
                    <a:lnTo>
                      <a:pt x="470" y="1612"/>
                    </a:lnTo>
                    <a:lnTo>
                      <a:pt x="479" y="1610"/>
                    </a:lnTo>
                    <a:lnTo>
                      <a:pt x="487" y="1608"/>
                    </a:lnTo>
                    <a:lnTo>
                      <a:pt x="493" y="1605"/>
                    </a:lnTo>
                    <a:lnTo>
                      <a:pt x="505" y="1599"/>
                    </a:lnTo>
                    <a:lnTo>
                      <a:pt x="519" y="1590"/>
                    </a:lnTo>
                    <a:lnTo>
                      <a:pt x="519" y="1510"/>
                    </a:lnTo>
                    <a:lnTo>
                      <a:pt x="507" y="1510"/>
                    </a:lnTo>
                    <a:lnTo>
                      <a:pt x="495" y="1509"/>
                    </a:lnTo>
                    <a:lnTo>
                      <a:pt x="482" y="1508"/>
                    </a:lnTo>
                    <a:lnTo>
                      <a:pt x="471" y="1506"/>
                    </a:lnTo>
                    <a:lnTo>
                      <a:pt x="462" y="1504"/>
                    </a:lnTo>
                    <a:lnTo>
                      <a:pt x="452" y="1502"/>
                    </a:lnTo>
                    <a:lnTo>
                      <a:pt x="443" y="1498"/>
                    </a:lnTo>
                    <a:lnTo>
                      <a:pt x="434" y="1495"/>
                    </a:lnTo>
                    <a:lnTo>
                      <a:pt x="426" y="1490"/>
                    </a:lnTo>
                    <a:lnTo>
                      <a:pt x="420" y="1486"/>
                    </a:lnTo>
                    <a:lnTo>
                      <a:pt x="413" y="1480"/>
                    </a:lnTo>
                    <a:lnTo>
                      <a:pt x="409" y="1474"/>
                    </a:lnTo>
                    <a:lnTo>
                      <a:pt x="404" y="1466"/>
                    </a:lnTo>
                    <a:lnTo>
                      <a:pt x="401" y="1459"/>
                    </a:lnTo>
                    <a:lnTo>
                      <a:pt x="400" y="1451"/>
                    </a:lnTo>
                    <a:lnTo>
                      <a:pt x="399" y="1442"/>
                    </a:lnTo>
                    <a:lnTo>
                      <a:pt x="400" y="1436"/>
                    </a:lnTo>
                    <a:lnTo>
                      <a:pt x="401" y="1430"/>
                    </a:lnTo>
                    <a:lnTo>
                      <a:pt x="404" y="1424"/>
                    </a:lnTo>
                    <a:lnTo>
                      <a:pt x="408" y="1419"/>
                    </a:lnTo>
                    <a:lnTo>
                      <a:pt x="412" y="1415"/>
                    </a:lnTo>
                    <a:lnTo>
                      <a:pt x="417" y="1410"/>
                    </a:lnTo>
                    <a:lnTo>
                      <a:pt x="422" y="1407"/>
                    </a:lnTo>
                    <a:lnTo>
                      <a:pt x="429" y="1403"/>
                    </a:lnTo>
                    <a:lnTo>
                      <a:pt x="441" y="1399"/>
                    </a:lnTo>
                    <a:lnTo>
                      <a:pt x="453" y="1395"/>
                    </a:lnTo>
                    <a:lnTo>
                      <a:pt x="464" y="1393"/>
                    </a:lnTo>
                    <a:lnTo>
                      <a:pt x="473" y="1393"/>
                    </a:lnTo>
                    <a:lnTo>
                      <a:pt x="473" y="1384"/>
                    </a:lnTo>
                    <a:lnTo>
                      <a:pt x="474" y="1374"/>
                    </a:lnTo>
                    <a:lnTo>
                      <a:pt x="476" y="1364"/>
                    </a:lnTo>
                    <a:lnTo>
                      <a:pt x="479" y="1353"/>
                    </a:lnTo>
                    <a:lnTo>
                      <a:pt x="481" y="1342"/>
                    </a:lnTo>
                    <a:lnTo>
                      <a:pt x="484" y="1332"/>
                    </a:lnTo>
                    <a:lnTo>
                      <a:pt x="485" y="1323"/>
                    </a:lnTo>
                    <a:lnTo>
                      <a:pt x="486" y="1313"/>
                    </a:lnTo>
                    <a:lnTo>
                      <a:pt x="485" y="1301"/>
                    </a:lnTo>
                    <a:lnTo>
                      <a:pt x="482" y="1290"/>
                    </a:lnTo>
                    <a:lnTo>
                      <a:pt x="480" y="1278"/>
                    </a:lnTo>
                    <a:lnTo>
                      <a:pt x="476" y="1267"/>
                    </a:lnTo>
                    <a:lnTo>
                      <a:pt x="466" y="1245"/>
                    </a:lnTo>
                    <a:lnTo>
                      <a:pt x="455" y="1224"/>
                    </a:lnTo>
                    <a:lnTo>
                      <a:pt x="444" y="1205"/>
                    </a:lnTo>
                    <a:lnTo>
                      <a:pt x="435" y="1187"/>
                    </a:lnTo>
                    <a:lnTo>
                      <a:pt x="431" y="1179"/>
                    </a:lnTo>
                    <a:lnTo>
                      <a:pt x="429" y="1172"/>
                    </a:lnTo>
                    <a:lnTo>
                      <a:pt x="426" y="1165"/>
                    </a:lnTo>
                    <a:lnTo>
                      <a:pt x="425" y="1159"/>
                    </a:lnTo>
                    <a:lnTo>
                      <a:pt x="425" y="1148"/>
                    </a:lnTo>
                    <a:lnTo>
                      <a:pt x="425" y="1141"/>
                    </a:lnTo>
                    <a:lnTo>
                      <a:pt x="433" y="1141"/>
                    </a:lnTo>
                    <a:lnTo>
                      <a:pt x="441" y="1142"/>
                    </a:lnTo>
                    <a:lnTo>
                      <a:pt x="448" y="1144"/>
                    </a:lnTo>
                    <a:lnTo>
                      <a:pt x="456" y="1145"/>
                    </a:lnTo>
                    <a:lnTo>
                      <a:pt x="473" y="1150"/>
                    </a:lnTo>
                    <a:lnTo>
                      <a:pt x="488" y="1156"/>
                    </a:lnTo>
                    <a:lnTo>
                      <a:pt x="503" y="1161"/>
                    </a:lnTo>
                    <a:lnTo>
                      <a:pt x="518" y="1166"/>
                    </a:lnTo>
                    <a:lnTo>
                      <a:pt x="532" y="1170"/>
                    </a:lnTo>
                    <a:lnTo>
                      <a:pt x="545" y="1171"/>
                    </a:lnTo>
                    <a:lnTo>
                      <a:pt x="549" y="1171"/>
                    </a:lnTo>
                    <a:lnTo>
                      <a:pt x="554" y="1169"/>
                    </a:lnTo>
                    <a:lnTo>
                      <a:pt x="557" y="1168"/>
                    </a:lnTo>
                    <a:lnTo>
                      <a:pt x="560" y="1165"/>
                    </a:lnTo>
                    <a:lnTo>
                      <a:pt x="565" y="1159"/>
                    </a:lnTo>
                    <a:lnTo>
                      <a:pt x="568" y="1151"/>
                    </a:lnTo>
                    <a:lnTo>
                      <a:pt x="570" y="1142"/>
                    </a:lnTo>
                    <a:lnTo>
                      <a:pt x="571" y="1132"/>
                    </a:lnTo>
                    <a:lnTo>
                      <a:pt x="571" y="1123"/>
                    </a:lnTo>
                    <a:lnTo>
                      <a:pt x="571" y="1116"/>
                    </a:lnTo>
                    <a:lnTo>
                      <a:pt x="569" y="1112"/>
                    </a:lnTo>
                    <a:lnTo>
                      <a:pt x="565" y="1102"/>
                    </a:lnTo>
                    <a:lnTo>
                      <a:pt x="560" y="1090"/>
                    </a:lnTo>
                    <a:lnTo>
                      <a:pt x="558" y="1078"/>
                    </a:lnTo>
                    <a:lnTo>
                      <a:pt x="552" y="1066"/>
                    </a:lnTo>
                    <a:lnTo>
                      <a:pt x="545" y="1054"/>
                    </a:lnTo>
                    <a:lnTo>
                      <a:pt x="546" y="1049"/>
                    </a:lnTo>
                    <a:lnTo>
                      <a:pt x="548" y="1044"/>
                    </a:lnTo>
                    <a:lnTo>
                      <a:pt x="551" y="1040"/>
                    </a:lnTo>
                    <a:lnTo>
                      <a:pt x="555" y="1036"/>
                    </a:lnTo>
                    <a:lnTo>
                      <a:pt x="559" y="1032"/>
                    </a:lnTo>
                    <a:lnTo>
                      <a:pt x="565" y="1030"/>
                    </a:lnTo>
                    <a:lnTo>
                      <a:pt x="571" y="1027"/>
                    </a:lnTo>
                    <a:lnTo>
                      <a:pt x="578" y="1025"/>
                    </a:lnTo>
                    <a:lnTo>
                      <a:pt x="591" y="1022"/>
                    </a:lnTo>
                    <a:lnTo>
                      <a:pt x="604" y="1021"/>
                    </a:lnTo>
                    <a:lnTo>
                      <a:pt x="615" y="1021"/>
                    </a:lnTo>
                    <a:lnTo>
                      <a:pt x="625" y="1023"/>
                    </a:lnTo>
                    <a:lnTo>
                      <a:pt x="652" y="1023"/>
                    </a:lnTo>
                    <a:lnTo>
                      <a:pt x="676" y="1023"/>
                    </a:lnTo>
                    <a:lnTo>
                      <a:pt x="697" y="1021"/>
                    </a:lnTo>
                    <a:lnTo>
                      <a:pt x="716" y="1017"/>
                    </a:lnTo>
                    <a:lnTo>
                      <a:pt x="734" y="1013"/>
                    </a:lnTo>
                    <a:lnTo>
                      <a:pt x="750" y="1007"/>
                    </a:lnTo>
                    <a:lnTo>
                      <a:pt x="764" y="1001"/>
                    </a:lnTo>
                    <a:lnTo>
                      <a:pt x="776" y="993"/>
                    </a:lnTo>
                    <a:lnTo>
                      <a:pt x="787" y="984"/>
                    </a:lnTo>
                    <a:lnTo>
                      <a:pt x="795" y="973"/>
                    </a:lnTo>
                    <a:lnTo>
                      <a:pt x="802" y="961"/>
                    </a:lnTo>
                    <a:lnTo>
                      <a:pt x="809" y="949"/>
                    </a:lnTo>
                    <a:lnTo>
                      <a:pt x="812" y="935"/>
                    </a:lnTo>
                    <a:lnTo>
                      <a:pt x="815" y="921"/>
                    </a:lnTo>
                    <a:lnTo>
                      <a:pt x="817" y="904"/>
                    </a:lnTo>
                    <a:lnTo>
                      <a:pt x="817" y="888"/>
                    </a:lnTo>
                    <a:lnTo>
                      <a:pt x="817" y="884"/>
                    </a:lnTo>
                    <a:lnTo>
                      <a:pt x="816" y="882"/>
                    </a:lnTo>
                    <a:lnTo>
                      <a:pt x="815" y="879"/>
                    </a:lnTo>
                    <a:lnTo>
                      <a:pt x="813" y="877"/>
                    </a:lnTo>
                    <a:lnTo>
                      <a:pt x="809" y="874"/>
                    </a:lnTo>
                    <a:lnTo>
                      <a:pt x="803" y="871"/>
                    </a:lnTo>
                    <a:lnTo>
                      <a:pt x="792" y="867"/>
                    </a:lnTo>
                    <a:lnTo>
                      <a:pt x="784" y="863"/>
                    </a:lnTo>
                    <a:lnTo>
                      <a:pt x="782" y="859"/>
                    </a:lnTo>
                    <a:lnTo>
                      <a:pt x="781" y="852"/>
                    </a:lnTo>
                    <a:lnTo>
                      <a:pt x="780" y="847"/>
                    </a:lnTo>
                    <a:lnTo>
                      <a:pt x="779" y="841"/>
                    </a:lnTo>
                    <a:lnTo>
                      <a:pt x="780" y="836"/>
                    </a:lnTo>
                    <a:lnTo>
                      <a:pt x="781" y="830"/>
                    </a:lnTo>
                    <a:lnTo>
                      <a:pt x="782" y="825"/>
                    </a:lnTo>
                    <a:lnTo>
                      <a:pt x="784" y="820"/>
                    </a:lnTo>
                    <a:lnTo>
                      <a:pt x="772" y="816"/>
                    </a:lnTo>
                    <a:lnTo>
                      <a:pt x="758" y="810"/>
                    </a:lnTo>
                    <a:lnTo>
                      <a:pt x="742" y="800"/>
                    </a:lnTo>
                    <a:lnTo>
                      <a:pt x="725" y="789"/>
                    </a:lnTo>
                    <a:lnTo>
                      <a:pt x="717" y="783"/>
                    </a:lnTo>
                    <a:lnTo>
                      <a:pt x="711" y="777"/>
                    </a:lnTo>
                    <a:lnTo>
                      <a:pt x="704" y="771"/>
                    </a:lnTo>
                    <a:lnTo>
                      <a:pt x="700" y="765"/>
                    </a:lnTo>
                    <a:lnTo>
                      <a:pt x="695" y="758"/>
                    </a:lnTo>
                    <a:lnTo>
                      <a:pt x="692" y="752"/>
                    </a:lnTo>
                    <a:lnTo>
                      <a:pt x="691" y="745"/>
                    </a:lnTo>
                    <a:lnTo>
                      <a:pt x="691" y="739"/>
                    </a:lnTo>
                    <a:lnTo>
                      <a:pt x="698" y="616"/>
                    </a:lnTo>
                    <a:lnTo>
                      <a:pt x="697" y="585"/>
                    </a:lnTo>
                    <a:lnTo>
                      <a:pt x="697" y="553"/>
                    </a:lnTo>
                    <a:lnTo>
                      <a:pt x="698" y="546"/>
                    </a:lnTo>
                    <a:lnTo>
                      <a:pt x="699" y="539"/>
                    </a:lnTo>
                    <a:lnTo>
                      <a:pt x="701" y="532"/>
                    </a:lnTo>
                    <a:lnTo>
                      <a:pt x="703" y="525"/>
                    </a:lnTo>
                    <a:lnTo>
                      <a:pt x="708" y="518"/>
                    </a:lnTo>
                    <a:lnTo>
                      <a:pt x="712" y="511"/>
                    </a:lnTo>
                    <a:lnTo>
                      <a:pt x="717" y="505"/>
                    </a:lnTo>
                    <a:lnTo>
                      <a:pt x="725" y="499"/>
                    </a:lnTo>
                    <a:lnTo>
                      <a:pt x="725" y="4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</p:grpSp>
        <p:sp>
          <p:nvSpPr>
            <p:cNvPr id="25638" name="Freeform 5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2794632" y="2165789"/>
              <a:ext cx="784225" cy="446088"/>
            </a:xfrm>
            <a:custGeom>
              <a:avLst/>
              <a:gdLst>
                <a:gd name="T0" fmla="*/ 2147483647 w 1808"/>
                <a:gd name="T1" fmla="*/ 2147483647 h 850"/>
                <a:gd name="T2" fmla="*/ 2147483647 w 1808"/>
                <a:gd name="T3" fmla="*/ 2147483647 h 850"/>
                <a:gd name="T4" fmla="*/ 2147483647 w 1808"/>
                <a:gd name="T5" fmla="*/ 2147483647 h 850"/>
                <a:gd name="T6" fmla="*/ 2147483647 w 1808"/>
                <a:gd name="T7" fmla="*/ 2147483647 h 850"/>
                <a:gd name="T8" fmla="*/ 2147483647 w 1808"/>
                <a:gd name="T9" fmla="*/ 2147483647 h 850"/>
                <a:gd name="T10" fmla="*/ 2147483647 w 1808"/>
                <a:gd name="T11" fmla="*/ 2147483647 h 850"/>
                <a:gd name="T12" fmla="*/ 2147483647 w 1808"/>
                <a:gd name="T13" fmla="*/ 2147483647 h 850"/>
                <a:gd name="T14" fmla="*/ 2147483647 w 1808"/>
                <a:gd name="T15" fmla="*/ 2147483647 h 850"/>
                <a:gd name="T16" fmla="*/ 2147483647 w 1808"/>
                <a:gd name="T17" fmla="*/ 2147483647 h 850"/>
                <a:gd name="T18" fmla="*/ 2147483647 w 1808"/>
                <a:gd name="T19" fmla="*/ 2147483647 h 850"/>
                <a:gd name="T20" fmla="*/ 2147483647 w 1808"/>
                <a:gd name="T21" fmla="*/ 2147483647 h 850"/>
                <a:gd name="T22" fmla="*/ 2147483647 w 1808"/>
                <a:gd name="T23" fmla="*/ 2147483647 h 850"/>
                <a:gd name="T24" fmla="*/ 2147483647 w 1808"/>
                <a:gd name="T25" fmla="*/ 2147483647 h 850"/>
                <a:gd name="T26" fmla="*/ 2147483647 w 1808"/>
                <a:gd name="T27" fmla="*/ 2147483647 h 850"/>
                <a:gd name="T28" fmla="*/ 2147483647 w 1808"/>
                <a:gd name="T29" fmla="*/ 2147483647 h 850"/>
                <a:gd name="T30" fmla="*/ 2147483647 w 1808"/>
                <a:gd name="T31" fmla="*/ 2147483647 h 850"/>
                <a:gd name="T32" fmla="*/ 2147483647 w 1808"/>
                <a:gd name="T33" fmla="*/ 2147483647 h 850"/>
                <a:gd name="T34" fmla="*/ 2147483647 w 1808"/>
                <a:gd name="T35" fmla="*/ 2147483647 h 850"/>
                <a:gd name="T36" fmla="*/ 2147483647 w 1808"/>
                <a:gd name="T37" fmla="*/ 2147483647 h 850"/>
                <a:gd name="T38" fmla="*/ 2147483647 w 1808"/>
                <a:gd name="T39" fmla="*/ 2147483647 h 850"/>
                <a:gd name="T40" fmla="*/ 2147483647 w 1808"/>
                <a:gd name="T41" fmla="*/ 2147483647 h 850"/>
                <a:gd name="T42" fmla="*/ 2147483647 w 1808"/>
                <a:gd name="T43" fmla="*/ 2147483647 h 850"/>
                <a:gd name="T44" fmla="*/ 2147483647 w 1808"/>
                <a:gd name="T45" fmla="*/ 2147483647 h 850"/>
                <a:gd name="T46" fmla="*/ 2147483647 w 1808"/>
                <a:gd name="T47" fmla="*/ 2147483647 h 850"/>
                <a:gd name="T48" fmla="*/ 2147483647 w 1808"/>
                <a:gd name="T49" fmla="*/ 2147483647 h 850"/>
                <a:gd name="T50" fmla="*/ 2147483647 w 1808"/>
                <a:gd name="T51" fmla="*/ 2147483647 h 850"/>
                <a:gd name="T52" fmla="*/ 2147483647 w 1808"/>
                <a:gd name="T53" fmla="*/ 2147483647 h 850"/>
                <a:gd name="T54" fmla="*/ 2147483647 w 1808"/>
                <a:gd name="T55" fmla="*/ 2147483647 h 850"/>
                <a:gd name="T56" fmla="*/ 2147483647 w 1808"/>
                <a:gd name="T57" fmla="*/ 2147483647 h 850"/>
                <a:gd name="T58" fmla="*/ 2147483647 w 1808"/>
                <a:gd name="T59" fmla="*/ 2147483647 h 850"/>
                <a:gd name="T60" fmla="*/ 2147483647 w 1808"/>
                <a:gd name="T61" fmla="*/ 2147483647 h 850"/>
                <a:gd name="T62" fmla="*/ 2147483647 w 1808"/>
                <a:gd name="T63" fmla="*/ 2147483647 h 850"/>
                <a:gd name="T64" fmla="*/ 2147483647 w 1808"/>
                <a:gd name="T65" fmla="*/ 2147483647 h 850"/>
                <a:gd name="T66" fmla="*/ 2147483647 w 1808"/>
                <a:gd name="T67" fmla="*/ 2147483647 h 850"/>
                <a:gd name="T68" fmla="*/ 2147483647 w 1808"/>
                <a:gd name="T69" fmla="*/ 2147483647 h 850"/>
                <a:gd name="T70" fmla="*/ 2147483647 w 1808"/>
                <a:gd name="T71" fmla="*/ 2147483647 h 850"/>
                <a:gd name="T72" fmla="*/ 2147483647 w 1808"/>
                <a:gd name="T73" fmla="*/ 2147483647 h 850"/>
                <a:gd name="T74" fmla="*/ 2147483647 w 1808"/>
                <a:gd name="T75" fmla="*/ 2147483647 h 850"/>
                <a:gd name="T76" fmla="*/ 2147483647 w 1808"/>
                <a:gd name="T77" fmla="*/ 2147483647 h 850"/>
                <a:gd name="T78" fmla="*/ 2147483647 w 1808"/>
                <a:gd name="T79" fmla="*/ 2147483647 h 850"/>
                <a:gd name="T80" fmla="*/ 2147483647 w 1808"/>
                <a:gd name="T81" fmla="*/ 2147483647 h 850"/>
                <a:gd name="T82" fmla="*/ 2147483647 w 1808"/>
                <a:gd name="T83" fmla="*/ 2147483647 h 850"/>
                <a:gd name="T84" fmla="*/ 2147483647 w 1808"/>
                <a:gd name="T85" fmla="*/ 2147483647 h 850"/>
                <a:gd name="T86" fmla="*/ 2147483647 w 1808"/>
                <a:gd name="T87" fmla="*/ 2147483647 h 850"/>
                <a:gd name="T88" fmla="*/ 2147483647 w 1808"/>
                <a:gd name="T89" fmla="*/ 2147483647 h 850"/>
                <a:gd name="T90" fmla="*/ 2147483647 w 1808"/>
                <a:gd name="T91" fmla="*/ 2147483647 h 850"/>
                <a:gd name="T92" fmla="*/ 2147483647 w 1808"/>
                <a:gd name="T93" fmla="*/ 2147483647 h 850"/>
                <a:gd name="T94" fmla="*/ 2147483647 w 1808"/>
                <a:gd name="T95" fmla="*/ 2147483647 h 850"/>
                <a:gd name="T96" fmla="*/ 2147483647 w 1808"/>
                <a:gd name="T97" fmla="*/ 2147483647 h 850"/>
                <a:gd name="T98" fmla="*/ 2147483647 w 1808"/>
                <a:gd name="T99" fmla="*/ 2147483647 h 850"/>
                <a:gd name="T100" fmla="*/ 2147483647 w 1808"/>
                <a:gd name="T101" fmla="*/ 2147483647 h 850"/>
                <a:gd name="T102" fmla="*/ 2147483647 w 1808"/>
                <a:gd name="T103" fmla="*/ 2147483647 h 850"/>
                <a:gd name="T104" fmla="*/ 2147483647 w 1808"/>
                <a:gd name="T105" fmla="*/ 2147483647 h 850"/>
                <a:gd name="T106" fmla="*/ 2147483647 w 1808"/>
                <a:gd name="T107" fmla="*/ 2147483647 h 850"/>
                <a:gd name="T108" fmla="*/ 2147483647 w 1808"/>
                <a:gd name="T109" fmla="*/ 2147483647 h 850"/>
                <a:gd name="T110" fmla="*/ 2147483647 w 1808"/>
                <a:gd name="T111" fmla="*/ 2147483647 h 850"/>
                <a:gd name="T112" fmla="*/ 2147483647 w 1808"/>
                <a:gd name="T113" fmla="*/ 2147483647 h 850"/>
                <a:gd name="T114" fmla="*/ 2147483647 w 1808"/>
                <a:gd name="T115" fmla="*/ 2147483647 h 850"/>
                <a:gd name="T116" fmla="*/ 2147483647 w 1808"/>
                <a:gd name="T117" fmla="*/ 2147483647 h 850"/>
                <a:gd name="T118" fmla="*/ 2147483647 w 1808"/>
                <a:gd name="T119" fmla="*/ 2147483647 h 850"/>
                <a:gd name="T120" fmla="*/ 2147483647 w 1808"/>
                <a:gd name="T121" fmla="*/ 2147483647 h 85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808" h="850">
                  <a:moveTo>
                    <a:pt x="1410" y="842"/>
                  </a:moveTo>
                  <a:lnTo>
                    <a:pt x="1405" y="841"/>
                  </a:lnTo>
                  <a:lnTo>
                    <a:pt x="1403" y="838"/>
                  </a:lnTo>
                  <a:lnTo>
                    <a:pt x="1401" y="834"/>
                  </a:lnTo>
                  <a:lnTo>
                    <a:pt x="1399" y="830"/>
                  </a:lnTo>
                  <a:lnTo>
                    <a:pt x="1396" y="819"/>
                  </a:lnTo>
                  <a:lnTo>
                    <a:pt x="1395" y="807"/>
                  </a:lnTo>
                  <a:lnTo>
                    <a:pt x="1396" y="795"/>
                  </a:lnTo>
                  <a:lnTo>
                    <a:pt x="1398" y="784"/>
                  </a:lnTo>
                  <a:lnTo>
                    <a:pt x="1400" y="775"/>
                  </a:lnTo>
                  <a:lnTo>
                    <a:pt x="1402" y="769"/>
                  </a:lnTo>
                  <a:lnTo>
                    <a:pt x="1399" y="764"/>
                  </a:lnTo>
                  <a:lnTo>
                    <a:pt x="1396" y="760"/>
                  </a:lnTo>
                  <a:lnTo>
                    <a:pt x="1394" y="753"/>
                  </a:lnTo>
                  <a:lnTo>
                    <a:pt x="1392" y="746"/>
                  </a:lnTo>
                  <a:lnTo>
                    <a:pt x="1390" y="729"/>
                  </a:lnTo>
                  <a:lnTo>
                    <a:pt x="1389" y="708"/>
                  </a:lnTo>
                  <a:lnTo>
                    <a:pt x="1389" y="670"/>
                  </a:lnTo>
                  <a:lnTo>
                    <a:pt x="1389" y="645"/>
                  </a:lnTo>
                  <a:lnTo>
                    <a:pt x="1382" y="647"/>
                  </a:lnTo>
                  <a:lnTo>
                    <a:pt x="1373" y="648"/>
                  </a:lnTo>
                  <a:lnTo>
                    <a:pt x="1362" y="648"/>
                  </a:lnTo>
                  <a:lnTo>
                    <a:pt x="1351" y="648"/>
                  </a:lnTo>
                  <a:lnTo>
                    <a:pt x="1340" y="647"/>
                  </a:lnTo>
                  <a:lnTo>
                    <a:pt x="1332" y="645"/>
                  </a:lnTo>
                  <a:lnTo>
                    <a:pt x="1327" y="644"/>
                  </a:lnTo>
                  <a:lnTo>
                    <a:pt x="1325" y="642"/>
                  </a:lnTo>
                  <a:lnTo>
                    <a:pt x="1323" y="641"/>
                  </a:lnTo>
                  <a:lnTo>
                    <a:pt x="1323" y="638"/>
                  </a:lnTo>
                  <a:lnTo>
                    <a:pt x="1290" y="682"/>
                  </a:lnTo>
                  <a:lnTo>
                    <a:pt x="1284" y="668"/>
                  </a:lnTo>
                  <a:lnTo>
                    <a:pt x="1279" y="659"/>
                  </a:lnTo>
                  <a:lnTo>
                    <a:pt x="1273" y="650"/>
                  </a:lnTo>
                  <a:lnTo>
                    <a:pt x="1268" y="645"/>
                  </a:lnTo>
                  <a:lnTo>
                    <a:pt x="1264" y="639"/>
                  </a:lnTo>
                  <a:lnTo>
                    <a:pt x="1259" y="631"/>
                  </a:lnTo>
                  <a:lnTo>
                    <a:pt x="1257" y="622"/>
                  </a:lnTo>
                  <a:lnTo>
                    <a:pt x="1256" y="608"/>
                  </a:lnTo>
                  <a:lnTo>
                    <a:pt x="1226" y="602"/>
                  </a:lnTo>
                  <a:lnTo>
                    <a:pt x="1195" y="595"/>
                  </a:lnTo>
                  <a:lnTo>
                    <a:pt x="1165" y="588"/>
                  </a:lnTo>
                  <a:lnTo>
                    <a:pt x="1134" y="582"/>
                  </a:lnTo>
                  <a:lnTo>
                    <a:pt x="1104" y="576"/>
                  </a:lnTo>
                  <a:lnTo>
                    <a:pt x="1074" y="569"/>
                  </a:lnTo>
                  <a:lnTo>
                    <a:pt x="1045" y="561"/>
                  </a:lnTo>
                  <a:lnTo>
                    <a:pt x="1018" y="553"/>
                  </a:lnTo>
                  <a:lnTo>
                    <a:pt x="984" y="553"/>
                  </a:lnTo>
                  <a:lnTo>
                    <a:pt x="977" y="546"/>
                  </a:lnTo>
                  <a:lnTo>
                    <a:pt x="973" y="537"/>
                  </a:lnTo>
                  <a:lnTo>
                    <a:pt x="969" y="528"/>
                  </a:lnTo>
                  <a:lnTo>
                    <a:pt x="966" y="521"/>
                  </a:lnTo>
                  <a:lnTo>
                    <a:pt x="962" y="514"/>
                  </a:lnTo>
                  <a:lnTo>
                    <a:pt x="956" y="508"/>
                  </a:lnTo>
                  <a:lnTo>
                    <a:pt x="952" y="506"/>
                  </a:lnTo>
                  <a:lnTo>
                    <a:pt x="948" y="505"/>
                  </a:lnTo>
                  <a:lnTo>
                    <a:pt x="943" y="504"/>
                  </a:lnTo>
                  <a:lnTo>
                    <a:pt x="937" y="503"/>
                  </a:lnTo>
                  <a:lnTo>
                    <a:pt x="929" y="504"/>
                  </a:lnTo>
                  <a:lnTo>
                    <a:pt x="922" y="505"/>
                  </a:lnTo>
                  <a:lnTo>
                    <a:pt x="916" y="507"/>
                  </a:lnTo>
                  <a:lnTo>
                    <a:pt x="910" y="509"/>
                  </a:lnTo>
                  <a:lnTo>
                    <a:pt x="906" y="512"/>
                  </a:lnTo>
                  <a:lnTo>
                    <a:pt x="901" y="516"/>
                  </a:lnTo>
                  <a:lnTo>
                    <a:pt x="898" y="519"/>
                  </a:lnTo>
                  <a:lnTo>
                    <a:pt x="895" y="523"/>
                  </a:lnTo>
                  <a:lnTo>
                    <a:pt x="886" y="539"/>
                  </a:lnTo>
                  <a:lnTo>
                    <a:pt x="877" y="553"/>
                  </a:lnTo>
                  <a:lnTo>
                    <a:pt x="870" y="559"/>
                  </a:lnTo>
                  <a:lnTo>
                    <a:pt x="861" y="564"/>
                  </a:lnTo>
                  <a:lnTo>
                    <a:pt x="849" y="570"/>
                  </a:lnTo>
                  <a:lnTo>
                    <a:pt x="835" y="576"/>
                  </a:lnTo>
                  <a:lnTo>
                    <a:pt x="806" y="587"/>
                  </a:lnTo>
                  <a:lnTo>
                    <a:pt x="772" y="597"/>
                  </a:lnTo>
                  <a:lnTo>
                    <a:pt x="738" y="607"/>
                  </a:lnTo>
                  <a:lnTo>
                    <a:pt x="705" y="614"/>
                  </a:lnTo>
                  <a:lnTo>
                    <a:pt x="689" y="617"/>
                  </a:lnTo>
                  <a:lnTo>
                    <a:pt x="675" y="619"/>
                  </a:lnTo>
                  <a:lnTo>
                    <a:pt x="663" y="620"/>
                  </a:lnTo>
                  <a:lnTo>
                    <a:pt x="652" y="620"/>
                  </a:lnTo>
                  <a:lnTo>
                    <a:pt x="656" y="614"/>
                  </a:lnTo>
                  <a:lnTo>
                    <a:pt x="667" y="597"/>
                  </a:lnTo>
                  <a:lnTo>
                    <a:pt x="673" y="589"/>
                  </a:lnTo>
                  <a:lnTo>
                    <a:pt x="677" y="581"/>
                  </a:lnTo>
                  <a:lnTo>
                    <a:pt x="678" y="578"/>
                  </a:lnTo>
                  <a:lnTo>
                    <a:pt x="679" y="575"/>
                  </a:lnTo>
                  <a:lnTo>
                    <a:pt x="679" y="572"/>
                  </a:lnTo>
                  <a:lnTo>
                    <a:pt x="678" y="571"/>
                  </a:lnTo>
                  <a:lnTo>
                    <a:pt x="689" y="562"/>
                  </a:lnTo>
                  <a:lnTo>
                    <a:pt x="700" y="555"/>
                  </a:lnTo>
                  <a:lnTo>
                    <a:pt x="711" y="551"/>
                  </a:lnTo>
                  <a:lnTo>
                    <a:pt x="721" y="548"/>
                  </a:lnTo>
                  <a:lnTo>
                    <a:pt x="732" y="546"/>
                  </a:lnTo>
                  <a:lnTo>
                    <a:pt x="742" y="546"/>
                  </a:lnTo>
                  <a:lnTo>
                    <a:pt x="751" y="546"/>
                  </a:lnTo>
                  <a:lnTo>
                    <a:pt x="761" y="546"/>
                  </a:lnTo>
                  <a:lnTo>
                    <a:pt x="769" y="546"/>
                  </a:lnTo>
                  <a:lnTo>
                    <a:pt x="778" y="546"/>
                  </a:lnTo>
                  <a:lnTo>
                    <a:pt x="786" y="545"/>
                  </a:lnTo>
                  <a:lnTo>
                    <a:pt x="794" y="543"/>
                  </a:lnTo>
                  <a:lnTo>
                    <a:pt x="800" y="538"/>
                  </a:lnTo>
                  <a:lnTo>
                    <a:pt x="807" y="533"/>
                  </a:lnTo>
                  <a:lnTo>
                    <a:pt x="812" y="525"/>
                  </a:lnTo>
                  <a:lnTo>
                    <a:pt x="818" y="515"/>
                  </a:lnTo>
                  <a:lnTo>
                    <a:pt x="744" y="515"/>
                  </a:lnTo>
                  <a:lnTo>
                    <a:pt x="724" y="528"/>
                  </a:lnTo>
                  <a:lnTo>
                    <a:pt x="705" y="540"/>
                  </a:lnTo>
                  <a:lnTo>
                    <a:pt x="685" y="551"/>
                  </a:lnTo>
                  <a:lnTo>
                    <a:pt x="664" y="560"/>
                  </a:lnTo>
                  <a:lnTo>
                    <a:pt x="643" y="568"/>
                  </a:lnTo>
                  <a:lnTo>
                    <a:pt x="622" y="575"/>
                  </a:lnTo>
                  <a:lnTo>
                    <a:pt x="600" y="582"/>
                  </a:lnTo>
                  <a:lnTo>
                    <a:pt x="578" y="589"/>
                  </a:lnTo>
                  <a:lnTo>
                    <a:pt x="573" y="592"/>
                  </a:lnTo>
                  <a:lnTo>
                    <a:pt x="567" y="594"/>
                  </a:lnTo>
                  <a:lnTo>
                    <a:pt x="564" y="599"/>
                  </a:lnTo>
                  <a:lnTo>
                    <a:pt x="560" y="602"/>
                  </a:lnTo>
                  <a:lnTo>
                    <a:pt x="554" y="609"/>
                  </a:lnTo>
                  <a:lnTo>
                    <a:pt x="550" y="617"/>
                  </a:lnTo>
                  <a:lnTo>
                    <a:pt x="547" y="625"/>
                  </a:lnTo>
                  <a:lnTo>
                    <a:pt x="543" y="633"/>
                  </a:lnTo>
                  <a:lnTo>
                    <a:pt x="541" y="636"/>
                  </a:lnTo>
                  <a:lnTo>
                    <a:pt x="539" y="639"/>
                  </a:lnTo>
                  <a:lnTo>
                    <a:pt x="536" y="642"/>
                  </a:lnTo>
                  <a:lnTo>
                    <a:pt x="532" y="645"/>
                  </a:lnTo>
                  <a:lnTo>
                    <a:pt x="529" y="648"/>
                  </a:lnTo>
                  <a:lnTo>
                    <a:pt x="526" y="650"/>
                  </a:lnTo>
                  <a:lnTo>
                    <a:pt x="521" y="652"/>
                  </a:lnTo>
                  <a:lnTo>
                    <a:pt x="517" y="654"/>
                  </a:lnTo>
                  <a:lnTo>
                    <a:pt x="507" y="655"/>
                  </a:lnTo>
                  <a:lnTo>
                    <a:pt x="496" y="655"/>
                  </a:lnTo>
                  <a:lnTo>
                    <a:pt x="474" y="652"/>
                  </a:lnTo>
                  <a:lnTo>
                    <a:pt x="459" y="651"/>
                  </a:lnTo>
                  <a:lnTo>
                    <a:pt x="452" y="654"/>
                  </a:lnTo>
                  <a:lnTo>
                    <a:pt x="444" y="657"/>
                  </a:lnTo>
                  <a:lnTo>
                    <a:pt x="438" y="661"/>
                  </a:lnTo>
                  <a:lnTo>
                    <a:pt x="430" y="665"/>
                  </a:lnTo>
                  <a:lnTo>
                    <a:pt x="417" y="674"/>
                  </a:lnTo>
                  <a:lnTo>
                    <a:pt x="405" y="684"/>
                  </a:lnTo>
                  <a:lnTo>
                    <a:pt x="394" y="694"/>
                  </a:lnTo>
                  <a:lnTo>
                    <a:pt x="383" y="702"/>
                  </a:lnTo>
                  <a:lnTo>
                    <a:pt x="374" y="708"/>
                  </a:lnTo>
                  <a:lnTo>
                    <a:pt x="367" y="713"/>
                  </a:lnTo>
                  <a:lnTo>
                    <a:pt x="335" y="722"/>
                  </a:lnTo>
                  <a:lnTo>
                    <a:pt x="309" y="729"/>
                  </a:lnTo>
                  <a:lnTo>
                    <a:pt x="287" y="737"/>
                  </a:lnTo>
                  <a:lnTo>
                    <a:pt x="270" y="743"/>
                  </a:lnTo>
                  <a:lnTo>
                    <a:pt x="252" y="750"/>
                  </a:lnTo>
                  <a:lnTo>
                    <a:pt x="235" y="757"/>
                  </a:lnTo>
                  <a:lnTo>
                    <a:pt x="216" y="766"/>
                  </a:lnTo>
                  <a:lnTo>
                    <a:pt x="193" y="775"/>
                  </a:lnTo>
                  <a:lnTo>
                    <a:pt x="168" y="786"/>
                  </a:lnTo>
                  <a:lnTo>
                    <a:pt x="145" y="795"/>
                  </a:lnTo>
                  <a:lnTo>
                    <a:pt x="124" y="802"/>
                  </a:lnTo>
                  <a:lnTo>
                    <a:pt x="105" y="807"/>
                  </a:lnTo>
                  <a:lnTo>
                    <a:pt x="87" y="812"/>
                  </a:lnTo>
                  <a:lnTo>
                    <a:pt x="68" y="818"/>
                  </a:lnTo>
                  <a:lnTo>
                    <a:pt x="48" y="826"/>
                  </a:lnTo>
                  <a:lnTo>
                    <a:pt x="27" y="836"/>
                  </a:lnTo>
                  <a:lnTo>
                    <a:pt x="1" y="824"/>
                  </a:lnTo>
                  <a:lnTo>
                    <a:pt x="4" y="817"/>
                  </a:lnTo>
                  <a:lnTo>
                    <a:pt x="4" y="813"/>
                  </a:lnTo>
                  <a:lnTo>
                    <a:pt x="3" y="810"/>
                  </a:lnTo>
                  <a:lnTo>
                    <a:pt x="2" y="808"/>
                  </a:lnTo>
                  <a:lnTo>
                    <a:pt x="0" y="806"/>
                  </a:lnTo>
                  <a:lnTo>
                    <a:pt x="0" y="803"/>
                  </a:lnTo>
                  <a:lnTo>
                    <a:pt x="2" y="799"/>
                  </a:lnTo>
                  <a:lnTo>
                    <a:pt x="7" y="793"/>
                  </a:lnTo>
                  <a:lnTo>
                    <a:pt x="14" y="789"/>
                  </a:lnTo>
                  <a:lnTo>
                    <a:pt x="21" y="785"/>
                  </a:lnTo>
                  <a:lnTo>
                    <a:pt x="28" y="782"/>
                  </a:lnTo>
                  <a:lnTo>
                    <a:pt x="36" y="779"/>
                  </a:lnTo>
                  <a:lnTo>
                    <a:pt x="52" y="774"/>
                  </a:lnTo>
                  <a:lnTo>
                    <a:pt x="70" y="771"/>
                  </a:lnTo>
                  <a:lnTo>
                    <a:pt x="102" y="766"/>
                  </a:lnTo>
                  <a:lnTo>
                    <a:pt x="127" y="761"/>
                  </a:lnTo>
                  <a:lnTo>
                    <a:pt x="143" y="757"/>
                  </a:lnTo>
                  <a:lnTo>
                    <a:pt x="158" y="751"/>
                  </a:lnTo>
                  <a:lnTo>
                    <a:pt x="173" y="746"/>
                  </a:lnTo>
                  <a:lnTo>
                    <a:pt x="188" y="739"/>
                  </a:lnTo>
                  <a:lnTo>
                    <a:pt x="215" y="726"/>
                  </a:lnTo>
                  <a:lnTo>
                    <a:pt x="240" y="712"/>
                  </a:lnTo>
                  <a:lnTo>
                    <a:pt x="265" y="696"/>
                  </a:lnTo>
                  <a:lnTo>
                    <a:pt x="291" y="681"/>
                  </a:lnTo>
                  <a:lnTo>
                    <a:pt x="315" y="666"/>
                  </a:lnTo>
                  <a:lnTo>
                    <a:pt x="339" y="651"/>
                  </a:lnTo>
                  <a:lnTo>
                    <a:pt x="327" y="643"/>
                  </a:lnTo>
                  <a:lnTo>
                    <a:pt x="317" y="636"/>
                  </a:lnTo>
                  <a:lnTo>
                    <a:pt x="308" y="631"/>
                  </a:lnTo>
                  <a:lnTo>
                    <a:pt x="300" y="626"/>
                  </a:lnTo>
                  <a:lnTo>
                    <a:pt x="292" y="629"/>
                  </a:lnTo>
                  <a:lnTo>
                    <a:pt x="285" y="634"/>
                  </a:lnTo>
                  <a:lnTo>
                    <a:pt x="280" y="639"/>
                  </a:lnTo>
                  <a:lnTo>
                    <a:pt x="273" y="644"/>
                  </a:lnTo>
                  <a:lnTo>
                    <a:pt x="267" y="649"/>
                  </a:lnTo>
                  <a:lnTo>
                    <a:pt x="260" y="654"/>
                  </a:lnTo>
                  <a:lnTo>
                    <a:pt x="253" y="657"/>
                  </a:lnTo>
                  <a:lnTo>
                    <a:pt x="247" y="658"/>
                  </a:lnTo>
                  <a:lnTo>
                    <a:pt x="225" y="657"/>
                  </a:lnTo>
                  <a:lnTo>
                    <a:pt x="192" y="652"/>
                  </a:lnTo>
                  <a:lnTo>
                    <a:pt x="174" y="650"/>
                  </a:lnTo>
                  <a:lnTo>
                    <a:pt x="160" y="646"/>
                  </a:lnTo>
                  <a:lnTo>
                    <a:pt x="155" y="645"/>
                  </a:lnTo>
                  <a:lnTo>
                    <a:pt x="150" y="643"/>
                  </a:lnTo>
                  <a:lnTo>
                    <a:pt x="148" y="641"/>
                  </a:lnTo>
                  <a:lnTo>
                    <a:pt x="147" y="638"/>
                  </a:lnTo>
                  <a:lnTo>
                    <a:pt x="148" y="635"/>
                  </a:lnTo>
                  <a:lnTo>
                    <a:pt x="150" y="631"/>
                  </a:lnTo>
                  <a:lnTo>
                    <a:pt x="155" y="626"/>
                  </a:lnTo>
                  <a:lnTo>
                    <a:pt x="159" y="621"/>
                  </a:lnTo>
                  <a:lnTo>
                    <a:pt x="172" y="610"/>
                  </a:lnTo>
                  <a:lnTo>
                    <a:pt x="189" y="597"/>
                  </a:lnTo>
                  <a:lnTo>
                    <a:pt x="204" y="584"/>
                  </a:lnTo>
                  <a:lnTo>
                    <a:pt x="219" y="571"/>
                  </a:lnTo>
                  <a:lnTo>
                    <a:pt x="226" y="565"/>
                  </a:lnTo>
                  <a:lnTo>
                    <a:pt x="231" y="559"/>
                  </a:lnTo>
                  <a:lnTo>
                    <a:pt x="237" y="553"/>
                  </a:lnTo>
                  <a:lnTo>
                    <a:pt x="240" y="547"/>
                  </a:lnTo>
                  <a:lnTo>
                    <a:pt x="223" y="550"/>
                  </a:lnTo>
                  <a:lnTo>
                    <a:pt x="207" y="556"/>
                  </a:lnTo>
                  <a:lnTo>
                    <a:pt x="191" y="562"/>
                  </a:lnTo>
                  <a:lnTo>
                    <a:pt x="175" y="568"/>
                  </a:lnTo>
                  <a:lnTo>
                    <a:pt x="168" y="571"/>
                  </a:lnTo>
                  <a:lnTo>
                    <a:pt x="160" y="573"/>
                  </a:lnTo>
                  <a:lnTo>
                    <a:pt x="152" y="575"/>
                  </a:lnTo>
                  <a:lnTo>
                    <a:pt x="144" y="576"/>
                  </a:lnTo>
                  <a:lnTo>
                    <a:pt x="135" y="576"/>
                  </a:lnTo>
                  <a:lnTo>
                    <a:pt x="126" y="575"/>
                  </a:lnTo>
                  <a:lnTo>
                    <a:pt x="116" y="574"/>
                  </a:lnTo>
                  <a:lnTo>
                    <a:pt x="107" y="571"/>
                  </a:lnTo>
                  <a:lnTo>
                    <a:pt x="107" y="565"/>
                  </a:lnTo>
                  <a:lnTo>
                    <a:pt x="143" y="536"/>
                  </a:lnTo>
                  <a:lnTo>
                    <a:pt x="182" y="508"/>
                  </a:lnTo>
                  <a:lnTo>
                    <a:pt x="223" y="476"/>
                  </a:lnTo>
                  <a:lnTo>
                    <a:pt x="267" y="442"/>
                  </a:lnTo>
                  <a:lnTo>
                    <a:pt x="286" y="426"/>
                  </a:lnTo>
                  <a:lnTo>
                    <a:pt x="306" y="411"/>
                  </a:lnTo>
                  <a:lnTo>
                    <a:pt x="326" y="395"/>
                  </a:lnTo>
                  <a:lnTo>
                    <a:pt x="346" y="380"/>
                  </a:lnTo>
                  <a:lnTo>
                    <a:pt x="386" y="411"/>
                  </a:lnTo>
                  <a:lnTo>
                    <a:pt x="393" y="405"/>
                  </a:lnTo>
                  <a:lnTo>
                    <a:pt x="399" y="400"/>
                  </a:lnTo>
                  <a:lnTo>
                    <a:pt x="406" y="396"/>
                  </a:lnTo>
                  <a:lnTo>
                    <a:pt x="414" y="393"/>
                  </a:lnTo>
                  <a:lnTo>
                    <a:pt x="428" y="386"/>
                  </a:lnTo>
                  <a:lnTo>
                    <a:pt x="444" y="382"/>
                  </a:lnTo>
                  <a:lnTo>
                    <a:pt x="476" y="374"/>
                  </a:lnTo>
                  <a:lnTo>
                    <a:pt x="509" y="370"/>
                  </a:lnTo>
                  <a:lnTo>
                    <a:pt x="524" y="367"/>
                  </a:lnTo>
                  <a:lnTo>
                    <a:pt x="539" y="363"/>
                  </a:lnTo>
                  <a:lnTo>
                    <a:pt x="552" y="359"/>
                  </a:lnTo>
                  <a:lnTo>
                    <a:pt x="563" y="353"/>
                  </a:lnTo>
                  <a:lnTo>
                    <a:pt x="569" y="349"/>
                  </a:lnTo>
                  <a:lnTo>
                    <a:pt x="574" y="345"/>
                  </a:lnTo>
                  <a:lnTo>
                    <a:pt x="578" y="340"/>
                  </a:lnTo>
                  <a:lnTo>
                    <a:pt x="582" y="335"/>
                  </a:lnTo>
                  <a:lnTo>
                    <a:pt x="585" y="329"/>
                  </a:lnTo>
                  <a:lnTo>
                    <a:pt x="588" y="322"/>
                  </a:lnTo>
                  <a:lnTo>
                    <a:pt x="590" y="314"/>
                  </a:lnTo>
                  <a:lnTo>
                    <a:pt x="592" y="306"/>
                  </a:lnTo>
                  <a:lnTo>
                    <a:pt x="559" y="306"/>
                  </a:lnTo>
                  <a:lnTo>
                    <a:pt x="548" y="312"/>
                  </a:lnTo>
                  <a:lnTo>
                    <a:pt x="535" y="321"/>
                  </a:lnTo>
                  <a:lnTo>
                    <a:pt x="528" y="325"/>
                  </a:lnTo>
                  <a:lnTo>
                    <a:pt x="520" y="328"/>
                  </a:lnTo>
                  <a:lnTo>
                    <a:pt x="513" y="330"/>
                  </a:lnTo>
                  <a:lnTo>
                    <a:pt x="506" y="331"/>
                  </a:lnTo>
                  <a:lnTo>
                    <a:pt x="495" y="330"/>
                  </a:lnTo>
                  <a:lnTo>
                    <a:pt x="485" y="327"/>
                  </a:lnTo>
                  <a:lnTo>
                    <a:pt x="474" y="324"/>
                  </a:lnTo>
                  <a:lnTo>
                    <a:pt x="463" y="321"/>
                  </a:lnTo>
                  <a:lnTo>
                    <a:pt x="453" y="318"/>
                  </a:lnTo>
                  <a:lnTo>
                    <a:pt x="443" y="317"/>
                  </a:lnTo>
                  <a:lnTo>
                    <a:pt x="438" y="318"/>
                  </a:lnTo>
                  <a:lnTo>
                    <a:pt x="433" y="319"/>
                  </a:lnTo>
                  <a:lnTo>
                    <a:pt x="430" y="322"/>
                  </a:lnTo>
                  <a:lnTo>
                    <a:pt x="426" y="325"/>
                  </a:lnTo>
                  <a:lnTo>
                    <a:pt x="432" y="316"/>
                  </a:lnTo>
                  <a:lnTo>
                    <a:pt x="443" y="307"/>
                  </a:lnTo>
                  <a:lnTo>
                    <a:pt x="457" y="297"/>
                  </a:lnTo>
                  <a:lnTo>
                    <a:pt x="472" y="287"/>
                  </a:lnTo>
                  <a:lnTo>
                    <a:pt x="506" y="265"/>
                  </a:lnTo>
                  <a:lnTo>
                    <a:pt x="539" y="244"/>
                  </a:lnTo>
                  <a:lnTo>
                    <a:pt x="698" y="250"/>
                  </a:lnTo>
                  <a:lnTo>
                    <a:pt x="701" y="246"/>
                  </a:lnTo>
                  <a:lnTo>
                    <a:pt x="704" y="243"/>
                  </a:lnTo>
                  <a:lnTo>
                    <a:pt x="708" y="240"/>
                  </a:lnTo>
                  <a:lnTo>
                    <a:pt x="711" y="238"/>
                  </a:lnTo>
                  <a:lnTo>
                    <a:pt x="719" y="236"/>
                  </a:lnTo>
                  <a:lnTo>
                    <a:pt x="728" y="234"/>
                  </a:lnTo>
                  <a:lnTo>
                    <a:pt x="745" y="234"/>
                  </a:lnTo>
                  <a:lnTo>
                    <a:pt x="758" y="232"/>
                  </a:lnTo>
                  <a:lnTo>
                    <a:pt x="756" y="224"/>
                  </a:lnTo>
                  <a:lnTo>
                    <a:pt x="753" y="216"/>
                  </a:lnTo>
                  <a:lnTo>
                    <a:pt x="749" y="210"/>
                  </a:lnTo>
                  <a:lnTo>
                    <a:pt x="742" y="204"/>
                  </a:lnTo>
                  <a:lnTo>
                    <a:pt x="737" y="199"/>
                  </a:lnTo>
                  <a:lnTo>
                    <a:pt x="729" y="195"/>
                  </a:lnTo>
                  <a:lnTo>
                    <a:pt x="721" y="191"/>
                  </a:lnTo>
                  <a:lnTo>
                    <a:pt x="713" y="188"/>
                  </a:lnTo>
                  <a:lnTo>
                    <a:pt x="698" y="182"/>
                  </a:lnTo>
                  <a:lnTo>
                    <a:pt x="684" y="176"/>
                  </a:lnTo>
                  <a:lnTo>
                    <a:pt x="678" y="172"/>
                  </a:lnTo>
                  <a:lnTo>
                    <a:pt x="673" y="168"/>
                  </a:lnTo>
                  <a:lnTo>
                    <a:pt x="668" y="164"/>
                  </a:lnTo>
                  <a:lnTo>
                    <a:pt x="665" y="159"/>
                  </a:lnTo>
                  <a:lnTo>
                    <a:pt x="687" y="143"/>
                  </a:lnTo>
                  <a:lnTo>
                    <a:pt x="712" y="127"/>
                  </a:lnTo>
                  <a:lnTo>
                    <a:pt x="739" y="109"/>
                  </a:lnTo>
                  <a:lnTo>
                    <a:pt x="765" y="90"/>
                  </a:lnTo>
                  <a:lnTo>
                    <a:pt x="812" y="78"/>
                  </a:lnTo>
                  <a:lnTo>
                    <a:pt x="858" y="65"/>
                  </a:lnTo>
                  <a:lnTo>
                    <a:pt x="902" y="52"/>
                  </a:lnTo>
                  <a:lnTo>
                    <a:pt x="945" y="38"/>
                  </a:lnTo>
                  <a:lnTo>
                    <a:pt x="966" y="33"/>
                  </a:lnTo>
                  <a:lnTo>
                    <a:pt x="988" y="27"/>
                  </a:lnTo>
                  <a:lnTo>
                    <a:pt x="1010" y="22"/>
                  </a:lnTo>
                  <a:lnTo>
                    <a:pt x="1033" y="18"/>
                  </a:lnTo>
                  <a:lnTo>
                    <a:pt x="1056" y="15"/>
                  </a:lnTo>
                  <a:lnTo>
                    <a:pt x="1080" y="12"/>
                  </a:lnTo>
                  <a:lnTo>
                    <a:pt x="1104" y="11"/>
                  </a:lnTo>
                  <a:lnTo>
                    <a:pt x="1130" y="10"/>
                  </a:lnTo>
                  <a:lnTo>
                    <a:pt x="1157" y="9"/>
                  </a:lnTo>
                  <a:lnTo>
                    <a:pt x="1176" y="7"/>
                  </a:lnTo>
                  <a:lnTo>
                    <a:pt x="1192" y="5"/>
                  </a:lnTo>
                  <a:lnTo>
                    <a:pt x="1216" y="4"/>
                  </a:lnTo>
                  <a:lnTo>
                    <a:pt x="1241" y="3"/>
                  </a:lnTo>
                  <a:lnTo>
                    <a:pt x="1262" y="0"/>
                  </a:lnTo>
                  <a:lnTo>
                    <a:pt x="1270" y="0"/>
                  </a:lnTo>
                  <a:lnTo>
                    <a:pt x="1277" y="2"/>
                  </a:lnTo>
                  <a:lnTo>
                    <a:pt x="1280" y="3"/>
                  </a:lnTo>
                  <a:lnTo>
                    <a:pt x="1281" y="5"/>
                  </a:lnTo>
                  <a:lnTo>
                    <a:pt x="1282" y="7"/>
                  </a:lnTo>
                  <a:lnTo>
                    <a:pt x="1283" y="10"/>
                  </a:lnTo>
                  <a:lnTo>
                    <a:pt x="1306" y="10"/>
                  </a:lnTo>
                  <a:lnTo>
                    <a:pt x="1333" y="10"/>
                  </a:lnTo>
                  <a:lnTo>
                    <a:pt x="1354" y="10"/>
                  </a:lnTo>
                  <a:lnTo>
                    <a:pt x="1362" y="10"/>
                  </a:lnTo>
                  <a:lnTo>
                    <a:pt x="1380" y="11"/>
                  </a:lnTo>
                  <a:lnTo>
                    <a:pt x="1399" y="12"/>
                  </a:lnTo>
                  <a:lnTo>
                    <a:pt x="1417" y="15"/>
                  </a:lnTo>
                  <a:lnTo>
                    <a:pt x="1437" y="18"/>
                  </a:lnTo>
                  <a:lnTo>
                    <a:pt x="1475" y="26"/>
                  </a:lnTo>
                  <a:lnTo>
                    <a:pt x="1516" y="34"/>
                  </a:lnTo>
                  <a:lnTo>
                    <a:pt x="1557" y="44"/>
                  </a:lnTo>
                  <a:lnTo>
                    <a:pt x="1597" y="52"/>
                  </a:lnTo>
                  <a:lnTo>
                    <a:pt x="1617" y="55"/>
                  </a:lnTo>
                  <a:lnTo>
                    <a:pt x="1637" y="58"/>
                  </a:lnTo>
                  <a:lnTo>
                    <a:pt x="1656" y="59"/>
                  </a:lnTo>
                  <a:lnTo>
                    <a:pt x="1675" y="60"/>
                  </a:lnTo>
                  <a:lnTo>
                    <a:pt x="1761" y="41"/>
                  </a:lnTo>
                  <a:lnTo>
                    <a:pt x="1772" y="46"/>
                  </a:lnTo>
                  <a:lnTo>
                    <a:pt x="1784" y="51"/>
                  </a:lnTo>
                  <a:lnTo>
                    <a:pt x="1797" y="55"/>
                  </a:lnTo>
                  <a:lnTo>
                    <a:pt x="1808" y="60"/>
                  </a:lnTo>
                  <a:lnTo>
                    <a:pt x="1223" y="540"/>
                  </a:lnTo>
                  <a:lnTo>
                    <a:pt x="1258" y="540"/>
                  </a:lnTo>
                  <a:lnTo>
                    <a:pt x="1287" y="540"/>
                  </a:lnTo>
                  <a:lnTo>
                    <a:pt x="1309" y="540"/>
                  </a:lnTo>
                  <a:lnTo>
                    <a:pt x="1329" y="540"/>
                  </a:lnTo>
                  <a:lnTo>
                    <a:pt x="1328" y="547"/>
                  </a:lnTo>
                  <a:lnTo>
                    <a:pt x="1327" y="553"/>
                  </a:lnTo>
                  <a:lnTo>
                    <a:pt x="1325" y="559"/>
                  </a:lnTo>
                  <a:lnTo>
                    <a:pt x="1323" y="565"/>
                  </a:lnTo>
                  <a:lnTo>
                    <a:pt x="1321" y="571"/>
                  </a:lnTo>
                  <a:lnTo>
                    <a:pt x="1318" y="576"/>
                  </a:lnTo>
                  <a:lnTo>
                    <a:pt x="1316" y="583"/>
                  </a:lnTo>
                  <a:lnTo>
                    <a:pt x="1316" y="589"/>
                  </a:lnTo>
                  <a:lnTo>
                    <a:pt x="1317" y="592"/>
                  </a:lnTo>
                  <a:lnTo>
                    <a:pt x="1320" y="595"/>
                  </a:lnTo>
                  <a:lnTo>
                    <a:pt x="1323" y="599"/>
                  </a:lnTo>
                  <a:lnTo>
                    <a:pt x="1327" y="601"/>
                  </a:lnTo>
                  <a:lnTo>
                    <a:pt x="1336" y="606"/>
                  </a:lnTo>
                  <a:lnTo>
                    <a:pt x="1343" y="608"/>
                  </a:lnTo>
                  <a:lnTo>
                    <a:pt x="1351" y="608"/>
                  </a:lnTo>
                  <a:lnTo>
                    <a:pt x="1358" y="607"/>
                  </a:lnTo>
                  <a:lnTo>
                    <a:pt x="1365" y="605"/>
                  </a:lnTo>
                  <a:lnTo>
                    <a:pt x="1371" y="604"/>
                  </a:lnTo>
                  <a:lnTo>
                    <a:pt x="1382" y="599"/>
                  </a:lnTo>
                  <a:lnTo>
                    <a:pt x="1391" y="592"/>
                  </a:lnTo>
                  <a:lnTo>
                    <a:pt x="1400" y="587"/>
                  </a:lnTo>
                  <a:lnTo>
                    <a:pt x="1409" y="582"/>
                  </a:lnTo>
                  <a:lnTo>
                    <a:pt x="1413" y="580"/>
                  </a:lnTo>
                  <a:lnTo>
                    <a:pt x="1417" y="578"/>
                  </a:lnTo>
                  <a:lnTo>
                    <a:pt x="1423" y="577"/>
                  </a:lnTo>
                  <a:lnTo>
                    <a:pt x="1429" y="577"/>
                  </a:lnTo>
                  <a:lnTo>
                    <a:pt x="1441" y="596"/>
                  </a:lnTo>
                  <a:lnTo>
                    <a:pt x="1457" y="617"/>
                  </a:lnTo>
                  <a:lnTo>
                    <a:pt x="1465" y="629"/>
                  </a:lnTo>
                  <a:lnTo>
                    <a:pt x="1470" y="643"/>
                  </a:lnTo>
                  <a:lnTo>
                    <a:pt x="1472" y="650"/>
                  </a:lnTo>
                  <a:lnTo>
                    <a:pt x="1474" y="659"/>
                  </a:lnTo>
                  <a:lnTo>
                    <a:pt x="1475" y="667"/>
                  </a:lnTo>
                  <a:lnTo>
                    <a:pt x="1475" y="676"/>
                  </a:lnTo>
                  <a:lnTo>
                    <a:pt x="1475" y="681"/>
                  </a:lnTo>
                  <a:lnTo>
                    <a:pt x="1474" y="686"/>
                  </a:lnTo>
                  <a:lnTo>
                    <a:pt x="1473" y="690"/>
                  </a:lnTo>
                  <a:lnTo>
                    <a:pt x="1471" y="694"/>
                  </a:lnTo>
                  <a:lnTo>
                    <a:pt x="1467" y="700"/>
                  </a:lnTo>
                  <a:lnTo>
                    <a:pt x="1462" y="706"/>
                  </a:lnTo>
                  <a:lnTo>
                    <a:pt x="1457" y="713"/>
                  </a:lnTo>
                  <a:lnTo>
                    <a:pt x="1454" y="719"/>
                  </a:lnTo>
                  <a:lnTo>
                    <a:pt x="1451" y="723"/>
                  </a:lnTo>
                  <a:lnTo>
                    <a:pt x="1450" y="727"/>
                  </a:lnTo>
                  <a:lnTo>
                    <a:pt x="1449" y="732"/>
                  </a:lnTo>
                  <a:lnTo>
                    <a:pt x="1449" y="737"/>
                  </a:lnTo>
                  <a:lnTo>
                    <a:pt x="1449" y="742"/>
                  </a:lnTo>
                  <a:lnTo>
                    <a:pt x="1450" y="746"/>
                  </a:lnTo>
                  <a:lnTo>
                    <a:pt x="1452" y="750"/>
                  </a:lnTo>
                  <a:lnTo>
                    <a:pt x="1455" y="754"/>
                  </a:lnTo>
                  <a:lnTo>
                    <a:pt x="1459" y="761"/>
                  </a:lnTo>
                  <a:lnTo>
                    <a:pt x="1466" y="769"/>
                  </a:lnTo>
                  <a:lnTo>
                    <a:pt x="1471" y="775"/>
                  </a:lnTo>
                  <a:lnTo>
                    <a:pt x="1477" y="783"/>
                  </a:lnTo>
                  <a:lnTo>
                    <a:pt x="1479" y="786"/>
                  </a:lnTo>
                  <a:lnTo>
                    <a:pt x="1481" y="790"/>
                  </a:lnTo>
                  <a:lnTo>
                    <a:pt x="1482" y="794"/>
                  </a:lnTo>
                  <a:lnTo>
                    <a:pt x="1482" y="799"/>
                  </a:lnTo>
                  <a:lnTo>
                    <a:pt x="1482" y="802"/>
                  </a:lnTo>
                  <a:lnTo>
                    <a:pt x="1480" y="807"/>
                  </a:lnTo>
                  <a:lnTo>
                    <a:pt x="1477" y="811"/>
                  </a:lnTo>
                  <a:lnTo>
                    <a:pt x="1473" y="816"/>
                  </a:lnTo>
                  <a:lnTo>
                    <a:pt x="1463" y="826"/>
                  </a:lnTo>
                  <a:lnTo>
                    <a:pt x="1452" y="835"/>
                  </a:lnTo>
                  <a:lnTo>
                    <a:pt x="1446" y="839"/>
                  </a:lnTo>
                  <a:lnTo>
                    <a:pt x="1439" y="843"/>
                  </a:lnTo>
                  <a:lnTo>
                    <a:pt x="1433" y="846"/>
                  </a:lnTo>
                  <a:lnTo>
                    <a:pt x="1426" y="848"/>
                  </a:lnTo>
                  <a:lnTo>
                    <a:pt x="1419" y="850"/>
                  </a:lnTo>
                  <a:lnTo>
                    <a:pt x="1414" y="850"/>
                  </a:lnTo>
                  <a:lnTo>
                    <a:pt x="1407" y="850"/>
                  </a:lnTo>
                  <a:lnTo>
                    <a:pt x="1402" y="848"/>
                  </a:lnTo>
                  <a:lnTo>
                    <a:pt x="1410" y="842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39" name="Freeform 6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3255007" y="2781739"/>
              <a:ext cx="1381125" cy="769938"/>
            </a:xfrm>
            <a:custGeom>
              <a:avLst/>
              <a:gdLst>
                <a:gd name="T0" fmla="*/ 2147483647 w 3175"/>
                <a:gd name="T1" fmla="*/ 2147483647 h 1472"/>
                <a:gd name="T2" fmla="*/ 2147483647 w 3175"/>
                <a:gd name="T3" fmla="*/ 2147483647 h 1472"/>
                <a:gd name="T4" fmla="*/ 2147483647 w 3175"/>
                <a:gd name="T5" fmla="*/ 2147483647 h 1472"/>
                <a:gd name="T6" fmla="*/ 2147483647 w 3175"/>
                <a:gd name="T7" fmla="*/ 2147483647 h 1472"/>
                <a:gd name="T8" fmla="*/ 2147483647 w 3175"/>
                <a:gd name="T9" fmla="*/ 2147483647 h 1472"/>
                <a:gd name="T10" fmla="*/ 2147483647 w 3175"/>
                <a:gd name="T11" fmla="*/ 2147483647 h 1472"/>
                <a:gd name="T12" fmla="*/ 2147483647 w 3175"/>
                <a:gd name="T13" fmla="*/ 2147483647 h 1472"/>
                <a:gd name="T14" fmla="*/ 2147483647 w 3175"/>
                <a:gd name="T15" fmla="*/ 2147483647 h 1472"/>
                <a:gd name="T16" fmla="*/ 2147483647 w 3175"/>
                <a:gd name="T17" fmla="*/ 2147483647 h 1472"/>
                <a:gd name="T18" fmla="*/ 2147483647 w 3175"/>
                <a:gd name="T19" fmla="*/ 2147483647 h 1472"/>
                <a:gd name="T20" fmla="*/ 2147483647 w 3175"/>
                <a:gd name="T21" fmla="*/ 2147483647 h 1472"/>
                <a:gd name="T22" fmla="*/ 2147483647 w 3175"/>
                <a:gd name="T23" fmla="*/ 2147483647 h 1472"/>
                <a:gd name="T24" fmla="*/ 2147483647 w 3175"/>
                <a:gd name="T25" fmla="*/ 2147483647 h 1472"/>
                <a:gd name="T26" fmla="*/ 2147483647 w 3175"/>
                <a:gd name="T27" fmla="*/ 2147483647 h 1472"/>
                <a:gd name="T28" fmla="*/ 2147483647 w 3175"/>
                <a:gd name="T29" fmla="*/ 2147483647 h 1472"/>
                <a:gd name="T30" fmla="*/ 2147483647 w 3175"/>
                <a:gd name="T31" fmla="*/ 2147483647 h 1472"/>
                <a:gd name="T32" fmla="*/ 2147483647 w 3175"/>
                <a:gd name="T33" fmla="*/ 2147483647 h 1472"/>
                <a:gd name="T34" fmla="*/ 2147483647 w 3175"/>
                <a:gd name="T35" fmla="*/ 2147483647 h 1472"/>
                <a:gd name="T36" fmla="*/ 2147483647 w 3175"/>
                <a:gd name="T37" fmla="*/ 2147483647 h 1472"/>
                <a:gd name="T38" fmla="*/ 2147483647 w 3175"/>
                <a:gd name="T39" fmla="*/ 2147483647 h 1472"/>
                <a:gd name="T40" fmla="*/ 2147483647 w 3175"/>
                <a:gd name="T41" fmla="*/ 2147483647 h 1472"/>
                <a:gd name="T42" fmla="*/ 2147483647 w 3175"/>
                <a:gd name="T43" fmla="*/ 2147483647 h 1472"/>
                <a:gd name="T44" fmla="*/ 2147483647 w 3175"/>
                <a:gd name="T45" fmla="*/ 2147483647 h 1472"/>
                <a:gd name="T46" fmla="*/ 2147483647 w 3175"/>
                <a:gd name="T47" fmla="*/ 2147483647 h 1472"/>
                <a:gd name="T48" fmla="*/ 2147483647 w 3175"/>
                <a:gd name="T49" fmla="*/ 2147483647 h 1472"/>
                <a:gd name="T50" fmla="*/ 2147483647 w 3175"/>
                <a:gd name="T51" fmla="*/ 2147483647 h 1472"/>
                <a:gd name="T52" fmla="*/ 2147483647 w 3175"/>
                <a:gd name="T53" fmla="*/ 2147483647 h 1472"/>
                <a:gd name="T54" fmla="*/ 2147483647 w 3175"/>
                <a:gd name="T55" fmla="*/ 2147483647 h 1472"/>
                <a:gd name="T56" fmla="*/ 2147483647 w 3175"/>
                <a:gd name="T57" fmla="*/ 2147483647 h 1472"/>
                <a:gd name="T58" fmla="*/ 2147483647 w 3175"/>
                <a:gd name="T59" fmla="*/ 2147483647 h 1472"/>
                <a:gd name="T60" fmla="*/ 2147483647 w 3175"/>
                <a:gd name="T61" fmla="*/ 2147483647 h 1472"/>
                <a:gd name="T62" fmla="*/ 2147483647 w 3175"/>
                <a:gd name="T63" fmla="*/ 2147483647 h 1472"/>
                <a:gd name="T64" fmla="*/ 2147483647 w 3175"/>
                <a:gd name="T65" fmla="*/ 2147483647 h 1472"/>
                <a:gd name="T66" fmla="*/ 2147483647 w 3175"/>
                <a:gd name="T67" fmla="*/ 2147483647 h 1472"/>
                <a:gd name="T68" fmla="*/ 2147483647 w 3175"/>
                <a:gd name="T69" fmla="*/ 2147483647 h 1472"/>
                <a:gd name="T70" fmla="*/ 0 w 3175"/>
                <a:gd name="T71" fmla="*/ 2147483647 h 1472"/>
                <a:gd name="T72" fmla="*/ 2147483647 w 3175"/>
                <a:gd name="T73" fmla="*/ 2147483647 h 1472"/>
                <a:gd name="T74" fmla="*/ 2147483647 w 3175"/>
                <a:gd name="T75" fmla="*/ 2147483647 h 1472"/>
                <a:gd name="T76" fmla="*/ 2147483647 w 3175"/>
                <a:gd name="T77" fmla="*/ 2147483647 h 1472"/>
                <a:gd name="T78" fmla="*/ 2147483647 w 3175"/>
                <a:gd name="T79" fmla="*/ 2147483647 h 1472"/>
                <a:gd name="T80" fmla="*/ 2147483647 w 3175"/>
                <a:gd name="T81" fmla="*/ 0 h 1472"/>
                <a:gd name="T82" fmla="*/ 2147483647 w 3175"/>
                <a:gd name="T83" fmla="*/ 2147483647 h 1472"/>
                <a:gd name="T84" fmla="*/ 2147483647 w 3175"/>
                <a:gd name="T85" fmla="*/ 2147483647 h 1472"/>
                <a:gd name="T86" fmla="*/ 2147483647 w 3175"/>
                <a:gd name="T87" fmla="*/ 2147483647 h 1472"/>
                <a:gd name="T88" fmla="*/ 2147483647 w 3175"/>
                <a:gd name="T89" fmla="*/ 2147483647 h 1472"/>
                <a:gd name="T90" fmla="*/ 2147483647 w 3175"/>
                <a:gd name="T91" fmla="*/ 2147483647 h 1472"/>
                <a:gd name="T92" fmla="*/ 2147483647 w 3175"/>
                <a:gd name="T93" fmla="*/ 2147483647 h 1472"/>
                <a:gd name="T94" fmla="*/ 2147483647 w 3175"/>
                <a:gd name="T95" fmla="*/ 2147483647 h 1472"/>
                <a:gd name="T96" fmla="*/ 2147483647 w 3175"/>
                <a:gd name="T97" fmla="*/ 2147483647 h 1472"/>
                <a:gd name="T98" fmla="*/ 2147483647 w 3175"/>
                <a:gd name="T99" fmla="*/ 2147483647 h 1472"/>
                <a:gd name="T100" fmla="*/ 2147483647 w 3175"/>
                <a:gd name="T101" fmla="*/ 2147483647 h 1472"/>
                <a:gd name="T102" fmla="*/ 2147483647 w 3175"/>
                <a:gd name="T103" fmla="*/ 2147483647 h 1472"/>
                <a:gd name="T104" fmla="*/ 2147483647 w 3175"/>
                <a:gd name="T105" fmla="*/ 2147483647 h 1472"/>
                <a:gd name="T106" fmla="*/ 2147483647 w 3175"/>
                <a:gd name="T107" fmla="*/ 2147483647 h 1472"/>
                <a:gd name="T108" fmla="*/ 2147483647 w 3175"/>
                <a:gd name="T109" fmla="*/ 2147483647 h 1472"/>
                <a:gd name="T110" fmla="*/ 2147483647 w 3175"/>
                <a:gd name="T111" fmla="*/ 2147483647 h 1472"/>
                <a:gd name="T112" fmla="*/ 2147483647 w 3175"/>
                <a:gd name="T113" fmla="*/ 2147483647 h 1472"/>
                <a:gd name="T114" fmla="*/ 2147483647 w 3175"/>
                <a:gd name="T115" fmla="*/ 2147483647 h 1472"/>
                <a:gd name="T116" fmla="*/ 2147483647 w 3175"/>
                <a:gd name="T117" fmla="*/ 2147483647 h 1472"/>
                <a:gd name="T118" fmla="*/ 2147483647 w 3175"/>
                <a:gd name="T119" fmla="*/ 2147483647 h 1472"/>
                <a:gd name="T120" fmla="*/ 2147483647 w 3175"/>
                <a:gd name="T121" fmla="*/ 2147483647 h 1472"/>
                <a:gd name="T122" fmla="*/ 2147483647 w 3175"/>
                <a:gd name="T123" fmla="*/ 2147483647 h 147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3175" h="1472">
                  <a:moveTo>
                    <a:pt x="3155" y="258"/>
                  </a:moveTo>
                  <a:lnTo>
                    <a:pt x="3129" y="270"/>
                  </a:lnTo>
                  <a:lnTo>
                    <a:pt x="3104" y="281"/>
                  </a:lnTo>
                  <a:lnTo>
                    <a:pt x="3079" y="291"/>
                  </a:lnTo>
                  <a:lnTo>
                    <a:pt x="3055" y="300"/>
                  </a:lnTo>
                  <a:lnTo>
                    <a:pt x="3032" y="309"/>
                  </a:lnTo>
                  <a:lnTo>
                    <a:pt x="3008" y="317"/>
                  </a:lnTo>
                  <a:lnTo>
                    <a:pt x="2983" y="326"/>
                  </a:lnTo>
                  <a:lnTo>
                    <a:pt x="2956" y="333"/>
                  </a:lnTo>
                  <a:lnTo>
                    <a:pt x="2948" y="337"/>
                  </a:lnTo>
                  <a:lnTo>
                    <a:pt x="2940" y="341"/>
                  </a:lnTo>
                  <a:lnTo>
                    <a:pt x="2933" y="347"/>
                  </a:lnTo>
                  <a:lnTo>
                    <a:pt x="2928" y="353"/>
                  </a:lnTo>
                  <a:lnTo>
                    <a:pt x="2917" y="366"/>
                  </a:lnTo>
                  <a:lnTo>
                    <a:pt x="2909" y="382"/>
                  </a:lnTo>
                  <a:lnTo>
                    <a:pt x="2900" y="397"/>
                  </a:lnTo>
                  <a:lnTo>
                    <a:pt x="2894" y="410"/>
                  </a:lnTo>
                  <a:lnTo>
                    <a:pt x="2889" y="416"/>
                  </a:lnTo>
                  <a:lnTo>
                    <a:pt x="2885" y="422"/>
                  </a:lnTo>
                  <a:lnTo>
                    <a:pt x="2881" y="427"/>
                  </a:lnTo>
                  <a:lnTo>
                    <a:pt x="2876" y="431"/>
                  </a:lnTo>
                  <a:lnTo>
                    <a:pt x="2876" y="436"/>
                  </a:lnTo>
                  <a:lnTo>
                    <a:pt x="2877" y="440"/>
                  </a:lnTo>
                  <a:lnTo>
                    <a:pt x="2880" y="445"/>
                  </a:lnTo>
                  <a:lnTo>
                    <a:pt x="2883" y="450"/>
                  </a:lnTo>
                  <a:lnTo>
                    <a:pt x="2896" y="440"/>
                  </a:lnTo>
                  <a:lnTo>
                    <a:pt x="2909" y="431"/>
                  </a:lnTo>
                  <a:lnTo>
                    <a:pt x="2910" y="438"/>
                  </a:lnTo>
                  <a:lnTo>
                    <a:pt x="2910" y="443"/>
                  </a:lnTo>
                  <a:lnTo>
                    <a:pt x="2909" y="448"/>
                  </a:lnTo>
                  <a:lnTo>
                    <a:pt x="2907" y="451"/>
                  </a:lnTo>
                  <a:lnTo>
                    <a:pt x="2905" y="455"/>
                  </a:lnTo>
                  <a:lnTo>
                    <a:pt x="2902" y="457"/>
                  </a:lnTo>
                  <a:lnTo>
                    <a:pt x="2898" y="459"/>
                  </a:lnTo>
                  <a:lnTo>
                    <a:pt x="2894" y="460"/>
                  </a:lnTo>
                  <a:lnTo>
                    <a:pt x="2883" y="462"/>
                  </a:lnTo>
                  <a:lnTo>
                    <a:pt x="2871" y="462"/>
                  </a:lnTo>
                  <a:lnTo>
                    <a:pt x="2858" y="462"/>
                  </a:lnTo>
                  <a:lnTo>
                    <a:pt x="2843" y="462"/>
                  </a:lnTo>
                  <a:lnTo>
                    <a:pt x="2820" y="463"/>
                  </a:lnTo>
                  <a:lnTo>
                    <a:pt x="2796" y="466"/>
                  </a:lnTo>
                  <a:lnTo>
                    <a:pt x="2773" y="470"/>
                  </a:lnTo>
                  <a:lnTo>
                    <a:pt x="2750" y="476"/>
                  </a:lnTo>
                  <a:lnTo>
                    <a:pt x="2728" y="483"/>
                  </a:lnTo>
                  <a:lnTo>
                    <a:pt x="2708" y="491"/>
                  </a:lnTo>
                  <a:lnTo>
                    <a:pt x="2691" y="498"/>
                  </a:lnTo>
                  <a:lnTo>
                    <a:pt x="2678" y="505"/>
                  </a:lnTo>
                  <a:lnTo>
                    <a:pt x="2678" y="542"/>
                  </a:lnTo>
                  <a:lnTo>
                    <a:pt x="2675" y="549"/>
                  </a:lnTo>
                  <a:lnTo>
                    <a:pt x="2673" y="555"/>
                  </a:lnTo>
                  <a:lnTo>
                    <a:pt x="2670" y="561"/>
                  </a:lnTo>
                  <a:lnTo>
                    <a:pt x="2667" y="566"/>
                  </a:lnTo>
                  <a:lnTo>
                    <a:pt x="2658" y="575"/>
                  </a:lnTo>
                  <a:lnTo>
                    <a:pt x="2649" y="584"/>
                  </a:lnTo>
                  <a:lnTo>
                    <a:pt x="2639" y="592"/>
                  </a:lnTo>
                  <a:lnTo>
                    <a:pt x="2628" y="602"/>
                  </a:lnTo>
                  <a:lnTo>
                    <a:pt x="2619" y="611"/>
                  </a:lnTo>
                  <a:lnTo>
                    <a:pt x="2611" y="622"/>
                  </a:lnTo>
                  <a:lnTo>
                    <a:pt x="2611" y="613"/>
                  </a:lnTo>
                  <a:lnTo>
                    <a:pt x="2611" y="604"/>
                  </a:lnTo>
                  <a:lnTo>
                    <a:pt x="2606" y="603"/>
                  </a:lnTo>
                  <a:lnTo>
                    <a:pt x="2602" y="600"/>
                  </a:lnTo>
                  <a:lnTo>
                    <a:pt x="2598" y="595"/>
                  </a:lnTo>
                  <a:lnTo>
                    <a:pt x="2596" y="590"/>
                  </a:lnTo>
                  <a:lnTo>
                    <a:pt x="2595" y="585"/>
                  </a:lnTo>
                  <a:lnTo>
                    <a:pt x="2595" y="580"/>
                  </a:lnTo>
                  <a:lnTo>
                    <a:pt x="2595" y="576"/>
                  </a:lnTo>
                  <a:lnTo>
                    <a:pt x="2597" y="573"/>
                  </a:lnTo>
                  <a:lnTo>
                    <a:pt x="2578" y="573"/>
                  </a:lnTo>
                  <a:lnTo>
                    <a:pt x="2575" y="587"/>
                  </a:lnTo>
                  <a:lnTo>
                    <a:pt x="2574" y="600"/>
                  </a:lnTo>
                  <a:lnTo>
                    <a:pt x="2574" y="610"/>
                  </a:lnTo>
                  <a:lnTo>
                    <a:pt x="2574" y="619"/>
                  </a:lnTo>
                  <a:lnTo>
                    <a:pt x="2577" y="633"/>
                  </a:lnTo>
                  <a:lnTo>
                    <a:pt x="2578" y="646"/>
                  </a:lnTo>
                  <a:lnTo>
                    <a:pt x="2577" y="658"/>
                  </a:lnTo>
                  <a:lnTo>
                    <a:pt x="2574" y="668"/>
                  </a:lnTo>
                  <a:lnTo>
                    <a:pt x="2570" y="677"/>
                  </a:lnTo>
                  <a:lnTo>
                    <a:pt x="2564" y="685"/>
                  </a:lnTo>
                  <a:lnTo>
                    <a:pt x="2559" y="693"/>
                  </a:lnTo>
                  <a:lnTo>
                    <a:pt x="2552" y="700"/>
                  </a:lnTo>
                  <a:lnTo>
                    <a:pt x="2545" y="707"/>
                  </a:lnTo>
                  <a:lnTo>
                    <a:pt x="2537" y="715"/>
                  </a:lnTo>
                  <a:lnTo>
                    <a:pt x="2538" y="684"/>
                  </a:lnTo>
                  <a:lnTo>
                    <a:pt x="2538" y="657"/>
                  </a:lnTo>
                  <a:lnTo>
                    <a:pt x="2540" y="630"/>
                  </a:lnTo>
                  <a:lnTo>
                    <a:pt x="2544" y="604"/>
                  </a:lnTo>
                  <a:lnTo>
                    <a:pt x="2535" y="607"/>
                  </a:lnTo>
                  <a:lnTo>
                    <a:pt x="2527" y="611"/>
                  </a:lnTo>
                  <a:lnTo>
                    <a:pt x="2519" y="615"/>
                  </a:lnTo>
                  <a:lnTo>
                    <a:pt x="2514" y="621"/>
                  </a:lnTo>
                  <a:lnTo>
                    <a:pt x="2510" y="628"/>
                  </a:lnTo>
                  <a:lnTo>
                    <a:pt x="2506" y="635"/>
                  </a:lnTo>
                  <a:lnTo>
                    <a:pt x="2505" y="643"/>
                  </a:lnTo>
                  <a:lnTo>
                    <a:pt x="2504" y="653"/>
                  </a:lnTo>
                  <a:lnTo>
                    <a:pt x="2491" y="653"/>
                  </a:lnTo>
                  <a:lnTo>
                    <a:pt x="2478" y="653"/>
                  </a:lnTo>
                  <a:lnTo>
                    <a:pt x="2478" y="658"/>
                  </a:lnTo>
                  <a:lnTo>
                    <a:pt x="2479" y="662"/>
                  </a:lnTo>
                  <a:lnTo>
                    <a:pt x="2480" y="666"/>
                  </a:lnTo>
                  <a:lnTo>
                    <a:pt x="2482" y="670"/>
                  </a:lnTo>
                  <a:lnTo>
                    <a:pt x="2486" y="678"/>
                  </a:lnTo>
                  <a:lnTo>
                    <a:pt x="2493" y="684"/>
                  </a:lnTo>
                  <a:lnTo>
                    <a:pt x="2499" y="690"/>
                  </a:lnTo>
                  <a:lnTo>
                    <a:pt x="2505" y="695"/>
                  </a:lnTo>
                  <a:lnTo>
                    <a:pt x="2512" y="699"/>
                  </a:lnTo>
                  <a:lnTo>
                    <a:pt x="2517" y="702"/>
                  </a:lnTo>
                  <a:lnTo>
                    <a:pt x="2517" y="727"/>
                  </a:lnTo>
                  <a:lnTo>
                    <a:pt x="2496" y="730"/>
                  </a:lnTo>
                  <a:lnTo>
                    <a:pt x="2479" y="730"/>
                  </a:lnTo>
                  <a:lnTo>
                    <a:pt x="2472" y="730"/>
                  </a:lnTo>
                  <a:lnTo>
                    <a:pt x="2466" y="730"/>
                  </a:lnTo>
                  <a:lnTo>
                    <a:pt x="2458" y="731"/>
                  </a:lnTo>
                  <a:lnTo>
                    <a:pt x="2451" y="733"/>
                  </a:lnTo>
                  <a:lnTo>
                    <a:pt x="2455" y="737"/>
                  </a:lnTo>
                  <a:lnTo>
                    <a:pt x="2459" y="741"/>
                  </a:lnTo>
                  <a:lnTo>
                    <a:pt x="2465" y="744"/>
                  </a:lnTo>
                  <a:lnTo>
                    <a:pt x="2471" y="747"/>
                  </a:lnTo>
                  <a:lnTo>
                    <a:pt x="2483" y="750"/>
                  </a:lnTo>
                  <a:lnTo>
                    <a:pt x="2491" y="751"/>
                  </a:lnTo>
                  <a:lnTo>
                    <a:pt x="2492" y="756"/>
                  </a:lnTo>
                  <a:lnTo>
                    <a:pt x="2493" y="760"/>
                  </a:lnTo>
                  <a:lnTo>
                    <a:pt x="2495" y="765"/>
                  </a:lnTo>
                  <a:lnTo>
                    <a:pt x="2499" y="769"/>
                  </a:lnTo>
                  <a:lnTo>
                    <a:pt x="2505" y="777"/>
                  </a:lnTo>
                  <a:lnTo>
                    <a:pt x="2511" y="782"/>
                  </a:lnTo>
                  <a:lnTo>
                    <a:pt x="2500" y="792"/>
                  </a:lnTo>
                  <a:lnTo>
                    <a:pt x="2489" y="802"/>
                  </a:lnTo>
                  <a:lnTo>
                    <a:pt x="2480" y="812"/>
                  </a:lnTo>
                  <a:lnTo>
                    <a:pt x="2471" y="823"/>
                  </a:lnTo>
                  <a:lnTo>
                    <a:pt x="2456" y="841"/>
                  </a:lnTo>
                  <a:lnTo>
                    <a:pt x="2441" y="859"/>
                  </a:lnTo>
                  <a:lnTo>
                    <a:pt x="2434" y="867"/>
                  </a:lnTo>
                  <a:lnTo>
                    <a:pt x="2425" y="876"/>
                  </a:lnTo>
                  <a:lnTo>
                    <a:pt x="2416" y="884"/>
                  </a:lnTo>
                  <a:lnTo>
                    <a:pt x="2406" y="892"/>
                  </a:lnTo>
                  <a:lnTo>
                    <a:pt x="2395" y="899"/>
                  </a:lnTo>
                  <a:lnTo>
                    <a:pt x="2382" y="905"/>
                  </a:lnTo>
                  <a:lnTo>
                    <a:pt x="2368" y="912"/>
                  </a:lnTo>
                  <a:lnTo>
                    <a:pt x="2351" y="917"/>
                  </a:lnTo>
                  <a:lnTo>
                    <a:pt x="2346" y="919"/>
                  </a:lnTo>
                  <a:lnTo>
                    <a:pt x="2339" y="923"/>
                  </a:lnTo>
                  <a:lnTo>
                    <a:pt x="2332" y="928"/>
                  </a:lnTo>
                  <a:lnTo>
                    <a:pt x="2324" y="935"/>
                  </a:lnTo>
                  <a:lnTo>
                    <a:pt x="2307" y="950"/>
                  </a:lnTo>
                  <a:lnTo>
                    <a:pt x="2289" y="967"/>
                  </a:lnTo>
                  <a:lnTo>
                    <a:pt x="2271" y="984"/>
                  </a:lnTo>
                  <a:lnTo>
                    <a:pt x="2255" y="999"/>
                  </a:lnTo>
                  <a:lnTo>
                    <a:pt x="2248" y="1006"/>
                  </a:lnTo>
                  <a:lnTo>
                    <a:pt x="2242" y="1011"/>
                  </a:lnTo>
                  <a:lnTo>
                    <a:pt x="2236" y="1014"/>
                  </a:lnTo>
                  <a:lnTo>
                    <a:pt x="2232" y="1016"/>
                  </a:lnTo>
                  <a:lnTo>
                    <a:pt x="2208" y="1025"/>
                  </a:lnTo>
                  <a:lnTo>
                    <a:pt x="2186" y="1034"/>
                  </a:lnTo>
                  <a:lnTo>
                    <a:pt x="2175" y="1039"/>
                  </a:lnTo>
                  <a:lnTo>
                    <a:pt x="2165" y="1045"/>
                  </a:lnTo>
                  <a:lnTo>
                    <a:pt x="2156" y="1051"/>
                  </a:lnTo>
                  <a:lnTo>
                    <a:pt x="2147" y="1057"/>
                  </a:lnTo>
                  <a:lnTo>
                    <a:pt x="2140" y="1064"/>
                  </a:lnTo>
                  <a:lnTo>
                    <a:pt x="2133" y="1072"/>
                  </a:lnTo>
                  <a:lnTo>
                    <a:pt x="2126" y="1080"/>
                  </a:lnTo>
                  <a:lnTo>
                    <a:pt x="2122" y="1090"/>
                  </a:lnTo>
                  <a:lnTo>
                    <a:pt x="2118" y="1101"/>
                  </a:lnTo>
                  <a:lnTo>
                    <a:pt x="2114" y="1113"/>
                  </a:lnTo>
                  <a:lnTo>
                    <a:pt x="2113" y="1125"/>
                  </a:lnTo>
                  <a:lnTo>
                    <a:pt x="2112" y="1139"/>
                  </a:lnTo>
                  <a:lnTo>
                    <a:pt x="2112" y="1151"/>
                  </a:lnTo>
                  <a:lnTo>
                    <a:pt x="2112" y="1174"/>
                  </a:lnTo>
                  <a:lnTo>
                    <a:pt x="2112" y="1195"/>
                  </a:lnTo>
                  <a:lnTo>
                    <a:pt x="2112" y="1207"/>
                  </a:lnTo>
                  <a:lnTo>
                    <a:pt x="2114" y="1223"/>
                  </a:lnTo>
                  <a:lnTo>
                    <a:pt x="2118" y="1240"/>
                  </a:lnTo>
                  <a:lnTo>
                    <a:pt x="2120" y="1249"/>
                  </a:lnTo>
                  <a:lnTo>
                    <a:pt x="2121" y="1259"/>
                  </a:lnTo>
                  <a:lnTo>
                    <a:pt x="2121" y="1270"/>
                  </a:lnTo>
                  <a:lnTo>
                    <a:pt x="2119" y="1281"/>
                  </a:lnTo>
                  <a:lnTo>
                    <a:pt x="2132" y="1343"/>
                  </a:lnTo>
                  <a:lnTo>
                    <a:pt x="2126" y="1379"/>
                  </a:lnTo>
                  <a:lnTo>
                    <a:pt x="2118" y="1417"/>
                  </a:lnTo>
                  <a:lnTo>
                    <a:pt x="2112" y="1435"/>
                  </a:lnTo>
                  <a:lnTo>
                    <a:pt x="2105" y="1450"/>
                  </a:lnTo>
                  <a:lnTo>
                    <a:pt x="2103" y="1457"/>
                  </a:lnTo>
                  <a:lnTo>
                    <a:pt x="2100" y="1463"/>
                  </a:lnTo>
                  <a:lnTo>
                    <a:pt x="2096" y="1468"/>
                  </a:lnTo>
                  <a:lnTo>
                    <a:pt x="2092" y="1472"/>
                  </a:lnTo>
                  <a:lnTo>
                    <a:pt x="2059" y="1472"/>
                  </a:lnTo>
                  <a:lnTo>
                    <a:pt x="2058" y="1464"/>
                  </a:lnTo>
                  <a:lnTo>
                    <a:pt x="2057" y="1456"/>
                  </a:lnTo>
                  <a:lnTo>
                    <a:pt x="2055" y="1450"/>
                  </a:lnTo>
                  <a:lnTo>
                    <a:pt x="2053" y="1445"/>
                  </a:lnTo>
                  <a:lnTo>
                    <a:pt x="2047" y="1437"/>
                  </a:lnTo>
                  <a:lnTo>
                    <a:pt x="2040" y="1430"/>
                  </a:lnTo>
                  <a:lnTo>
                    <a:pt x="2033" y="1425"/>
                  </a:lnTo>
                  <a:lnTo>
                    <a:pt x="2029" y="1418"/>
                  </a:lnTo>
                  <a:lnTo>
                    <a:pt x="2026" y="1414"/>
                  </a:lnTo>
                  <a:lnTo>
                    <a:pt x="2025" y="1410"/>
                  </a:lnTo>
                  <a:lnTo>
                    <a:pt x="2025" y="1405"/>
                  </a:lnTo>
                  <a:lnTo>
                    <a:pt x="2026" y="1398"/>
                  </a:lnTo>
                  <a:lnTo>
                    <a:pt x="2026" y="1373"/>
                  </a:lnTo>
                  <a:lnTo>
                    <a:pt x="2022" y="1373"/>
                  </a:lnTo>
                  <a:lnTo>
                    <a:pt x="2019" y="1372"/>
                  </a:lnTo>
                  <a:lnTo>
                    <a:pt x="2015" y="1370"/>
                  </a:lnTo>
                  <a:lnTo>
                    <a:pt x="2012" y="1367"/>
                  </a:lnTo>
                  <a:lnTo>
                    <a:pt x="2007" y="1361"/>
                  </a:lnTo>
                  <a:lnTo>
                    <a:pt x="2002" y="1353"/>
                  </a:lnTo>
                  <a:lnTo>
                    <a:pt x="1998" y="1344"/>
                  </a:lnTo>
                  <a:lnTo>
                    <a:pt x="1995" y="1335"/>
                  </a:lnTo>
                  <a:lnTo>
                    <a:pt x="1993" y="1326"/>
                  </a:lnTo>
                  <a:lnTo>
                    <a:pt x="1992" y="1318"/>
                  </a:lnTo>
                  <a:lnTo>
                    <a:pt x="1992" y="1298"/>
                  </a:lnTo>
                  <a:lnTo>
                    <a:pt x="1992" y="1281"/>
                  </a:lnTo>
                  <a:lnTo>
                    <a:pt x="1992" y="1265"/>
                  </a:lnTo>
                  <a:lnTo>
                    <a:pt x="1992" y="1244"/>
                  </a:lnTo>
                  <a:lnTo>
                    <a:pt x="1991" y="1234"/>
                  </a:lnTo>
                  <a:lnTo>
                    <a:pt x="1989" y="1224"/>
                  </a:lnTo>
                  <a:lnTo>
                    <a:pt x="1985" y="1212"/>
                  </a:lnTo>
                  <a:lnTo>
                    <a:pt x="1978" y="1201"/>
                  </a:lnTo>
                  <a:lnTo>
                    <a:pt x="1974" y="1196"/>
                  </a:lnTo>
                  <a:lnTo>
                    <a:pt x="1969" y="1191"/>
                  </a:lnTo>
                  <a:lnTo>
                    <a:pt x="1964" y="1187"/>
                  </a:lnTo>
                  <a:lnTo>
                    <a:pt x="1959" y="1184"/>
                  </a:lnTo>
                  <a:lnTo>
                    <a:pt x="1953" y="1181"/>
                  </a:lnTo>
                  <a:lnTo>
                    <a:pt x="1947" y="1178"/>
                  </a:lnTo>
                  <a:lnTo>
                    <a:pt x="1940" y="1177"/>
                  </a:lnTo>
                  <a:lnTo>
                    <a:pt x="1933" y="1177"/>
                  </a:lnTo>
                  <a:lnTo>
                    <a:pt x="1918" y="1177"/>
                  </a:lnTo>
                  <a:lnTo>
                    <a:pt x="1906" y="1177"/>
                  </a:lnTo>
                  <a:lnTo>
                    <a:pt x="1897" y="1177"/>
                  </a:lnTo>
                  <a:lnTo>
                    <a:pt x="1894" y="1177"/>
                  </a:lnTo>
                  <a:lnTo>
                    <a:pt x="1880" y="1176"/>
                  </a:lnTo>
                  <a:lnTo>
                    <a:pt x="1869" y="1175"/>
                  </a:lnTo>
                  <a:lnTo>
                    <a:pt x="1857" y="1173"/>
                  </a:lnTo>
                  <a:lnTo>
                    <a:pt x="1845" y="1171"/>
                  </a:lnTo>
                  <a:lnTo>
                    <a:pt x="1832" y="1168"/>
                  </a:lnTo>
                  <a:lnTo>
                    <a:pt x="1818" y="1166"/>
                  </a:lnTo>
                  <a:lnTo>
                    <a:pt x="1804" y="1165"/>
                  </a:lnTo>
                  <a:lnTo>
                    <a:pt x="1787" y="1164"/>
                  </a:lnTo>
                  <a:lnTo>
                    <a:pt x="1773" y="1164"/>
                  </a:lnTo>
                  <a:lnTo>
                    <a:pt x="1762" y="1162"/>
                  </a:lnTo>
                  <a:lnTo>
                    <a:pt x="1753" y="1159"/>
                  </a:lnTo>
                  <a:lnTo>
                    <a:pt x="1745" y="1155"/>
                  </a:lnTo>
                  <a:lnTo>
                    <a:pt x="1738" y="1151"/>
                  </a:lnTo>
                  <a:lnTo>
                    <a:pt x="1731" y="1148"/>
                  </a:lnTo>
                  <a:lnTo>
                    <a:pt x="1722" y="1146"/>
                  </a:lnTo>
                  <a:lnTo>
                    <a:pt x="1713" y="1145"/>
                  </a:lnTo>
                  <a:lnTo>
                    <a:pt x="1688" y="1144"/>
                  </a:lnTo>
                  <a:lnTo>
                    <a:pt x="1653" y="1143"/>
                  </a:lnTo>
                  <a:lnTo>
                    <a:pt x="1644" y="1144"/>
                  </a:lnTo>
                  <a:lnTo>
                    <a:pt x="1636" y="1144"/>
                  </a:lnTo>
                  <a:lnTo>
                    <a:pt x="1628" y="1146"/>
                  </a:lnTo>
                  <a:lnTo>
                    <a:pt x="1621" y="1148"/>
                  </a:lnTo>
                  <a:lnTo>
                    <a:pt x="1616" y="1151"/>
                  </a:lnTo>
                  <a:lnTo>
                    <a:pt x="1611" y="1155"/>
                  </a:lnTo>
                  <a:lnTo>
                    <a:pt x="1608" y="1159"/>
                  </a:lnTo>
                  <a:lnTo>
                    <a:pt x="1607" y="1164"/>
                  </a:lnTo>
                  <a:lnTo>
                    <a:pt x="1608" y="1169"/>
                  </a:lnTo>
                  <a:lnTo>
                    <a:pt x="1608" y="1173"/>
                  </a:lnTo>
                  <a:lnTo>
                    <a:pt x="1610" y="1176"/>
                  </a:lnTo>
                  <a:lnTo>
                    <a:pt x="1611" y="1180"/>
                  </a:lnTo>
                  <a:lnTo>
                    <a:pt x="1616" y="1186"/>
                  </a:lnTo>
                  <a:lnTo>
                    <a:pt x="1621" y="1192"/>
                  </a:lnTo>
                  <a:lnTo>
                    <a:pt x="1627" y="1197"/>
                  </a:lnTo>
                  <a:lnTo>
                    <a:pt x="1632" y="1204"/>
                  </a:lnTo>
                  <a:lnTo>
                    <a:pt x="1638" y="1212"/>
                  </a:lnTo>
                  <a:lnTo>
                    <a:pt x="1641" y="1220"/>
                  </a:lnTo>
                  <a:lnTo>
                    <a:pt x="1628" y="1221"/>
                  </a:lnTo>
                  <a:lnTo>
                    <a:pt x="1615" y="1223"/>
                  </a:lnTo>
                  <a:lnTo>
                    <a:pt x="1601" y="1226"/>
                  </a:lnTo>
                  <a:lnTo>
                    <a:pt x="1589" y="1229"/>
                  </a:lnTo>
                  <a:lnTo>
                    <a:pt x="1577" y="1232"/>
                  </a:lnTo>
                  <a:lnTo>
                    <a:pt x="1565" y="1235"/>
                  </a:lnTo>
                  <a:lnTo>
                    <a:pt x="1555" y="1237"/>
                  </a:lnTo>
                  <a:lnTo>
                    <a:pt x="1548" y="1238"/>
                  </a:lnTo>
                  <a:lnTo>
                    <a:pt x="1544" y="1237"/>
                  </a:lnTo>
                  <a:lnTo>
                    <a:pt x="1539" y="1233"/>
                  </a:lnTo>
                  <a:lnTo>
                    <a:pt x="1533" y="1228"/>
                  </a:lnTo>
                  <a:lnTo>
                    <a:pt x="1528" y="1222"/>
                  </a:lnTo>
                  <a:lnTo>
                    <a:pt x="1516" y="1210"/>
                  </a:lnTo>
                  <a:lnTo>
                    <a:pt x="1508" y="1201"/>
                  </a:lnTo>
                  <a:lnTo>
                    <a:pt x="1474" y="1214"/>
                  </a:lnTo>
                  <a:lnTo>
                    <a:pt x="1468" y="1213"/>
                  </a:lnTo>
                  <a:lnTo>
                    <a:pt x="1461" y="1210"/>
                  </a:lnTo>
                  <a:lnTo>
                    <a:pt x="1454" y="1205"/>
                  </a:lnTo>
                  <a:lnTo>
                    <a:pt x="1448" y="1201"/>
                  </a:lnTo>
                  <a:lnTo>
                    <a:pt x="1441" y="1196"/>
                  </a:lnTo>
                  <a:lnTo>
                    <a:pt x="1436" y="1192"/>
                  </a:lnTo>
                  <a:lnTo>
                    <a:pt x="1428" y="1190"/>
                  </a:lnTo>
                  <a:lnTo>
                    <a:pt x="1421" y="1189"/>
                  </a:lnTo>
                  <a:lnTo>
                    <a:pt x="1406" y="1190"/>
                  </a:lnTo>
                  <a:lnTo>
                    <a:pt x="1390" y="1192"/>
                  </a:lnTo>
                  <a:lnTo>
                    <a:pt x="1372" y="1197"/>
                  </a:lnTo>
                  <a:lnTo>
                    <a:pt x="1354" y="1203"/>
                  </a:lnTo>
                  <a:lnTo>
                    <a:pt x="1337" y="1211"/>
                  </a:lnTo>
                  <a:lnTo>
                    <a:pt x="1318" y="1219"/>
                  </a:lnTo>
                  <a:lnTo>
                    <a:pt x="1301" y="1228"/>
                  </a:lnTo>
                  <a:lnTo>
                    <a:pt x="1283" y="1238"/>
                  </a:lnTo>
                  <a:lnTo>
                    <a:pt x="1265" y="1249"/>
                  </a:lnTo>
                  <a:lnTo>
                    <a:pt x="1248" y="1259"/>
                  </a:lnTo>
                  <a:lnTo>
                    <a:pt x="1231" y="1272"/>
                  </a:lnTo>
                  <a:lnTo>
                    <a:pt x="1217" y="1283"/>
                  </a:lnTo>
                  <a:lnTo>
                    <a:pt x="1203" y="1294"/>
                  </a:lnTo>
                  <a:lnTo>
                    <a:pt x="1190" y="1304"/>
                  </a:lnTo>
                  <a:lnTo>
                    <a:pt x="1179" y="1314"/>
                  </a:lnTo>
                  <a:lnTo>
                    <a:pt x="1169" y="1325"/>
                  </a:lnTo>
                  <a:lnTo>
                    <a:pt x="1166" y="1328"/>
                  </a:lnTo>
                  <a:lnTo>
                    <a:pt x="1163" y="1333"/>
                  </a:lnTo>
                  <a:lnTo>
                    <a:pt x="1162" y="1337"/>
                  </a:lnTo>
                  <a:lnTo>
                    <a:pt x="1161" y="1342"/>
                  </a:lnTo>
                  <a:lnTo>
                    <a:pt x="1161" y="1354"/>
                  </a:lnTo>
                  <a:lnTo>
                    <a:pt x="1161" y="1366"/>
                  </a:lnTo>
                  <a:lnTo>
                    <a:pt x="1161" y="1379"/>
                  </a:lnTo>
                  <a:lnTo>
                    <a:pt x="1160" y="1392"/>
                  </a:lnTo>
                  <a:lnTo>
                    <a:pt x="1159" y="1399"/>
                  </a:lnTo>
                  <a:lnTo>
                    <a:pt x="1157" y="1405"/>
                  </a:lnTo>
                  <a:lnTo>
                    <a:pt x="1153" y="1411"/>
                  </a:lnTo>
                  <a:lnTo>
                    <a:pt x="1149" y="1417"/>
                  </a:lnTo>
                  <a:lnTo>
                    <a:pt x="1143" y="1416"/>
                  </a:lnTo>
                  <a:lnTo>
                    <a:pt x="1136" y="1415"/>
                  </a:lnTo>
                  <a:lnTo>
                    <a:pt x="1129" y="1414"/>
                  </a:lnTo>
                  <a:lnTo>
                    <a:pt x="1124" y="1412"/>
                  </a:lnTo>
                  <a:lnTo>
                    <a:pt x="1111" y="1408"/>
                  </a:lnTo>
                  <a:lnTo>
                    <a:pt x="1100" y="1401"/>
                  </a:lnTo>
                  <a:lnTo>
                    <a:pt x="1090" y="1394"/>
                  </a:lnTo>
                  <a:lnTo>
                    <a:pt x="1082" y="1386"/>
                  </a:lnTo>
                  <a:lnTo>
                    <a:pt x="1080" y="1382"/>
                  </a:lnTo>
                  <a:lnTo>
                    <a:pt x="1078" y="1377"/>
                  </a:lnTo>
                  <a:lnTo>
                    <a:pt x="1077" y="1372"/>
                  </a:lnTo>
                  <a:lnTo>
                    <a:pt x="1076" y="1367"/>
                  </a:lnTo>
                  <a:lnTo>
                    <a:pt x="1076" y="1356"/>
                  </a:lnTo>
                  <a:lnTo>
                    <a:pt x="1074" y="1344"/>
                  </a:lnTo>
                  <a:lnTo>
                    <a:pt x="1072" y="1330"/>
                  </a:lnTo>
                  <a:lnTo>
                    <a:pt x="1070" y="1315"/>
                  </a:lnTo>
                  <a:lnTo>
                    <a:pt x="1066" y="1300"/>
                  </a:lnTo>
                  <a:lnTo>
                    <a:pt x="1061" y="1285"/>
                  </a:lnTo>
                  <a:lnTo>
                    <a:pt x="1057" y="1270"/>
                  </a:lnTo>
                  <a:lnTo>
                    <a:pt x="1051" y="1254"/>
                  </a:lnTo>
                  <a:lnTo>
                    <a:pt x="1044" y="1240"/>
                  </a:lnTo>
                  <a:lnTo>
                    <a:pt x="1037" y="1227"/>
                  </a:lnTo>
                  <a:lnTo>
                    <a:pt x="1028" y="1215"/>
                  </a:lnTo>
                  <a:lnTo>
                    <a:pt x="1020" y="1203"/>
                  </a:lnTo>
                  <a:lnTo>
                    <a:pt x="1015" y="1199"/>
                  </a:lnTo>
                  <a:lnTo>
                    <a:pt x="1010" y="1195"/>
                  </a:lnTo>
                  <a:lnTo>
                    <a:pt x="1005" y="1191"/>
                  </a:lnTo>
                  <a:lnTo>
                    <a:pt x="1000" y="1188"/>
                  </a:lnTo>
                  <a:lnTo>
                    <a:pt x="994" y="1186"/>
                  </a:lnTo>
                  <a:lnTo>
                    <a:pt x="988" y="1184"/>
                  </a:lnTo>
                  <a:lnTo>
                    <a:pt x="982" y="1183"/>
                  </a:lnTo>
                  <a:lnTo>
                    <a:pt x="977" y="1183"/>
                  </a:lnTo>
                  <a:lnTo>
                    <a:pt x="964" y="1183"/>
                  </a:lnTo>
                  <a:lnTo>
                    <a:pt x="951" y="1186"/>
                  </a:lnTo>
                  <a:lnTo>
                    <a:pt x="940" y="1190"/>
                  </a:lnTo>
                  <a:lnTo>
                    <a:pt x="931" y="1195"/>
                  </a:lnTo>
                  <a:lnTo>
                    <a:pt x="926" y="1199"/>
                  </a:lnTo>
                  <a:lnTo>
                    <a:pt x="922" y="1202"/>
                  </a:lnTo>
                  <a:lnTo>
                    <a:pt x="919" y="1206"/>
                  </a:lnTo>
                  <a:lnTo>
                    <a:pt x="915" y="1212"/>
                  </a:lnTo>
                  <a:lnTo>
                    <a:pt x="913" y="1216"/>
                  </a:lnTo>
                  <a:lnTo>
                    <a:pt x="911" y="1221"/>
                  </a:lnTo>
                  <a:lnTo>
                    <a:pt x="910" y="1227"/>
                  </a:lnTo>
                  <a:lnTo>
                    <a:pt x="910" y="1232"/>
                  </a:lnTo>
                  <a:lnTo>
                    <a:pt x="883" y="1232"/>
                  </a:lnTo>
                  <a:lnTo>
                    <a:pt x="878" y="1229"/>
                  </a:lnTo>
                  <a:lnTo>
                    <a:pt x="872" y="1225"/>
                  </a:lnTo>
                  <a:lnTo>
                    <a:pt x="867" y="1219"/>
                  </a:lnTo>
                  <a:lnTo>
                    <a:pt x="861" y="1212"/>
                  </a:lnTo>
                  <a:lnTo>
                    <a:pt x="850" y="1196"/>
                  </a:lnTo>
                  <a:lnTo>
                    <a:pt x="839" y="1179"/>
                  </a:lnTo>
                  <a:lnTo>
                    <a:pt x="830" y="1161"/>
                  </a:lnTo>
                  <a:lnTo>
                    <a:pt x="821" y="1144"/>
                  </a:lnTo>
                  <a:lnTo>
                    <a:pt x="814" y="1131"/>
                  </a:lnTo>
                  <a:lnTo>
                    <a:pt x="810" y="1121"/>
                  </a:lnTo>
                  <a:lnTo>
                    <a:pt x="805" y="1120"/>
                  </a:lnTo>
                  <a:lnTo>
                    <a:pt x="801" y="1118"/>
                  </a:lnTo>
                  <a:lnTo>
                    <a:pt x="798" y="1115"/>
                  </a:lnTo>
                  <a:lnTo>
                    <a:pt x="794" y="1111"/>
                  </a:lnTo>
                  <a:lnTo>
                    <a:pt x="789" y="1100"/>
                  </a:lnTo>
                  <a:lnTo>
                    <a:pt x="782" y="1087"/>
                  </a:lnTo>
                  <a:lnTo>
                    <a:pt x="779" y="1081"/>
                  </a:lnTo>
                  <a:lnTo>
                    <a:pt x="775" y="1075"/>
                  </a:lnTo>
                  <a:lnTo>
                    <a:pt x="770" y="1069"/>
                  </a:lnTo>
                  <a:lnTo>
                    <a:pt x="765" y="1064"/>
                  </a:lnTo>
                  <a:lnTo>
                    <a:pt x="757" y="1060"/>
                  </a:lnTo>
                  <a:lnTo>
                    <a:pt x="749" y="1056"/>
                  </a:lnTo>
                  <a:lnTo>
                    <a:pt x="741" y="1054"/>
                  </a:lnTo>
                  <a:lnTo>
                    <a:pt x="731" y="1054"/>
                  </a:lnTo>
                  <a:lnTo>
                    <a:pt x="718" y="1054"/>
                  </a:lnTo>
                  <a:lnTo>
                    <a:pt x="706" y="1055"/>
                  </a:lnTo>
                  <a:lnTo>
                    <a:pt x="696" y="1057"/>
                  </a:lnTo>
                  <a:lnTo>
                    <a:pt x="687" y="1059"/>
                  </a:lnTo>
                  <a:lnTo>
                    <a:pt x="670" y="1065"/>
                  </a:lnTo>
                  <a:lnTo>
                    <a:pt x="656" y="1072"/>
                  </a:lnTo>
                  <a:lnTo>
                    <a:pt x="642" y="1078"/>
                  </a:lnTo>
                  <a:lnTo>
                    <a:pt x="624" y="1084"/>
                  </a:lnTo>
                  <a:lnTo>
                    <a:pt x="615" y="1087"/>
                  </a:lnTo>
                  <a:lnTo>
                    <a:pt x="604" y="1088"/>
                  </a:lnTo>
                  <a:lnTo>
                    <a:pt x="591" y="1089"/>
                  </a:lnTo>
                  <a:lnTo>
                    <a:pt x="577" y="1090"/>
                  </a:lnTo>
                  <a:lnTo>
                    <a:pt x="555" y="1089"/>
                  </a:lnTo>
                  <a:lnTo>
                    <a:pt x="533" y="1086"/>
                  </a:lnTo>
                  <a:lnTo>
                    <a:pt x="514" y="1083"/>
                  </a:lnTo>
                  <a:lnTo>
                    <a:pt x="496" y="1078"/>
                  </a:lnTo>
                  <a:lnTo>
                    <a:pt x="478" y="1072"/>
                  </a:lnTo>
                  <a:lnTo>
                    <a:pt x="462" y="1065"/>
                  </a:lnTo>
                  <a:lnTo>
                    <a:pt x="445" y="1058"/>
                  </a:lnTo>
                  <a:lnTo>
                    <a:pt x="430" y="1051"/>
                  </a:lnTo>
                  <a:lnTo>
                    <a:pt x="415" y="1043"/>
                  </a:lnTo>
                  <a:lnTo>
                    <a:pt x="398" y="1035"/>
                  </a:lnTo>
                  <a:lnTo>
                    <a:pt x="383" y="1028"/>
                  </a:lnTo>
                  <a:lnTo>
                    <a:pt x="366" y="1023"/>
                  </a:lnTo>
                  <a:lnTo>
                    <a:pt x="350" y="1017"/>
                  </a:lnTo>
                  <a:lnTo>
                    <a:pt x="331" y="1014"/>
                  </a:lnTo>
                  <a:lnTo>
                    <a:pt x="312" y="1011"/>
                  </a:lnTo>
                  <a:lnTo>
                    <a:pt x="292" y="1010"/>
                  </a:lnTo>
                  <a:lnTo>
                    <a:pt x="263" y="1012"/>
                  </a:lnTo>
                  <a:lnTo>
                    <a:pt x="234" y="1015"/>
                  </a:lnTo>
                  <a:lnTo>
                    <a:pt x="220" y="1016"/>
                  </a:lnTo>
                  <a:lnTo>
                    <a:pt x="205" y="1015"/>
                  </a:lnTo>
                  <a:lnTo>
                    <a:pt x="189" y="1014"/>
                  </a:lnTo>
                  <a:lnTo>
                    <a:pt x="172" y="1010"/>
                  </a:lnTo>
                  <a:lnTo>
                    <a:pt x="173" y="998"/>
                  </a:lnTo>
                  <a:lnTo>
                    <a:pt x="175" y="988"/>
                  </a:lnTo>
                  <a:lnTo>
                    <a:pt x="175" y="982"/>
                  </a:lnTo>
                  <a:lnTo>
                    <a:pt x="175" y="979"/>
                  </a:lnTo>
                  <a:lnTo>
                    <a:pt x="174" y="975"/>
                  </a:lnTo>
                  <a:lnTo>
                    <a:pt x="172" y="973"/>
                  </a:lnTo>
                  <a:lnTo>
                    <a:pt x="141" y="952"/>
                  </a:lnTo>
                  <a:lnTo>
                    <a:pt x="107" y="931"/>
                  </a:lnTo>
                  <a:lnTo>
                    <a:pt x="97" y="925"/>
                  </a:lnTo>
                  <a:lnTo>
                    <a:pt x="88" y="920"/>
                  </a:lnTo>
                  <a:lnTo>
                    <a:pt x="79" y="916"/>
                  </a:lnTo>
                  <a:lnTo>
                    <a:pt x="69" y="912"/>
                  </a:lnTo>
                  <a:lnTo>
                    <a:pt x="59" y="909"/>
                  </a:lnTo>
                  <a:lnTo>
                    <a:pt x="48" y="907"/>
                  </a:lnTo>
                  <a:lnTo>
                    <a:pt x="37" y="906"/>
                  </a:lnTo>
                  <a:lnTo>
                    <a:pt x="26" y="905"/>
                  </a:lnTo>
                  <a:lnTo>
                    <a:pt x="27" y="899"/>
                  </a:lnTo>
                  <a:lnTo>
                    <a:pt x="28" y="893"/>
                  </a:lnTo>
                  <a:lnTo>
                    <a:pt x="30" y="888"/>
                  </a:lnTo>
                  <a:lnTo>
                    <a:pt x="32" y="883"/>
                  </a:lnTo>
                  <a:lnTo>
                    <a:pt x="37" y="874"/>
                  </a:lnTo>
                  <a:lnTo>
                    <a:pt x="39" y="868"/>
                  </a:lnTo>
                  <a:lnTo>
                    <a:pt x="39" y="848"/>
                  </a:lnTo>
                  <a:lnTo>
                    <a:pt x="36" y="826"/>
                  </a:lnTo>
                  <a:lnTo>
                    <a:pt x="32" y="801"/>
                  </a:lnTo>
                  <a:lnTo>
                    <a:pt x="29" y="777"/>
                  </a:lnTo>
                  <a:lnTo>
                    <a:pt x="24" y="752"/>
                  </a:lnTo>
                  <a:lnTo>
                    <a:pt x="19" y="729"/>
                  </a:lnTo>
                  <a:lnTo>
                    <a:pt x="16" y="707"/>
                  </a:lnTo>
                  <a:lnTo>
                    <a:pt x="13" y="690"/>
                  </a:lnTo>
                  <a:lnTo>
                    <a:pt x="17" y="687"/>
                  </a:lnTo>
                  <a:lnTo>
                    <a:pt x="25" y="680"/>
                  </a:lnTo>
                  <a:lnTo>
                    <a:pt x="28" y="675"/>
                  </a:lnTo>
                  <a:lnTo>
                    <a:pt x="29" y="669"/>
                  </a:lnTo>
                  <a:lnTo>
                    <a:pt x="30" y="666"/>
                  </a:lnTo>
                  <a:lnTo>
                    <a:pt x="29" y="662"/>
                  </a:lnTo>
                  <a:lnTo>
                    <a:pt x="28" y="658"/>
                  </a:lnTo>
                  <a:lnTo>
                    <a:pt x="26" y="653"/>
                  </a:lnTo>
                  <a:lnTo>
                    <a:pt x="21" y="658"/>
                  </a:lnTo>
                  <a:lnTo>
                    <a:pt x="16" y="663"/>
                  </a:lnTo>
                  <a:lnTo>
                    <a:pt x="12" y="669"/>
                  </a:lnTo>
                  <a:lnTo>
                    <a:pt x="6" y="677"/>
                  </a:lnTo>
                  <a:lnTo>
                    <a:pt x="4" y="672"/>
                  </a:lnTo>
                  <a:lnTo>
                    <a:pt x="3" y="667"/>
                  </a:lnTo>
                  <a:lnTo>
                    <a:pt x="2" y="660"/>
                  </a:lnTo>
                  <a:lnTo>
                    <a:pt x="1" y="653"/>
                  </a:lnTo>
                  <a:lnTo>
                    <a:pt x="0" y="639"/>
                  </a:lnTo>
                  <a:lnTo>
                    <a:pt x="0" y="628"/>
                  </a:lnTo>
                  <a:lnTo>
                    <a:pt x="0" y="604"/>
                  </a:lnTo>
                  <a:lnTo>
                    <a:pt x="2" y="581"/>
                  </a:lnTo>
                  <a:lnTo>
                    <a:pt x="3" y="570"/>
                  </a:lnTo>
                  <a:lnTo>
                    <a:pt x="5" y="558"/>
                  </a:lnTo>
                  <a:lnTo>
                    <a:pt x="8" y="545"/>
                  </a:lnTo>
                  <a:lnTo>
                    <a:pt x="13" y="529"/>
                  </a:lnTo>
                  <a:lnTo>
                    <a:pt x="26" y="514"/>
                  </a:lnTo>
                  <a:lnTo>
                    <a:pt x="38" y="499"/>
                  </a:lnTo>
                  <a:lnTo>
                    <a:pt x="50" y="482"/>
                  </a:lnTo>
                  <a:lnTo>
                    <a:pt x="61" y="467"/>
                  </a:lnTo>
                  <a:lnTo>
                    <a:pt x="81" y="434"/>
                  </a:lnTo>
                  <a:lnTo>
                    <a:pt x="101" y="401"/>
                  </a:lnTo>
                  <a:lnTo>
                    <a:pt x="119" y="368"/>
                  </a:lnTo>
                  <a:lnTo>
                    <a:pt x="141" y="336"/>
                  </a:lnTo>
                  <a:lnTo>
                    <a:pt x="152" y="321"/>
                  </a:lnTo>
                  <a:lnTo>
                    <a:pt x="164" y="305"/>
                  </a:lnTo>
                  <a:lnTo>
                    <a:pt x="177" y="291"/>
                  </a:lnTo>
                  <a:lnTo>
                    <a:pt x="193" y="277"/>
                  </a:lnTo>
                  <a:lnTo>
                    <a:pt x="198" y="271"/>
                  </a:lnTo>
                  <a:lnTo>
                    <a:pt x="204" y="265"/>
                  </a:lnTo>
                  <a:lnTo>
                    <a:pt x="208" y="257"/>
                  </a:lnTo>
                  <a:lnTo>
                    <a:pt x="213" y="250"/>
                  </a:lnTo>
                  <a:lnTo>
                    <a:pt x="219" y="234"/>
                  </a:lnTo>
                  <a:lnTo>
                    <a:pt x="227" y="218"/>
                  </a:lnTo>
                  <a:lnTo>
                    <a:pt x="233" y="200"/>
                  </a:lnTo>
                  <a:lnTo>
                    <a:pt x="242" y="184"/>
                  </a:lnTo>
                  <a:lnTo>
                    <a:pt x="247" y="176"/>
                  </a:lnTo>
                  <a:lnTo>
                    <a:pt x="252" y="169"/>
                  </a:lnTo>
                  <a:lnTo>
                    <a:pt x="259" y="161"/>
                  </a:lnTo>
                  <a:lnTo>
                    <a:pt x="265" y="154"/>
                  </a:lnTo>
                  <a:lnTo>
                    <a:pt x="266" y="131"/>
                  </a:lnTo>
                  <a:lnTo>
                    <a:pt x="270" y="109"/>
                  </a:lnTo>
                  <a:lnTo>
                    <a:pt x="274" y="89"/>
                  </a:lnTo>
                  <a:lnTo>
                    <a:pt x="278" y="73"/>
                  </a:lnTo>
                  <a:lnTo>
                    <a:pt x="299" y="74"/>
                  </a:lnTo>
                  <a:lnTo>
                    <a:pt x="326" y="77"/>
                  </a:lnTo>
                  <a:lnTo>
                    <a:pt x="349" y="79"/>
                  </a:lnTo>
                  <a:lnTo>
                    <a:pt x="359" y="80"/>
                  </a:lnTo>
                  <a:lnTo>
                    <a:pt x="357" y="91"/>
                  </a:lnTo>
                  <a:lnTo>
                    <a:pt x="355" y="102"/>
                  </a:lnTo>
                  <a:lnTo>
                    <a:pt x="352" y="112"/>
                  </a:lnTo>
                  <a:lnTo>
                    <a:pt x="349" y="121"/>
                  </a:lnTo>
                  <a:lnTo>
                    <a:pt x="344" y="130"/>
                  </a:lnTo>
                  <a:lnTo>
                    <a:pt x="341" y="138"/>
                  </a:lnTo>
                  <a:lnTo>
                    <a:pt x="339" y="146"/>
                  </a:lnTo>
                  <a:lnTo>
                    <a:pt x="339" y="154"/>
                  </a:lnTo>
                  <a:lnTo>
                    <a:pt x="343" y="153"/>
                  </a:lnTo>
                  <a:lnTo>
                    <a:pt x="348" y="150"/>
                  </a:lnTo>
                  <a:lnTo>
                    <a:pt x="352" y="147"/>
                  </a:lnTo>
                  <a:lnTo>
                    <a:pt x="356" y="144"/>
                  </a:lnTo>
                  <a:lnTo>
                    <a:pt x="364" y="137"/>
                  </a:lnTo>
                  <a:lnTo>
                    <a:pt x="371" y="129"/>
                  </a:lnTo>
                  <a:lnTo>
                    <a:pt x="376" y="120"/>
                  </a:lnTo>
                  <a:lnTo>
                    <a:pt x="381" y="110"/>
                  </a:lnTo>
                  <a:lnTo>
                    <a:pt x="385" y="99"/>
                  </a:lnTo>
                  <a:lnTo>
                    <a:pt x="388" y="87"/>
                  </a:lnTo>
                  <a:lnTo>
                    <a:pt x="394" y="66"/>
                  </a:lnTo>
                  <a:lnTo>
                    <a:pt x="396" y="48"/>
                  </a:lnTo>
                  <a:lnTo>
                    <a:pt x="398" y="35"/>
                  </a:lnTo>
                  <a:lnTo>
                    <a:pt x="398" y="30"/>
                  </a:lnTo>
                  <a:lnTo>
                    <a:pt x="1827" y="30"/>
                  </a:lnTo>
                  <a:lnTo>
                    <a:pt x="1825" y="21"/>
                  </a:lnTo>
                  <a:lnTo>
                    <a:pt x="1823" y="13"/>
                  </a:lnTo>
                  <a:lnTo>
                    <a:pt x="1821" y="5"/>
                  </a:lnTo>
                  <a:lnTo>
                    <a:pt x="1820" y="0"/>
                  </a:lnTo>
                  <a:lnTo>
                    <a:pt x="1827" y="0"/>
                  </a:lnTo>
                  <a:lnTo>
                    <a:pt x="1853" y="0"/>
                  </a:lnTo>
                  <a:lnTo>
                    <a:pt x="1854" y="11"/>
                  </a:lnTo>
                  <a:lnTo>
                    <a:pt x="1856" y="21"/>
                  </a:lnTo>
                  <a:lnTo>
                    <a:pt x="1861" y="30"/>
                  </a:lnTo>
                  <a:lnTo>
                    <a:pt x="1866" y="38"/>
                  </a:lnTo>
                  <a:lnTo>
                    <a:pt x="1873" y="46"/>
                  </a:lnTo>
                  <a:lnTo>
                    <a:pt x="1881" y="51"/>
                  </a:lnTo>
                  <a:lnTo>
                    <a:pt x="1886" y="53"/>
                  </a:lnTo>
                  <a:lnTo>
                    <a:pt x="1890" y="54"/>
                  </a:lnTo>
                  <a:lnTo>
                    <a:pt x="1895" y="55"/>
                  </a:lnTo>
                  <a:lnTo>
                    <a:pt x="1900" y="55"/>
                  </a:lnTo>
                  <a:lnTo>
                    <a:pt x="1910" y="55"/>
                  </a:lnTo>
                  <a:lnTo>
                    <a:pt x="1926" y="55"/>
                  </a:lnTo>
                  <a:lnTo>
                    <a:pt x="1935" y="56"/>
                  </a:lnTo>
                  <a:lnTo>
                    <a:pt x="1944" y="58"/>
                  </a:lnTo>
                  <a:lnTo>
                    <a:pt x="1952" y="61"/>
                  </a:lnTo>
                  <a:lnTo>
                    <a:pt x="1958" y="64"/>
                  </a:lnTo>
                  <a:lnTo>
                    <a:pt x="1965" y="68"/>
                  </a:lnTo>
                  <a:lnTo>
                    <a:pt x="1972" y="71"/>
                  </a:lnTo>
                  <a:lnTo>
                    <a:pt x="1979" y="73"/>
                  </a:lnTo>
                  <a:lnTo>
                    <a:pt x="1986" y="73"/>
                  </a:lnTo>
                  <a:lnTo>
                    <a:pt x="1992" y="72"/>
                  </a:lnTo>
                  <a:lnTo>
                    <a:pt x="1999" y="67"/>
                  </a:lnTo>
                  <a:lnTo>
                    <a:pt x="2003" y="63"/>
                  </a:lnTo>
                  <a:lnTo>
                    <a:pt x="2006" y="61"/>
                  </a:lnTo>
                  <a:lnTo>
                    <a:pt x="2015" y="69"/>
                  </a:lnTo>
                  <a:lnTo>
                    <a:pt x="2024" y="75"/>
                  </a:lnTo>
                  <a:lnTo>
                    <a:pt x="2035" y="81"/>
                  </a:lnTo>
                  <a:lnTo>
                    <a:pt x="2046" y="86"/>
                  </a:lnTo>
                  <a:lnTo>
                    <a:pt x="2038" y="93"/>
                  </a:lnTo>
                  <a:lnTo>
                    <a:pt x="2031" y="100"/>
                  </a:lnTo>
                  <a:lnTo>
                    <a:pt x="2021" y="104"/>
                  </a:lnTo>
                  <a:lnTo>
                    <a:pt x="2011" y="108"/>
                  </a:lnTo>
                  <a:lnTo>
                    <a:pt x="1989" y="114"/>
                  </a:lnTo>
                  <a:lnTo>
                    <a:pt x="1967" y="118"/>
                  </a:lnTo>
                  <a:lnTo>
                    <a:pt x="1956" y="120"/>
                  </a:lnTo>
                  <a:lnTo>
                    <a:pt x="1946" y="122"/>
                  </a:lnTo>
                  <a:lnTo>
                    <a:pt x="1937" y="125"/>
                  </a:lnTo>
                  <a:lnTo>
                    <a:pt x="1929" y="128"/>
                  </a:lnTo>
                  <a:lnTo>
                    <a:pt x="1922" y="133"/>
                  </a:lnTo>
                  <a:lnTo>
                    <a:pt x="1918" y="138"/>
                  </a:lnTo>
                  <a:lnTo>
                    <a:pt x="1916" y="141"/>
                  </a:lnTo>
                  <a:lnTo>
                    <a:pt x="1914" y="145"/>
                  </a:lnTo>
                  <a:lnTo>
                    <a:pt x="1913" y="149"/>
                  </a:lnTo>
                  <a:lnTo>
                    <a:pt x="1913" y="154"/>
                  </a:lnTo>
                  <a:lnTo>
                    <a:pt x="1926" y="155"/>
                  </a:lnTo>
                  <a:lnTo>
                    <a:pt x="1937" y="156"/>
                  </a:lnTo>
                  <a:lnTo>
                    <a:pt x="1946" y="158"/>
                  </a:lnTo>
                  <a:lnTo>
                    <a:pt x="1954" y="160"/>
                  </a:lnTo>
                  <a:lnTo>
                    <a:pt x="1962" y="162"/>
                  </a:lnTo>
                  <a:lnTo>
                    <a:pt x="1969" y="164"/>
                  </a:lnTo>
                  <a:lnTo>
                    <a:pt x="1977" y="166"/>
                  </a:lnTo>
                  <a:lnTo>
                    <a:pt x="1986" y="166"/>
                  </a:lnTo>
                  <a:lnTo>
                    <a:pt x="1996" y="165"/>
                  </a:lnTo>
                  <a:lnTo>
                    <a:pt x="2011" y="161"/>
                  </a:lnTo>
                  <a:lnTo>
                    <a:pt x="2028" y="155"/>
                  </a:lnTo>
                  <a:lnTo>
                    <a:pt x="2047" y="147"/>
                  </a:lnTo>
                  <a:lnTo>
                    <a:pt x="2067" y="140"/>
                  </a:lnTo>
                  <a:lnTo>
                    <a:pt x="2087" y="135"/>
                  </a:lnTo>
                  <a:lnTo>
                    <a:pt x="2104" y="130"/>
                  </a:lnTo>
                  <a:lnTo>
                    <a:pt x="2119" y="129"/>
                  </a:lnTo>
                  <a:lnTo>
                    <a:pt x="2109" y="140"/>
                  </a:lnTo>
                  <a:lnTo>
                    <a:pt x="2101" y="147"/>
                  </a:lnTo>
                  <a:lnTo>
                    <a:pt x="2097" y="151"/>
                  </a:lnTo>
                  <a:lnTo>
                    <a:pt x="2094" y="155"/>
                  </a:lnTo>
                  <a:lnTo>
                    <a:pt x="2093" y="160"/>
                  </a:lnTo>
                  <a:lnTo>
                    <a:pt x="2092" y="166"/>
                  </a:lnTo>
                  <a:lnTo>
                    <a:pt x="2102" y="166"/>
                  </a:lnTo>
                  <a:lnTo>
                    <a:pt x="2112" y="166"/>
                  </a:lnTo>
                  <a:lnTo>
                    <a:pt x="2121" y="167"/>
                  </a:lnTo>
                  <a:lnTo>
                    <a:pt x="2138" y="169"/>
                  </a:lnTo>
                  <a:lnTo>
                    <a:pt x="2163" y="172"/>
                  </a:lnTo>
                  <a:lnTo>
                    <a:pt x="2191" y="175"/>
                  </a:lnTo>
                  <a:lnTo>
                    <a:pt x="2221" y="179"/>
                  </a:lnTo>
                  <a:lnTo>
                    <a:pt x="2248" y="182"/>
                  </a:lnTo>
                  <a:lnTo>
                    <a:pt x="2270" y="184"/>
                  </a:lnTo>
                  <a:lnTo>
                    <a:pt x="2286" y="184"/>
                  </a:lnTo>
                  <a:lnTo>
                    <a:pt x="2284" y="193"/>
                  </a:lnTo>
                  <a:lnTo>
                    <a:pt x="2282" y="199"/>
                  </a:lnTo>
                  <a:lnTo>
                    <a:pt x="2279" y="205"/>
                  </a:lnTo>
                  <a:lnTo>
                    <a:pt x="2275" y="210"/>
                  </a:lnTo>
                  <a:lnTo>
                    <a:pt x="2269" y="212"/>
                  </a:lnTo>
                  <a:lnTo>
                    <a:pt x="2262" y="214"/>
                  </a:lnTo>
                  <a:lnTo>
                    <a:pt x="2255" y="215"/>
                  </a:lnTo>
                  <a:lnTo>
                    <a:pt x="2245" y="216"/>
                  </a:lnTo>
                  <a:lnTo>
                    <a:pt x="2238" y="215"/>
                  </a:lnTo>
                  <a:lnTo>
                    <a:pt x="2233" y="214"/>
                  </a:lnTo>
                  <a:lnTo>
                    <a:pt x="2228" y="212"/>
                  </a:lnTo>
                  <a:lnTo>
                    <a:pt x="2225" y="210"/>
                  </a:lnTo>
                  <a:lnTo>
                    <a:pt x="2222" y="206"/>
                  </a:lnTo>
                  <a:lnTo>
                    <a:pt x="2217" y="204"/>
                  </a:lnTo>
                  <a:lnTo>
                    <a:pt x="2212" y="203"/>
                  </a:lnTo>
                  <a:lnTo>
                    <a:pt x="2205" y="203"/>
                  </a:lnTo>
                  <a:lnTo>
                    <a:pt x="2194" y="203"/>
                  </a:lnTo>
                  <a:lnTo>
                    <a:pt x="2185" y="205"/>
                  </a:lnTo>
                  <a:lnTo>
                    <a:pt x="2175" y="209"/>
                  </a:lnTo>
                  <a:lnTo>
                    <a:pt x="2166" y="213"/>
                  </a:lnTo>
                  <a:lnTo>
                    <a:pt x="2149" y="223"/>
                  </a:lnTo>
                  <a:lnTo>
                    <a:pt x="2135" y="234"/>
                  </a:lnTo>
                  <a:lnTo>
                    <a:pt x="2121" y="245"/>
                  </a:lnTo>
                  <a:lnTo>
                    <a:pt x="2108" y="255"/>
                  </a:lnTo>
                  <a:lnTo>
                    <a:pt x="2100" y="258"/>
                  </a:lnTo>
                  <a:lnTo>
                    <a:pt x="2093" y="261"/>
                  </a:lnTo>
                  <a:lnTo>
                    <a:pt x="2087" y="264"/>
                  </a:lnTo>
                  <a:lnTo>
                    <a:pt x="2079" y="265"/>
                  </a:lnTo>
                  <a:lnTo>
                    <a:pt x="2073" y="266"/>
                  </a:lnTo>
                  <a:lnTo>
                    <a:pt x="2068" y="268"/>
                  </a:lnTo>
                  <a:lnTo>
                    <a:pt x="2066" y="271"/>
                  </a:lnTo>
                  <a:lnTo>
                    <a:pt x="2064" y="276"/>
                  </a:lnTo>
                  <a:lnTo>
                    <a:pt x="2063" y="285"/>
                  </a:lnTo>
                  <a:lnTo>
                    <a:pt x="2059" y="295"/>
                  </a:lnTo>
                  <a:lnTo>
                    <a:pt x="2056" y="304"/>
                  </a:lnTo>
                  <a:lnTo>
                    <a:pt x="2053" y="312"/>
                  </a:lnTo>
                  <a:lnTo>
                    <a:pt x="2048" y="321"/>
                  </a:lnTo>
                  <a:lnTo>
                    <a:pt x="2043" y="328"/>
                  </a:lnTo>
                  <a:lnTo>
                    <a:pt x="2032" y="342"/>
                  </a:lnTo>
                  <a:lnTo>
                    <a:pt x="2021" y="355"/>
                  </a:lnTo>
                  <a:lnTo>
                    <a:pt x="2015" y="362"/>
                  </a:lnTo>
                  <a:lnTo>
                    <a:pt x="2010" y="369"/>
                  </a:lnTo>
                  <a:lnTo>
                    <a:pt x="2006" y="378"/>
                  </a:lnTo>
                  <a:lnTo>
                    <a:pt x="2001" y="386"/>
                  </a:lnTo>
                  <a:lnTo>
                    <a:pt x="1998" y="394"/>
                  </a:lnTo>
                  <a:lnTo>
                    <a:pt x="1995" y="404"/>
                  </a:lnTo>
                  <a:lnTo>
                    <a:pt x="1993" y="414"/>
                  </a:lnTo>
                  <a:lnTo>
                    <a:pt x="1992" y="424"/>
                  </a:lnTo>
                  <a:lnTo>
                    <a:pt x="1993" y="432"/>
                  </a:lnTo>
                  <a:lnTo>
                    <a:pt x="1997" y="438"/>
                  </a:lnTo>
                  <a:lnTo>
                    <a:pt x="2001" y="443"/>
                  </a:lnTo>
                  <a:lnTo>
                    <a:pt x="2007" y="447"/>
                  </a:lnTo>
                  <a:lnTo>
                    <a:pt x="2012" y="451"/>
                  </a:lnTo>
                  <a:lnTo>
                    <a:pt x="2018" y="453"/>
                  </a:lnTo>
                  <a:lnTo>
                    <a:pt x="2022" y="455"/>
                  </a:lnTo>
                  <a:lnTo>
                    <a:pt x="2026" y="456"/>
                  </a:lnTo>
                  <a:lnTo>
                    <a:pt x="2032" y="455"/>
                  </a:lnTo>
                  <a:lnTo>
                    <a:pt x="2037" y="454"/>
                  </a:lnTo>
                  <a:lnTo>
                    <a:pt x="2043" y="453"/>
                  </a:lnTo>
                  <a:lnTo>
                    <a:pt x="2047" y="451"/>
                  </a:lnTo>
                  <a:lnTo>
                    <a:pt x="2052" y="448"/>
                  </a:lnTo>
                  <a:lnTo>
                    <a:pt x="2056" y="445"/>
                  </a:lnTo>
                  <a:lnTo>
                    <a:pt x="2060" y="441"/>
                  </a:lnTo>
                  <a:lnTo>
                    <a:pt x="2064" y="437"/>
                  </a:lnTo>
                  <a:lnTo>
                    <a:pt x="2070" y="427"/>
                  </a:lnTo>
                  <a:lnTo>
                    <a:pt x="2076" y="417"/>
                  </a:lnTo>
                  <a:lnTo>
                    <a:pt x="2080" y="405"/>
                  </a:lnTo>
                  <a:lnTo>
                    <a:pt x="2085" y="393"/>
                  </a:lnTo>
                  <a:lnTo>
                    <a:pt x="2092" y="368"/>
                  </a:lnTo>
                  <a:lnTo>
                    <a:pt x="2100" y="344"/>
                  </a:lnTo>
                  <a:lnTo>
                    <a:pt x="2103" y="333"/>
                  </a:lnTo>
                  <a:lnTo>
                    <a:pt x="2108" y="323"/>
                  </a:lnTo>
                  <a:lnTo>
                    <a:pt x="2113" y="314"/>
                  </a:lnTo>
                  <a:lnTo>
                    <a:pt x="2119" y="307"/>
                  </a:lnTo>
                  <a:lnTo>
                    <a:pt x="2135" y="295"/>
                  </a:lnTo>
                  <a:lnTo>
                    <a:pt x="2152" y="283"/>
                  </a:lnTo>
                  <a:lnTo>
                    <a:pt x="2169" y="273"/>
                  </a:lnTo>
                  <a:lnTo>
                    <a:pt x="2188" y="262"/>
                  </a:lnTo>
                  <a:lnTo>
                    <a:pt x="2205" y="252"/>
                  </a:lnTo>
                  <a:lnTo>
                    <a:pt x="2223" y="243"/>
                  </a:lnTo>
                  <a:lnTo>
                    <a:pt x="2238" y="233"/>
                  </a:lnTo>
                  <a:lnTo>
                    <a:pt x="2251" y="222"/>
                  </a:lnTo>
                  <a:lnTo>
                    <a:pt x="2266" y="237"/>
                  </a:lnTo>
                  <a:lnTo>
                    <a:pt x="2278" y="249"/>
                  </a:lnTo>
                  <a:lnTo>
                    <a:pt x="2283" y="255"/>
                  </a:lnTo>
                  <a:lnTo>
                    <a:pt x="2288" y="261"/>
                  </a:lnTo>
                  <a:lnTo>
                    <a:pt x="2293" y="269"/>
                  </a:lnTo>
                  <a:lnTo>
                    <a:pt x="2299" y="277"/>
                  </a:lnTo>
                  <a:lnTo>
                    <a:pt x="2289" y="284"/>
                  </a:lnTo>
                  <a:lnTo>
                    <a:pt x="2281" y="290"/>
                  </a:lnTo>
                  <a:lnTo>
                    <a:pt x="2273" y="296"/>
                  </a:lnTo>
                  <a:lnTo>
                    <a:pt x="2267" y="303"/>
                  </a:lnTo>
                  <a:lnTo>
                    <a:pt x="2260" y="310"/>
                  </a:lnTo>
                  <a:lnTo>
                    <a:pt x="2255" y="318"/>
                  </a:lnTo>
                  <a:lnTo>
                    <a:pt x="2250" y="328"/>
                  </a:lnTo>
                  <a:lnTo>
                    <a:pt x="2245" y="339"/>
                  </a:lnTo>
                  <a:lnTo>
                    <a:pt x="2259" y="338"/>
                  </a:lnTo>
                  <a:lnTo>
                    <a:pt x="2271" y="336"/>
                  </a:lnTo>
                  <a:lnTo>
                    <a:pt x="2284" y="334"/>
                  </a:lnTo>
                  <a:lnTo>
                    <a:pt x="2299" y="333"/>
                  </a:lnTo>
                  <a:lnTo>
                    <a:pt x="2299" y="347"/>
                  </a:lnTo>
                  <a:lnTo>
                    <a:pt x="2299" y="363"/>
                  </a:lnTo>
                  <a:lnTo>
                    <a:pt x="2299" y="380"/>
                  </a:lnTo>
                  <a:lnTo>
                    <a:pt x="2299" y="394"/>
                  </a:lnTo>
                  <a:lnTo>
                    <a:pt x="2293" y="399"/>
                  </a:lnTo>
                  <a:lnTo>
                    <a:pt x="2288" y="404"/>
                  </a:lnTo>
                  <a:lnTo>
                    <a:pt x="2281" y="411"/>
                  </a:lnTo>
                  <a:lnTo>
                    <a:pt x="2276" y="418"/>
                  </a:lnTo>
                  <a:lnTo>
                    <a:pt x="2250" y="426"/>
                  </a:lnTo>
                  <a:lnTo>
                    <a:pt x="2228" y="435"/>
                  </a:lnTo>
                  <a:lnTo>
                    <a:pt x="2219" y="439"/>
                  </a:lnTo>
                  <a:lnTo>
                    <a:pt x="2212" y="443"/>
                  </a:lnTo>
                  <a:lnTo>
                    <a:pt x="2206" y="446"/>
                  </a:lnTo>
                  <a:lnTo>
                    <a:pt x="2205" y="450"/>
                  </a:lnTo>
                  <a:lnTo>
                    <a:pt x="2205" y="452"/>
                  </a:lnTo>
                  <a:lnTo>
                    <a:pt x="2206" y="454"/>
                  </a:lnTo>
                  <a:lnTo>
                    <a:pt x="2209" y="456"/>
                  </a:lnTo>
                  <a:lnTo>
                    <a:pt x="2212" y="458"/>
                  </a:lnTo>
                  <a:lnTo>
                    <a:pt x="2219" y="463"/>
                  </a:lnTo>
                  <a:lnTo>
                    <a:pt x="2227" y="466"/>
                  </a:lnTo>
                  <a:lnTo>
                    <a:pt x="2236" y="469"/>
                  </a:lnTo>
                  <a:lnTo>
                    <a:pt x="2245" y="472"/>
                  </a:lnTo>
                  <a:lnTo>
                    <a:pt x="2253" y="473"/>
                  </a:lnTo>
                  <a:lnTo>
                    <a:pt x="2258" y="474"/>
                  </a:lnTo>
                  <a:lnTo>
                    <a:pt x="2265" y="473"/>
                  </a:lnTo>
                  <a:lnTo>
                    <a:pt x="2273" y="472"/>
                  </a:lnTo>
                  <a:lnTo>
                    <a:pt x="2283" y="469"/>
                  </a:lnTo>
                  <a:lnTo>
                    <a:pt x="2293" y="466"/>
                  </a:lnTo>
                  <a:lnTo>
                    <a:pt x="2317" y="457"/>
                  </a:lnTo>
                  <a:lnTo>
                    <a:pt x="2343" y="447"/>
                  </a:lnTo>
                  <a:lnTo>
                    <a:pt x="2369" y="436"/>
                  </a:lnTo>
                  <a:lnTo>
                    <a:pt x="2393" y="425"/>
                  </a:lnTo>
                  <a:lnTo>
                    <a:pt x="2415" y="415"/>
                  </a:lnTo>
                  <a:lnTo>
                    <a:pt x="2433" y="408"/>
                  </a:lnTo>
                  <a:lnTo>
                    <a:pt x="2439" y="407"/>
                  </a:lnTo>
                  <a:lnTo>
                    <a:pt x="2446" y="405"/>
                  </a:lnTo>
                  <a:lnTo>
                    <a:pt x="2452" y="403"/>
                  </a:lnTo>
                  <a:lnTo>
                    <a:pt x="2458" y="400"/>
                  </a:lnTo>
                  <a:lnTo>
                    <a:pt x="2530" y="382"/>
                  </a:lnTo>
                  <a:lnTo>
                    <a:pt x="2544" y="380"/>
                  </a:lnTo>
                  <a:lnTo>
                    <a:pt x="2557" y="378"/>
                  </a:lnTo>
                  <a:lnTo>
                    <a:pt x="2570" y="373"/>
                  </a:lnTo>
                  <a:lnTo>
                    <a:pt x="2583" y="369"/>
                  </a:lnTo>
                  <a:lnTo>
                    <a:pt x="2597" y="364"/>
                  </a:lnTo>
                  <a:lnTo>
                    <a:pt x="2611" y="357"/>
                  </a:lnTo>
                  <a:lnTo>
                    <a:pt x="2625" y="350"/>
                  </a:lnTo>
                  <a:lnTo>
                    <a:pt x="2638" y="342"/>
                  </a:lnTo>
                  <a:lnTo>
                    <a:pt x="2651" y="334"/>
                  </a:lnTo>
                  <a:lnTo>
                    <a:pt x="2664" y="324"/>
                  </a:lnTo>
                  <a:lnTo>
                    <a:pt x="2676" y="313"/>
                  </a:lnTo>
                  <a:lnTo>
                    <a:pt x="2689" y="303"/>
                  </a:lnTo>
                  <a:lnTo>
                    <a:pt x="2701" y="291"/>
                  </a:lnTo>
                  <a:lnTo>
                    <a:pt x="2710" y="279"/>
                  </a:lnTo>
                  <a:lnTo>
                    <a:pt x="2721" y="266"/>
                  </a:lnTo>
                  <a:lnTo>
                    <a:pt x="2730" y="252"/>
                  </a:lnTo>
                  <a:lnTo>
                    <a:pt x="2817" y="252"/>
                  </a:lnTo>
                  <a:lnTo>
                    <a:pt x="2850" y="248"/>
                  </a:lnTo>
                  <a:lnTo>
                    <a:pt x="2880" y="246"/>
                  </a:lnTo>
                  <a:lnTo>
                    <a:pt x="2906" y="244"/>
                  </a:lnTo>
                  <a:lnTo>
                    <a:pt x="2931" y="241"/>
                  </a:lnTo>
                  <a:lnTo>
                    <a:pt x="2942" y="239"/>
                  </a:lnTo>
                  <a:lnTo>
                    <a:pt x="2954" y="237"/>
                  </a:lnTo>
                  <a:lnTo>
                    <a:pt x="2965" y="234"/>
                  </a:lnTo>
                  <a:lnTo>
                    <a:pt x="2975" y="230"/>
                  </a:lnTo>
                  <a:lnTo>
                    <a:pt x="2986" y="225"/>
                  </a:lnTo>
                  <a:lnTo>
                    <a:pt x="2996" y="219"/>
                  </a:lnTo>
                  <a:lnTo>
                    <a:pt x="3006" y="212"/>
                  </a:lnTo>
                  <a:lnTo>
                    <a:pt x="3016" y="203"/>
                  </a:lnTo>
                  <a:lnTo>
                    <a:pt x="3028" y="190"/>
                  </a:lnTo>
                  <a:lnTo>
                    <a:pt x="3038" y="177"/>
                  </a:lnTo>
                  <a:lnTo>
                    <a:pt x="3048" y="162"/>
                  </a:lnTo>
                  <a:lnTo>
                    <a:pt x="3059" y="148"/>
                  </a:lnTo>
                  <a:lnTo>
                    <a:pt x="3064" y="142"/>
                  </a:lnTo>
                  <a:lnTo>
                    <a:pt x="3070" y="136"/>
                  </a:lnTo>
                  <a:lnTo>
                    <a:pt x="3075" y="130"/>
                  </a:lnTo>
                  <a:lnTo>
                    <a:pt x="3082" y="126"/>
                  </a:lnTo>
                  <a:lnTo>
                    <a:pt x="3089" y="122"/>
                  </a:lnTo>
                  <a:lnTo>
                    <a:pt x="3097" y="119"/>
                  </a:lnTo>
                  <a:lnTo>
                    <a:pt x="3106" y="117"/>
                  </a:lnTo>
                  <a:lnTo>
                    <a:pt x="3116" y="117"/>
                  </a:lnTo>
                  <a:lnTo>
                    <a:pt x="3136" y="118"/>
                  </a:lnTo>
                  <a:lnTo>
                    <a:pt x="3153" y="119"/>
                  </a:lnTo>
                  <a:lnTo>
                    <a:pt x="3160" y="120"/>
                  </a:lnTo>
                  <a:lnTo>
                    <a:pt x="3165" y="119"/>
                  </a:lnTo>
                  <a:lnTo>
                    <a:pt x="3171" y="119"/>
                  </a:lnTo>
                  <a:lnTo>
                    <a:pt x="3175" y="117"/>
                  </a:lnTo>
                  <a:lnTo>
                    <a:pt x="3175" y="125"/>
                  </a:lnTo>
                  <a:lnTo>
                    <a:pt x="3172" y="134"/>
                  </a:lnTo>
                  <a:lnTo>
                    <a:pt x="3168" y="144"/>
                  </a:lnTo>
                  <a:lnTo>
                    <a:pt x="3164" y="156"/>
                  </a:lnTo>
                  <a:lnTo>
                    <a:pt x="3160" y="165"/>
                  </a:lnTo>
                  <a:lnTo>
                    <a:pt x="3155" y="174"/>
                  </a:lnTo>
                  <a:lnTo>
                    <a:pt x="3152" y="181"/>
                  </a:lnTo>
                  <a:lnTo>
                    <a:pt x="3149" y="184"/>
                  </a:lnTo>
                  <a:lnTo>
                    <a:pt x="3149" y="252"/>
                  </a:lnTo>
                  <a:lnTo>
                    <a:pt x="3155" y="258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40" name="Freeform 7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4088444" y="4332727"/>
              <a:ext cx="339725" cy="590550"/>
            </a:xfrm>
            <a:custGeom>
              <a:avLst/>
              <a:gdLst>
                <a:gd name="T0" fmla="*/ 2147483647 w 784"/>
                <a:gd name="T1" fmla="*/ 2147483647 h 1128"/>
                <a:gd name="T2" fmla="*/ 2147483647 w 784"/>
                <a:gd name="T3" fmla="*/ 2147483647 h 1128"/>
                <a:gd name="T4" fmla="*/ 2147483647 w 784"/>
                <a:gd name="T5" fmla="*/ 2147483647 h 1128"/>
                <a:gd name="T6" fmla="*/ 2147483647 w 784"/>
                <a:gd name="T7" fmla="*/ 2147483647 h 1128"/>
                <a:gd name="T8" fmla="*/ 2147483647 w 784"/>
                <a:gd name="T9" fmla="*/ 2147483647 h 1128"/>
                <a:gd name="T10" fmla="*/ 2147483647 w 784"/>
                <a:gd name="T11" fmla="*/ 2147483647 h 1128"/>
                <a:gd name="T12" fmla="*/ 2147483647 w 784"/>
                <a:gd name="T13" fmla="*/ 2147483647 h 1128"/>
                <a:gd name="T14" fmla="*/ 2147483647 w 784"/>
                <a:gd name="T15" fmla="*/ 2147483647 h 1128"/>
                <a:gd name="T16" fmla="*/ 2147483647 w 784"/>
                <a:gd name="T17" fmla="*/ 2147483647 h 1128"/>
                <a:gd name="T18" fmla="*/ 2147483647 w 784"/>
                <a:gd name="T19" fmla="*/ 2147483647 h 1128"/>
                <a:gd name="T20" fmla="*/ 2147483647 w 784"/>
                <a:gd name="T21" fmla="*/ 2147483647 h 1128"/>
                <a:gd name="T22" fmla="*/ 2147483647 w 784"/>
                <a:gd name="T23" fmla="*/ 2147483647 h 1128"/>
                <a:gd name="T24" fmla="*/ 2147483647 w 784"/>
                <a:gd name="T25" fmla="*/ 2147483647 h 1128"/>
                <a:gd name="T26" fmla="*/ 2147483647 w 784"/>
                <a:gd name="T27" fmla="*/ 2147483647 h 1128"/>
                <a:gd name="T28" fmla="*/ 2147483647 w 784"/>
                <a:gd name="T29" fmla="*/ 2147483647 h 1128"/>
                <a:gd name="T30" fmla="*/ 2147483647 w 784"/>
                <a:gd name="T31" fmla="*/ 2147483647 h 1128"/>
                <a:gd name="T32" fmla="*/ 2147483647 w 784"/>
                <a:gd name="T33" fmla="*/ 2147483647 h 1128"/>
                <a:gd name="T34" fmla="*/ 2147483647 w 784"/>
                <a:gd name="T35" fmla="*/ 2147483647 h 1128"/>
                <a:gd name="T36" fmla="*/ 2147483647 w 784"/>
                <a:gd name="T37" fmla="*/ 2147483647 h 1128"/>
                <a:gd name="T38" fmla="*/ 2147483647 w 784"/>
                <a:gd name="T39" fmla="*/ 2147483647 h 1128"/>
                <a:gd name="T40" fmla="*/ 2147483647 w 784"/>
                <a:gd name="T41" fmla="*/ 2147483647 h 1128"/>
                <a:gd name="T42" fmla="*/ 2147483647 w 784"/>
                <a:gd name="T43" fmla="*/ 2147483647 h 1128"/>
                <a:gd name="T44" fmla="*/ 2147483647 w 784"/>
                <a:gd name="T45" fmla="*/ 2147483647 h 1128"/>
                <a:gd name="T46" fmla="*/ 2147483647 w 784"/>
                <a:gd name="T47" fmla="*/ 2147483647 h 1128"/>
                <a:gd name="T48" fmla="*/ 2147483647 w 784"/>
                <a:gd name="T49" fmla="*/ 2147483647 h 1128"/>
                <a:gd name="T50" fmla="*/ 2147483647 w 784"/>
                <a:gd name="T51" fmla="*/ 2147483647 h 1128"/>
                <a:gd name="T52" fmla="*/ 2147483647 w 784"/>
                <a:gd name="T53" fmla="*/ 2147483647 h 1128"/>
                <a:gd name="T54" fmla="*/ 2147483647 w 784"/>
                <a:gd name="T55" fmla="*/ 2147483647 h 1128"/>
                <a:gd name="T56" fmla="*/ 2147483647 w 784"/>
                <a:gd name="T57" fmla="*/ 2147483647 h 1128"/>
                <a:gd name="T58" fmla="*/ 2147483647 w 784"/>
                <a:gd name="T59" fmla="*/ 2147483647 h 1128"/>
                <a:gd name="T60" fmla="*/ 2147483647 w 784"/>
                <a:gd name="T61" fmla="*/ 2147483647 h 1128"/>
                <a:gd name="T62" fmla="*/ 2147483647 w 784"/>
                <a:gd name="T63" fmla="*/ 2147483647 h 1128"/>
                <a:gd name="T64" fmla="*/ 2147483647 w 784"/>
                <a:gd name="T65" fmla="*/ 2147483647 h 1128"/>
                <a:gd name="T66" fmla="*/ 2147483647 w 784"/>
                <a:gd name="T67" fmla="*/ 2147483647 h 1128"/>
                <a:gd name="T68" fmla="*/ 0 w 784"/>
                <a:gd name="T69" fmla="*/ 2147483647 h 1128"/>
                <a:gd name="T70" fmla="*/ 2147483647 w 784"/>
                <a:gd name="T71" fmla="*/ 2147483647 h 1128"/>
                <a:gd name="T72" fmla="*/ 2147483647 w 784"/>
                <a:gd name="T73" fmla="*/ 2147483647 h 1128"/>
                <a:gd name="T74" fmla="*/ 2147483647 w 784"/>
                <a:gd name="T75" fmla="*/ 2147483647 h 1128"/>
                <a:gd name="T76" fmla="*/ 2147483647 w 784"/>
                <a:gd name="T77" fmla="*/ 2147483647 h 1128"/>
                <a:gd name="T78" fmla="*/ 2147483647 w 784"/>
                <a:gd name="T79" fmla="*/ 2147483647 h 1128"/>
                <a:gd name="T80" fmla="*/ 2147483647 w 784"/>
                <a:gd name="T81" fmla="*/ 2147483647 h 1128"/>
                <a:gd name="T82" fmla="*/ 2147483647 w 784"/>
                <a:gd name="T83" fmla="*/ 2147483647 h 1128"/>
                <a:gd name="T84" fmla="*/ 2147483647 w 784"/>
                <a:gd name="T85" fmla="*/ 2147483647 h 1128"/>
                <a:gd name="T86" fmla="*/ 2147483647 w 784"/>
                <a:gd name="T87" fmla="*/ 2147483647 h 1128"/>
                <a:gd name="T88" fmla="*/ 2147483647 w 784"/>
                <a:gd name="T89" fmla="*/ 2147483647 h 1128"/>
                <a:gd name="T90" fmla="*/ 2147483647 w 784"/>
                <a:gd name="T91" fmla="*/ 2147483647 h 1128"/>
                <a:gd name="T92" fmla="*/ 2147483647 w 784"/>
                <a:gd name="T93" fmla="*/ 2147483647 h 1128"/>
                <a:gd name="T94" fmla="*/ 2147483647 w 784"/>
                <a:gd name="T95" fmla="*/ 2147483647 h 1128"/>
                <a:gd name="T96" fmla="*/ 2147483647 w 784"/>
                <a:gd name="T97" fmla="*/ 2147483647 h 1128"/>
                <a:gd name="T98" fmla="*/ 2147483647 w 784"/>
                <a:gd name="T99" fmla="*/ 2147483647 h 1128"/>
                <a:gd name="T100" fmla="*/ 2147483647 w 784"/>
                <a:gd name="T101" fmla="*/ 2147483647 h 1128"/>
                <a:gd name="T102" fmla="*/ 2147483647 w 784"/>
                <a:gd name="T103" fmla="*/ 2147483647 h 1128"/>
                <a:gd name="T104" fmla="*/ 2147483647 w 784"/>
                <a:gd name="T105" fmla="*/ 2147483647 h 1128"/>
                <a:gd name="T106" fmla="*/ 2147483647 w 784"/>
                <a:gd name="T107" fmla="*/ 2147483647 h 1128"/>
                <a:gd name="T108" fmla="*/ 2147483647 w 784"/>
                <a:gd name="T109" fmla="*/ 2147483647 h 1128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1128">
                  <a:moveTo>
                    <a:pt x="644" y="259"/>
                  </a:moveTo>
                  <a:lnTo>
                    <a:pt x="632" y="265"/>
                  </a:lnTo>
                  <a:lnTo>
                    <a:pt x="621" y="270"/>
                  </a:lnTo>
                  <a:lnTo>
                    <a:pt x="611" y="273"/>
                  </a:lnTo>
                  <a:lnTo>
                    <a:pt x="602" y="275"/>
                  </a:lnTo>
                  <a:lnTo>
                    <a:pt x="583" y="277"/>
                  </a:lnTo>
                  <a:lnTo>
                    <a:pt x="564" y="278"/>
                  </a:lnTo>
                  <a:lnTo>
                    <a:pt x="560" y="278"/>
                  </a:lnTo>
                  <a:lnTo>
                    <a:pt x="557" y="280"/>
                  </a:lnTo>
                  <a:lnTo>
                    <a:pt x="554" y="284"/>
                  </a:lnTo>
                  <a:lnTo>
                    <a:pt x="552" y="287"/>
                  </a:lnTo>
                  <a:lnTo>
                    <a:pt x="549" y="295"/>
                  </a:lnTo>
                  <a:lnTo>
                    <a:pt x="545" y="302"/>
                  </a:lnTo>
                  <a:lnTo>
                    <a:pt x="529" y="318"/>
                  </a:lnTo>
                  <a:lnTo>
                    <a:pt x="515" y="335"/>
                  </a:lnTo>
                  <a:lnTo>
                    <a:pt x="502" y="354"/>
                  </a:lnTo>
                  <a:lnTo>
                    <a:pt x="490" y="376"/>
                  </a:lnTo>
                  <a:lnTo>
                    <a:pt x="484" y="387"/>
                  </a:lnTo>
                  <a:lnTo>
                    <a:pt x="480" y="398"/>
                  </a:lnTo>
                  <a:lnTo>
                    <a:pt x="475" y="410"/>
                  </a:lnTo>
                  <a:lnTo>
                    <a:pt x="471" y="422"/>
                  </a:lnTo>
                  <a:lnTo>
                    <a:pt x="469" y="434"/>
                  </a:lnTo>
                  <a:lnTo>
                    <a:pt x="467" y="445"/>
                  </a:lnTo>
                  <a:lnTo>
                    <a:pt x="465" y="457"/>
                  </a:lnTo>
                  <a:lnTo>
                    <a:pt x="464" y="468"/>
                  </a:lnTo>
                  <a:lnTo>
                    <a:pt x="465" y="478"/>
                  </a:lnTo>
                  <a:lnTo>
                    <a:pt x="468" y="488"/>
                  </a:lnTo>
                  <a:lnTo>
                    <a:pt x="471" y="498"/>
                  </a:lnTo>
                  <a:lnTo>
                    <a:pt x="475" y="510"/>
                  </a:lnTo>
                  <a:lnTo>
                    <a:pt x="481" y="522"/>
                  </a:lnTo>
                  <a:lnTo>
                    <a:pt x="486" y="535"/>
                  </a:lnTo>
                  <a:lnTo>
                    <a:pt x="494" y="547"/>
                  </a:lnTo>
                  <a:lnTo>
                    <a:pt x="502" y="559"/>
                  </a:lnTo>
                  <a:lnTo>
                    <a:pt x="510" y="570"/>
                  </a:lnTo>
                  <a:lnTo>
                    <a:pt x="520" y="581"/>
                  </a:lnTo>
                  <a:lnTo>
                    <a:pt x="530" y="591"/>
                  </a:lnTo>
                  <a:lnTo>
                    <a:pt x="540" y="600"/>
                  </a:lnTo>
                  <a:lnTo>
                    <a:pt x="551" y="607"/>
                  </a:lnTo>
                  <a:lnTo>
                    <a:pt x="562" y="612"/>
                  </a:lnTo>
                  <a:lnTo>
                    <a:pt x="568" y="614"/>
                  </a:lnTo>
                  <a:lnTo>
                    <a:pt x="573" y="615"/>
                  </a:lnTo>
                  <a:lnTo>
                    <a:pt x="579" y="616"/>
                  </a:lnTo>
                  <a:lnTo>
                    <a:pt x="584" y="616"/>
                  </a:lnTo>
                  <a:lnTo>
                    <a:pt x="594" y="615"/>
                  </a:lnTo>
                  <a:lnTo>
                    <a:pt x="602" y="613"/>
                  </a:lnTo>
                  <a:lnTo>
                    <a:pt x="610" y="609"/>
                  </a:lnTo>
                  <a:lnTo>
                    <a:pt x="617" y="604"/>
                  </a:lnTo>
                  <a:lnTo>
                    <a:pt x="625" y="600"/>
                  </a:lnTo>
                  <a:lnTo>
                    <a:pt x="632" y="596"/>
                  </a:lnTo>
                  <a:lnTo>
                    <a:pt x="641" y="593"/>
                  </a:lnTo>
                  <a:lnTo>
                    <a:pt x="651" y="592"/>
                  </a:lnTo>
                  <a:lnTo>
                    <a:pt x="653" y="614"/>
                  </a:lnTo>
                  <a:lnTo>
                    <a:pt x="654" y="645"/>
                  </a:lnTo>
                  <a:lnTo>
                    <a:pt x="654" y="653"/>
                  </a:lnTo>
                  <a:lnTo>
                    <a:pt x="655" y="660"/>
                  </a:lnTo>
                  <a:lnTo>
                    <a:pt x="658" y="667"/>
                  </a:lnTo>
                  <a:lnTo>
                    <a:pt x="660" y="672"/>
                  </a:lnTo>
                  <a:lnTo>
                    <a:pt x="663" y="677"/>
                  </a:lnTo>
                  <a:lnTo>
                    <a:pt x="666" y="681"/>
                  </a:lnTo>
                  <a:lnTo>
                    <a:pt x="672" y="683"/>
                  </a:lnTo>
                  <a:lnTo>
                    <a:pt x="677" y="684"/>
                  </a:lnTo>
                  <a:lnTo>
                    <a:pt x="687" y="684"/>
                  </a:lnTo>
                  <a:lnTo>
                    <a:pt x="697" y="684"/>
                  </a:lnTo>
                  <a:lnTo>
                    <a:pt x="703" y="684"/>
                  </a:lnTo>
                  <a:lnTo>
                    <a:pt x="708" y="685"/>
                  </a:lnTo>
                  <a:lnTo>
                    <a:pt x="714" y="687"/>
                  </a:lnTo>
                  <a:lnTo>
                    <a:pt x="720" y="689"/>
                  </a:lnTo>
                  <a:lnTo>
                    <a:pt x="726" y="692"/>
                  </a:lnTo>
                  <a:lnTo>
                    <a:pt x="732" y="696"/>
                  </a:lnTo>
                  <a:lnTo>
                    <a:pt x="738" y="701"/>
                  </a:lnTo>
                  <a:lnTo>
                    <a:pt x="743" y="706"/>
                  </a:lnTo>
                  <a:lnTo>
                    <a:pt x="749" y="712"/>
                  </a:lnTo>
                  <a:lnTo>
                    <a:pt x="754" y="717"/>
                  </a:lnTo>
                  <a:lnTo>
                    <a:pt x="759" y="724"/>
                  </a:lnTo>
                  <a:lnTo>
                    <a:pt x="763" y="731"/>
                  </a:lnTo>
                  <a:lnTo>
                    <a:pt x="765" y="738"/>
                  </a:lnTo>
                  <a:lnTo>
                    <a:pt x="769" y="746"/>
                  </a:lnTo>
                  <a:lnTo>
                    <a:pt x="770" y="756"/>
                  </a:lnTo>
                  <a:lnTo>
                    <a:pt x="771" y="765"/>
                  </a:lnTo>
                  <a:lnTo>
                    <a:pt x="770" y="773"/>
                  </a:lnTo>
                  <a:lnTo>
                    <a:pt x="769" y="779"/>
                  </a:lnTo>
                  <a:lnTo>
                    <a:pt x="766" y="784"/>
                  </a:lnTo>
                  <a:lnTo>
                    <a:pt x="764" y="787"/>
                  </a:lnTo>
                  <a:lnTo>
                    <a:pt x="761" y="790"/>
                  </a:lnTo>
                  <a:lnTo>
                    <a:pt x="759" y="794"/>
                  </a:lnTo>
                  <a:lnTo>
                    <a:pt x="758" y="797"/>
                  </a:lnTo>
                  <a:lnTo>
                    <a:pt x="758" y="801"/>
                  </a:lnTo>
                  <a:lnTo>
                    <a:pt x="758" y="809"/>
                  </a:lnTo>
                  <a:lnTo>
                    <a:pt x="759" y="818"/>
                  </a:lnTo>
                  <a:lnTo>
                    <a:pt x="760" y="825"/>
                  </a:lnTo>
                  <a:lnTo>
                    <a:pt x="761" y="831"/>
                  </a:lnTo>
                  <a:lnTo>
                    <a:pt x="765" y="844"/>
                  </a:lnTo>
                  <a:lnTo>
                    <a:pt x="771" y="856"/>
                  </a:lnTo>
                  <a:lnTo>
                    <a:pt x="774" y="866"/>
                  </a:lnTo>
                  <a:lnTo>
                    <a:pt x="777" y="875"/>
                  </a:lnTo>
                  <a:lnTo>
                    <a:pt x="772" y="882"/>
                  </a:lnTo>
                  <a:lnTo>
                    <a:pt x="769" y="889"/>
                  </a:lnTo>
                  <a:lnTo>
                    <a:pt x="765" y="897"/>
                  </a:lnTo>
                  <a:lnTo>
                    <a:pt x="762" y="904"/>
                  </a:lnTo>
                  <a:lnTo>
                    <a:pt x="760" y="912"/>
                  </a:lnTo>
                  <a:lnTo>
                    <a:pt x="759" y="922"/>
                  </a:lnTo>
                  <a:lnTo>
                    <a:pt x="758" y="932"/>
                  </a:lnTo>
                  <a:lnTo>
                    <a:pt x="758" y="943"/>
                  </a:lnTo>
                  <a:lnTo>
                    <a:pt x="758" y="956"/>
                  </a:lnTo>
                  <a:lnTo>
                    <a:pt x="760" y="967"/>
                  </a:lnTo>
                  <a:lnTo>
                    <a:pt x="762" y="978"/>
                  </a:lnTo>
                  <a:lnTo>
                    <a:pt x="765" y="986"/>
                  </a:lnTo>
                  <a:lnTo>
                    <a:pt x="770" y="994"/>
                  </a:lnTo>
                  <a:lnTo>
                    <a:pt x="774" y="1000"/>
                  </a:lnTo>
                  <a:lnTo>
                    <a:pt x="778" y="1006"/>
                  </a:lnTo>
                  <a:lnTo>
                    <a:pt x="784" y="1011"/>
                  </a:lnTo>
                  <a:lnTo>
                    <a:pt x="775" y="1026"/>
                  </a:lnTo>
                  <a:lnTo>
                    <a:pt x="769" y="1041"/>
                  </a:lnTo>
                  <a:lnTo>
                    <a:pt x="763" y="1054"/>
                  </a:lnTo>
                  <a:lnTo>
                    <a:pt x="759" y="1067"/>
                  </a:lnTo>
                  <a:lnTo>
                    <a:pt x="753" y="1080"/>
                  </a:lnTo>
                  <a:lnTo>
                    <a:pt x="747" y="1095"/>
                  </a:lnTo>
                  <a:lnTo>
                    <a:pt x="737" y="1110"/>
                  </a:lnTo>
                  <a:lnTo>
                    <a:pt x="723" y="1128"/>
                  </a:lnTo>
                  <a:lnTo>
                    <a:pt x="691" y="1122"/>
                  </a:lnTo>
                  <a:lnTo>
                    <a:pt x="681" y="1121"/>
                  </a:lnTo>
                  <a:lnTo>
                    <a:pt x="673" y="1119"/>
                  </a:lnTo>
                  <a:lnTo>
                    <a:pt x="665" y="1116"/>
                  </a:lnTo>
                  <a:lnTo>
                    <a:pt x="659" y="1113"/>
                  </a:lnTo>
                  <a:lnTo>
                    <a:pt x="653" y="1108"/>
                  </a:lnTo>
                  <a:lnTo>
                    <a:pt x="648" y="1103"/>
                  </a:lnTo>
                  <a:lnTo>
                    <a:pt x="642" y="1098"/>
                  </a:lnTo>
                  <a:lnTo>
                    <a:pt x="638" y="1092"/>
                  </a:lnTo>
                  <a:lnTo>
                    <a:pt x="627" y="1079"/>
                  </a:lnTo>
                  <a:lnTo>
                    <a:pt x="616" y="1067"/>
                  </a:lnTo>
                  <a:lnTo>
                    <a:pt x="609" y="1061"/>
                  </a:lnTo>
                  <a:lnTo>
                    <a:pt x="602" y="1056"/>
                  </a:lnTo>
                  <a:lnTo>
                    <a:pt x="594" y="1052"/>
                  </a:lnTo>
                  <a:lnTo>
                    <a:pt x="584" y="1048"/>
                  </a:lnTo>
                  <a:lnTo>
                    <a:pt x="554" y="1038"/>
                  </a:lnTo>
                  <a:lnTo>
                    <a:pt x="507" y="1018"/>
                  </a:lnTo>
                  <a:lnTo>
                    <a:pt x="483" y="1008"/>
                  </a:lnTo>
                  <a:lnTo>
                    <a:pt x="463" y="998"/>
                  </a:lnTo>
                  <a:lnTo>
                    <a:pt x="456" y="993"/>
                  </a:lnTo>
                  <a:lnTo>
                    <a:pt x="450" y="988"/>
                  </a:lnTo>
                  <a:lnTo>
                    <a:pt x="446" y="984"/>
                  </a:lnTo>
                  <a:lnTo>
                    <a:pt x="445" y="980"/>
                  </a:lnTo>
                  <a:lnTo>
                    <a:pt x="436" y="975"/>
                  </a:lnTo>
                  <a:lnTo>
                    <a:pt x="425" y="967"/>
                  </a:lnTo>
                  <a:lnTo>
                    <a:pt x="413" y="956"/>
                  </a:lnTo>
                  <a:lnTo>
                    <a:pt x="398" y="944"/>
                  </a:lnTo>
                  <a:lnTo>
                    <a:pt x="383" y="931"/>
                  </a:lnTo>
                  <a:lnTo>
                    <a:pt x="367" y="916"/>
                  </a:lnTo>
                  <a:lnTo>
                    <a:pt x="349" y="904"/>
                  </a:lnTo>
                  <a:lnTo>
                    <a:pt x="331" y="894"/>
                  </a:lnTo>
                  <a:lnTo>
                    <a:pt x="326" y="890"/>
                  </a:lnTo>
                  <a:lnTo>
                    <a:pt x="323" y="886"/>
                  </a:lnTo>
                  <a:lnTo>
                    <a:pt x="319" y="882"/>
                  </a:lnTo>
                  <a:lnTo>
                    <a:pt x="318" y="877"/>
                  </a:lnTo>
                  <a:lnTo>
                    <a:pt x="318" y="872"/>
                  </a:lnTo>
                  <a:lnTo>
                    <a:pt x="318" y="867"/>
                  </a:lnTo>
                  <a:lnTo>
                    <a:pt x="319" y="860"/>
                  </a:lnTo>
                  <a:lnTo>
                    <a:pt x="321" y="854"/>
                  </a:lnTo>
                  <a:lnTo>
                    <a:pt x="324" y="842"/>
                  </a:lnTo>
                  <a:lnTo>
                    <a:pt x="327" y="829"/>
                  </a:lnTo>
                  <a:lnTo>
                    <a:pt x="328" y="822"/>
                  </a:lnTo>
                  <a:lnTo>
                    <a:pt x="328" y="815"/>
                  </a:lnTo>
                  <a:lnTo>
                    <a:pt x="327" y="808"/>
                  </a:lnTo>
                  <a:lnTo>
                    <a:pt x="325" y="801"/>
                  </a:lnTo>
                  <a:lnTo>
                    <a:pt x="318" y="795"/>
                  </a:lnTo>
                  <a:lnTo>
                    <a:pt x="310" y="789"/>
                  </a:lnTo>
                  <a:lnTo>
                    <a:pt x="300" y="784"/>
                  </a:lnTo>
                  <a:lnTo>
                    <a:pt x="290" y="778"/>
                  </a:lnTo>
                  <a:lnTo>
                    <a:pt x="279" y="772"/>
                  </a:lnTo>
                  <a:lnTo>
                    <a:pt x="270" y="765"/>
                  </a:lnTo>
                  <a:lnTo>
                    <a:pt x="266" y="761"/>
                  </a:lnTo>
                  <a:lnTo>
                    <a:pt x="263" y="757"/>
                  </a:lnTo>
                  <a:lnTo>
                    <a:pt x="260" y="751"/>
                  </a:lnTo>
                  <a:lnTo>
                    <a:pt x="259" y="745"/>
                  </a:lnTo>
                  <a:lnTo>
                    <a:pt x="255" y="735"/>
                  </a:lnTo>
                  <a:lnTo>
                    <a:pt x="251" y="725"/>
                  </a:lnTo>
                  <a:lnTo>
                    <a:pt x="249" y="716"/>
                  </a:lnTo>
                  <a:lnTo>
                    <a:pt x="248" y="707"/>
                  </a:lnTo>
                  <a:lnTo>
                    <a:pt x="246" y="697"/>
                  </a:lnTo>
                  <a:lnTo>
                    <a:pt x="243" y="689"/>
                  </a:lnTo>
                  <a:lnTo>
                    <a:pt x="238" y="681"/>
                  </a:lnTo>
                  <a:lnTo>
                    <a:pt x="232" y="672"/>
                  </a:lnTo>
                  <a:lnTo>
                    <a:pt x="211" y="635"/>
                  </a:lnTo>
                  <a:lnTo>
                    <a:pt x="192" y="603"/>
                  </a:lnTo>
                  <a:lnTo>
                    <a:pt x="174" y="570"/>
                  </a:lnTo>
                  <a:lnTo>
                    <a:pt x="153" y="530"/>
                  </a:lnTo>
                  <a:lnTo>
                    <a:pt x="146" y="521"/>
                  </a:lnTo>
                  <a:lnTo>
                    <a:pt x="138" y="513"/>
                  </a:lnTo>
                  <a:lnTo>
                    <a:pt x="134" y="508"/>
                  </a:lnTo>
                  <a:lnTo>
                    <a:pt x="129" y="502"/>
                  </a:lnTo>
                  <a:lnTo>
                    <a:pt x="124" y="496"/>
                  </a:lnTo>
                  <a:lnTo>
                    <a:pt x="120" y="487"/>
                  </a:lnTo>
                  <a:lnTo>
                    <a:pt x="116" y="478"/>
                  </a:lnTo>
                  <a:lnTo>
                    <a:pt x="113" y="467"/>
                  </a:lnTo>
                  <a:lnTo>
                    <a:pt x="109" y="458"/>
                  </a:lnTo>
                  <a:lnTo>
                    <a:pt x="103" y="448"/>
                  </a:lnTo>
                  <a:lnTo>
                    <a:pt x="98" y="440"/>
                  </a:lnTo>
                  <a:lnTo>
                    <a:pt x="90" y="432"/>
                  </a:lnTo>
                  <a:lnTo>
                    <a:pt x="82" y="425"/>
                  </a:lnTo>
                  <a:lnTo>
                    <a:pt x="72" y="419"/>
                  </a:lnTo>
                  <a:lnTo>
                    <a:pt x="52" y="411"/>
                  </a:lnTo>
                  <a:lnTo>
                    <a:pt x="31" y="403"/>
                  </a:lnTo>
                  <a:lnTo>
                    <a:pt x="26" y="400"/>
                  </a:lnTo>
                  <a:lnTo>
                    <a:pt x="22" y="397"/>
                  </a:lnTo>
                  <a:lnTo>
                    <a:pt x="17" y="393"/>
                  </a:lnTo>
                  <a:lnTo>
                    <a:pt x="13" y="389"/>
                  </a:lnTo>
                  <a:lnTo>
                    <a:pt x="9" y="384"/>
                  </a:lnTo>
                  <a:lnTo>
                    <a:pt x="5" y="378"/>
                  </a:lnTo>
                  <a:lnTo>
                    <a:pt x="2" y="372"/>
                  </a:lnTo>
                  <a:lnTo>
                    <a:pt x="0" y="363"/>
                  </a:lnTo>
                  <a:lnTo>
                    <a:pt x="20" y="345"/>
                  </a:lnTo>
                  <a:lnTo>
                    <a:pt x="15" y="331"/>
                  </a:lnTo>
                  <a:lnTo>
                    <a:pt x="14" y="317"/>
                  </a:lnTo>
                  <a:lnTo>
                    <a:pt x="13" y="301"/>
                  </a:lnTo>
                  <a:lnTo>
                    <a:pt x="13" y="284"/>
                  </a:lnTo>
                  <a:lnTo>
                    <a:pt x="13" y="276"/>
                  </a:lnTo>
                  <a:lnTo>
                    <a:pt x="14" y="270"/>
                  </a:lnTo>
                  <a:lnTo>
                    <a:pt x="16" y="264"/>
                  </a:lnTo>
                  <a:lnTo>
                    <a:pt x="19" y="259"/>
                  </a:lnTo>
                  <a:lnTo>
                    <a:pt x="21" y="254"/>
                  </a:lnTo>
                  <a:lnTo>
                    <a:pt x="24" y="249"/>
                  </a:lnTo>
                  <a:lnTo>
                    <a:pt x="28" y="246"/>
                  </a:lnTo>
                  <a:lnTo>
                    <a:pt x="32" y="243"/>
                  </a:lnTo>
                  <a:lnTo>
                    <a:pt x="41" y="237"/>
                  </a:lnTo>
                  <a:lnTo>
                    <a:pt x="49" y="231"/>
                  </a:lnTo>
                  <a:lnTo>
                    <a:pt x="58" y="224"/>
                  </a:lnTo>
                  <a:lnTo>
                    <a:pt x="66" y="216"/>
                  </a:lnTo>
                  <a:lnTo>
                    <a:pt x="72" y="222"/>
                  </a:lnTo>
                  <a:lnTo>
                    <a:pt x="79" y="228"/>
                  </a:lnTo>
                  <a:lnTo>
                    <a:pt x="83" y="235"/>
                  </a:lnTo>
                  <a:lnTo>
                    <a:pt x="86" y="240"/>
                  </a:lnTo>
                  <a:lnTo>
                    <a:pt x="86" y="252"/>
                  </a:lnTo>
                  <a:lnTo>
                    <a:pt x="86" y="265"/>
                  </a:lnTo>
                  <a:lnTo>
                    <a:pt x="95" y="272"/>
                  </a:lnTo>
                  <a:lnTo>
                    <a:pt x="116" y="287"/>
                  </a:lnTo>
                  <a:lnTo>
                    <a:pt x="128" y="294"/>
                  </a:lnTo>
                  <a:lnTo>
                    <a:pt x="139" y="301"/>
                  </a:lnTo>
                  <a:lnTo>
                    <a:pt x="148" y="306"/>
                  </a:lnTo>
                  <a:lnTo>
                    <a:pt x="153" y="308"/>
                  </a:lnTo>
                  <a:lnTo>
                    <a:pt x="158" y="307"/>
                  </a:lnTo>
                  <a:lnTo>
                    <a:pt x="164" y="303"/>
                  </a:lnTo>
                  <a:lnTo>
                    <a:pt x="169" y="298"/>
                  </a:lnTo>
                  <a:lnTo>
                    <a:pt x="174" y="291"/>
                  </a:lnTo>
                  <a:lnTo>
                    <a:pt x="179" y="284"/>
                  </a:lnTo>
                  <a:lnTo>
                    <a:pt x="182" y="277"/>
                  </a:lnTo>
                  <a:lnTo>
                    <a:pt x="184" y="271"/>
                  </a:lnTo>
                  <a:lnTo>
                    <a:pt x="185" y="265"/>
                  </a:lnTo>
                  <a:lnTo>
                    <a:pt x="187" y="259"/>
                  </a:lnTo>
                  <a:lnTo>
                    <a:pt x="188" y="251"/>
                  </a:lnTo>
                  <a:lnTo>
                    <a:pt x="190" y="244"/>
                  </a:lnTo>
                  <a:lnTo>
                    <a:pt x="193" y="238"/>
                  </a:lnTo>
                  <a:lnTo>
                    <a:pt x="201" y="225"/>
                  </a:lnTo>
                  <a:lnTo>
                    <a:pt x="212" y="213"/>
                  </a:lnTo>
                  <a:lnTo>
                    <a:pt x="222" y="202"/>
                  </a:lnTo>
                  <a:lnTo>
                    <a:pt x="234" y="192"/>
                  </a:lnTo>
                  <a:lnTo>
                    <a:pt x="244" y="184"/>
                  </a:lnTo>
                  <a:lnTo>
                    <a:pt x="252" y="179"/>
                  </a:lnTo>
                  <a:lnTo>
                    <a:pt x="270" y="170"/>
                  </a:lnTo>
                  <a:lnTo>
                    <a:pt x="289" y="160"/>
                  </a:lnTo>
                  <a:lnTo>
                    <a:pt x="306" y="150"/>
                  </a:lnTo>
                  <a:lnTo>
                    <a:pt x="323" y="138"/>
                  </a:lnTo>
                  <a:lnTo>
                    <a:pt x="330" y="133"/>
                  </a:lnTo>
                  <a:lnTo>
                    <a:pt x="337" y="126"/>
                  </a:lnTo>
                  <a:lnTo>
                    <a:pt x="344" y="120"/>
                  </a:lnTo>
                  <a:lnTo>
                    <a:pt x="348" y="113"/>
                  </a:lnTo>
                  <a:lnTo>
                    <a:pt x="352" y="106"/>
                  </a:lnTo>
                  <a:lnTo>
                    <a:pt x="356" y="98"/>
                  </a:lnTo>
                  <a:lnTo>
                    <a:pt x="358" y="90"/>
                  </a:lnTo>
                  <a:lnTo>
                    <a:pt x="358" y="80"/>
                  </a:lnTo>
                  <a:lnTo>
                    <a:pt x="357" y="70"/>
                  </a:lnTo>
                  <a:lnTo>
                    <a:pt x="355" y="58"/>
                  </a:lnTo>
                  <a:lnTo>
                    <a:pt x="350" y="46"/>
                  </a:lnTo>
                  <a:lnTo>
                    <a:pt x="345" y="34"/>
                  </a:lnTo>
                  <a:lnTo>
                    <a:pt x="336" y="12"/>
                  </a:lnTo>
                  <a:lnTo>
                    <a:pt x="331" y="0"/>
                  </a:lnTo>
                  <a:lnTo>
                    <a:pt x="347" y="5"/>
                  </a:lnTo>
                  <a:lnTo>
                    <a:pt x="360" y="11"/>
                  </a:lnTo>
                  <a:lnTo>
                    <a:pt x="374" y="18"/>
                  </a:lnTo>
                  <a:lnTo>
                    <a:pt x="386" y="26"/>
                  </a:lnTo>
                  <a:lnTo>
                    <a:pt x="398" y="35"/>
                  </a:lnTo>
                  <a:lnTo>
                    <a:pt x="411" y="44"/>
                  </a:lnTo>
                  <a:lnTo>
                    <a:pt x="422" y="53"/>
                  </a:lnTo>
                  <a:lnTo>
                    <a:pt x="431" y="62"/>
                  </a:lnTo>
                  <a:lnTo>
                    <a:pt x="438" y="68"/>
                  </a:lnTo>
                  <a:lnTo>
                    <a:pt x="445" y="75"/>
                  </a:lnTo>
                  <a:lnTo>
                    <a:pt x="451" y="82"/>
                  </a:lnTo>
                  <a:lnTo>
                    <a:pt x="457" y="91"/>
                  </a:lnTo>
                  <a:lnTo>
                    <a:pt x="467" y="107"/>
                  </a:lnTo>
                  <a:lnTo>
                    <a:pt x="476" y="123"/>
                  </a:lnTo>
                  <a:lnTo>
                    <a:pt x="481" y="130"/>
                  </a:lnTo>
                  <a:lnTo>
                    <a:pt x="486" y="137"/>
                  </a:lnTo>
                  <a:lnTo>
                    <a:pt x="493" y="144"/>
                  </a:lnTo>
                  <a:lnTo>
                    <a:pt x="498" y="150"/>
                  </a:lnTo>
                  <a:lnTo>
                    <a:pt x="506" y="154"/>
                  </a:lnTo>
                  <a:lnTo>
                    <a:pt x="513" y="158"/>
                  </a:lnTo>
                  <a:lnTo>
                    <a:pt x="521" y="160"/>
                  </a:lnTo>
                  <a:lnTo>
                    <a:pt x="531" y="161"/>
                  </a:lnTo>
                  <a:lnTo>
                    <a:pt x="541" y="160"/>
                  </a:lnTo>
                  <a:lnTo>
                    <a:pt x="551" y="159"/>
                  </a:lnTo>
                  <a:lnTo>
                    <a:pt x="561" y="157"/>
                  </a:lnTo>
                  <a:lnTo>
                    <a:pt x="571" y="155"/>
                  </a:lnTo>
                  <a:lnTo>
                    <a:pt x="581" y="152"/>
                  </a:lnTo>
                  <a:lnTo>
                    <a:pt x="591" y="150"/>
                  </a:lnTo>
                  <a:lnTo>
                    <a:pt x="601" y="149"/>
                  </a:lnTo>
                  <a:lnTo>
                    <a:pt x="610" y="148"/>
                  </a:lnTo>
                  <a:lnTo>
                    <a:pt x="617" y="149"/>
                  </a:lnTo>
                  <a:lnTo>
                    <a:pt x="624" y="151"/>
                  </a:lnTo>
                  <a:lnTo>
                    <a:pt x="628" y="151"/>
                  </a:lnTo>
                  <a:lnTo>
                    <a:pt x="631" y="151"/>
                  </a:lnTo>
                  <a:lnTo>
                    <a:pt x="635" y="150"/>
                  </a:lnTo>
                  <a:lnTo>
                    <a:pt x="638" y="148"/>
                  </a:lnTo>
                  <a:lnTo>
                    <a:pt x="640" y="156"/>
                  </a:lnTo>
                  <a:lnTo>
                    <a:pt x="648" y="167"/>
                  </a:lnTo>
                  <a:lnTo>
                    <a:pt x="654" y="177"/>
                  </a:lnTo>
                  <a:lnTo>
                    <a:pt x="658" y="185"/>
                  </a:lnTo>
                  <a:lnTo>
                    <a:pt x="657" y="188"/>
                  </a:lnTo>
                  <a:lnTo>
                    <a:pt x="655" y="191"/>
                  </a:lnTo>
                  <a:lnTo>
                    <a:pt x="654" y="193"/>
                  </a:lnTo>
                  <a:lnTo>
                    <a:pt x="652" y="195"/>
                  </a:lnTo>
                  <a:lnTo>
                    <a:pt x="647" y="200"/>
                  </a:lnTo>
                  <a:lnTo>
                    <a:pt x="641" y="203"/>
                  </a:lnTo>
                  <a:lnTo>
                    <a:pt x="635" y="206"/>
                  </a:lnTo>
                  <a:lnTo>
                    <a:pt x="629" y="209"/>
                  </a:lnTo>
                  <a:lnTo>
                    <a:pt x="627" y="210"/>
                  </a:lnTo>
                  <a:lnTo>
                    <a:pt x="626" y="212"/>
                  </a:lnTo>
                  <a:lnTo>
                    <a:pt x="625" y="214"/>
                  </a:lnTo>
                  <a:lnTo>
                    <a:pt x="624" y="216"/>
                  </a:lnTo>
                  <a:lnTo>
                    <a:pt x="625" y="226"/>
                  </a:lnTo>
                  <a:lnTo>
                    <a:pt x="626" y="234"/>
                  </a:lnTo>
                  <a:lnTo>
                    <a:pt x="627" y="240"/>
                  </a:lnTo>
                  <a:lnTo>
                    <a:pt x="629" y="244"/>
                  </a:lnTo>
                  <a:lnTo>
                    <a:pt x="636" y="251"/>
                  </a:lnTo>
                  <a:lnTo>
                    <a:pt x="644" y="259"/>
                  </a:lnTo>
                </a:path>
              </a:pathLst>
            </a:custGeom>
            <a:solidFill>
              <a:srgbClr val="19194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41" name="Freeform 9"/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4293232" y="4178739"/>
              <a:ext cx="966787" cy="1203325"/>
            </a:xfrm>
            <a:custGeom>
              <a:avLst/>
              <a:gdLst>
                <a:gd name="T0" fmla="*/ 2147483647 w 2226"/>
                <a:gd name="T1" fmla="*/ 2147483647 h 2292"/>
                <a:gd name="T2" fmla="*/ 2147483647 w 2226"/>
                <a:gd name="T3" fmla="*/ 2147483647 h 2292"/>
                <a:gd name="T4" fmla="*/ 2147483647 w 2226"/>
                <a:gd name="T5" fmla="*/ 2147483647 h 2292"/>
                <a:gd name="T6" fmla="*/ 2147483647 w 2226"/>
                <a:gd name="T7" fmla="*/ 2147483647 h 2292"/>
                <a:gd name="T8" fmla="*/ 2147483647 w 2226"/>
                <a:gd name="T9" fmla="*/ 2147483647 h 2292"/>
                <a:gd name="T10" fmla="*/ 2147483647 w 2226"/>
                <a:gd name="T11" fmla="*/ 2147483647 h 2292"/>
                <a:gd name="T12" fmla="*/ 2147483647 w 2226"/>
                <a:gd name="T13" fmla="*/ 2147483647 h 2292"/>
                <a:gd name="T14" fmla="*/ 2147483647 w 2226"/>
                <a:gd name="T15" fmla="*/ 2147483647 h 2292"/>
                <a:gd name="T16" fmla="*/ 2147483647 w 2226"/>
                <a:gd name="T17" fmla="*/ 2147483647 h 2292"/>
                <a:gd name="T18" fmla="*/ 2147483647 w 2226"/>
                <a:gd name="T19" fmla="*/ 2147483647 h 2292"/>
                <a:gd name="T20" fmla="*/ 2147483647 w 2226"/>
                <a:gd name="T21" fmla="*/ 2147483647 h 2292"/>
                <a:gd name="T22" fmla="*/ 2147483647 w 2226"/>
                <a:gd name="T23" fmla="*/ 2147483647 h 2292"/>
                <a:gd name="T24" fmla="*/ 2147483647 w 2226"/>
                <a:gd name="T25" fmla="*/ 2147483647 h 2292"/>
                <a:gd name="T26" fmla="*/ 2147483647 w 2226"/>
                <a:gd name="T27" fmla="*/ 2147483647 h 2292"/>
                <a:gd name="T28" fmla="*/ 2147483647 w 2226"/>
                <a:gd name="T29" fmla="*/ 2147483647 h 2292"/>
                <a:gd name="T30" fmla="*/ 2147483647 w 2226"/>
                <a:gd name="T31" fmla="*/ 2147483647 h 2292"/>
                <a:gd name="T32" fmla="*/ 2147483647 w 2226"/>
                <a:gd name="T33" fmla="*/ 2147483647 h 2292"/>
                <a:gd name="T34" fmla="*/ 2147483647 w 2226"/>
                <a:gd name="T35" fmla="*/ 2147483647 h 2292"/>
                <a:gd name="T36" fmla="*/ 2147483647 w 2226"/>
                <a:gd name="T37" fmla="*/ 2147483647 h 2292"/>
                <a:gd name="T38" fmla="*/ 2147483647 w 2226"/>
                <a:gd name="T39" fmla="*/ 2147483647 h 2292"/>
                <a:gd name="T40" fmla="*/ 2147483647 w 2226"/>
                <a:gd name="T41" fmla="*/ 2147483647 h 2292"/>
                <a:gd name="T42" fmla="*/ 2147483647 w 2226"/>
                <a:gd name="T43" fmla="*/ 2147483647 h 2292"/>
                <a:gd name="T44" fmla="*/ 2147483647 w 2226"/>
                <a:gd name="T45" fmla="*/ 2147483647 h 2292"/>
                <a:gd name="T46" fmla="*/ 2147483647 w 2226"/>
                <a:gd name="T47" fmla="*/ 2147483647 h 2292"/>
                <a:gd name="T48" fmla="*/ 2147483647 w 2226"/>
                <a:gd name="T49" fmla="*/ 2147483647 h 2292"/>
                <a:gd name="T50" fmla="*/ 2147483647 w 2226"/>
                <a:gd name="T51" fmla="*/ 2147483647 h 2292"/>
                <a:gd name="T52" fmla="*/ 2147483647 w 2226"/>
                <a:gd name="T53" fmla="*/ 2147483647 h 2292"/>
                <a:gd name="T54" fmla="*/ 2147483647 w 2226"/>
                <a:gd name="T55" fmla="*/ 2147483647 h 2292"/>
                <a:gd name="T56" fmla="*/ 2147483647 w 2226"/>
                <a:gd name="T57" fmla="*/ 2147483647 h 2292"/>
                <a:gd name="T58" fmla="*/ 2147483647 w 2226"/>
                <a:gd name="T59" fmla="*/ 2147483647 h 2292"/>
                <a:gd name="T60" fmla="*/ 2147483647 w 2226"/>
                <a:gd name="T61" fmla="*/ 2147483647 h 2292"/>
                <a:gd name="T62" fmla="*/ 2147483647 w 2226"/>
                <a:gd name="T63" fmla="*/ 2147483647 h 2292"/>
                <a:gd name="T64" fmla="*/ 2147483647 w 2226"/>
                <a:gd name="T65" fmla="*/ 2147483647 h 2292"/>
                <a:gd name="T66" fmla="*/ 2147483647 w 2226"/>
                <a:gd name="T67" fmla="*/ 2147483647 h 2292"/>
                <a:gd name="T68" fmla="*/ 2147483647 w 2226"/>
                <a:gd name="T69" fmla="*/ 2147483647 h 2292"/>
                <a:gd name="T70" fmla="*/ 2147483647 w 2226"/>
                <a:gd name="T71" fmla="*/ 2147483647 h 2292"/>
                <a:gd name="T72" fmla="*/ 2147483647 w 2226"/>
                <a:gd name="T73" fmla="*/ 2147483647 h 2292"/>
                <a:gd name="T74" fmla="*/ 2147483647 w 2226"/>
                <a:gd name="T75" fmla="*/ 2147483647 h 2292"/>
                <a:gd name="T76" fmla="*/ 2147483647 w 2226"/>
                <a:gd name="T77" fmla="*/ 2147483647 h 2292"/>
                <a:gd name="T78" fmla="*/ 2147483647 w 2226"/>
                <a:gd name="T79" fmla="*/ 2147483647 h 2292"/>
                <a:gd name="T80" fmla="*/ 2147483647 w 2226"/>
                <a:gd name="T81" fmla="*/ 2147483647 h 2292"/>
                <a:gd name="T82" fmla="*/ 2147483647 w 2226"/>
                <a:gd name="T83" fmla="*/ 2147483647 h 2292"/>
                <a:gd name="T84" fmla="*/ 2147483647 w 2226"/>
                <a:gd name="T85" fmla="*/ 2147483647 h 2292"/>
                <a:gd name="T86" fmla="*/ 2147483647 w 2226"/>
                <a:gd name="T87" fmla="*/ 2147483647 h 2292"/>
                <a:gd name="T88" fmla="*/ 2147483647 w 2226"/>
                <a:gd name="T89" fmla="*/ 2147483647 h 2292"/>
                <a:gd name="T90" fmla="*/ 2147483647 w 2226"/>
                <a:gd name="T91" fmla="*/ 2147483647 h 2292"/>
                <a:gd name="T92" fmla="*/ 2147483647 w 2226"/>
                <a:gd name="T93" fmla="*/ 2147483647 h 2292"/>
                <a:gd name="T94" fmla="*/ 2147483647 w 2226"/>
                <a:gd name="T95" fmla="*/ 2147483647 h 2292"/>
                <a:gd name="T96" fmla="*/ 2147483647 w 2226"/>
                <a:gd name="T97" fmla="*/ 0 h 2292"/>
                <a:gd name="T98" fmla="*/ 2147483647 w 2226"/>
                <a:gd name="T99" fmla="*/ 2147483647 h 2292"/>
                <a:gd name="T100" fmla="*/ 2147483647 w 2226"/>
                <a:gd name="T101" fmla="*/ 2147483647 h 2292"/>
                <a:gd name="T102" fmla="*/ 2147483647 w 2226"/>
                <a:gd name="T103" fmla="*/ 2147483647 h 2292"/>
                <a:gd name="T104" fmla="*/ 2147483647 w 2226"/>
                <a:gd name="T105" fmla="*/ 2147483647 h 2292"/>
                <a:gd name="T106" fmla="*/ 2147483647 w 2226"/>
                <a:gd name="T107" fmla="*/ 2147483647 h 2292"/>
                <a:gd name="T108" fmla="*/ 2147483647 w 2226"/>
                <a:gd name="T109" fmla="*/ 2147483647 h 2292"/>
                <a:gd name="T110" fmla="*/ 2147483647 w 2226"/>
                <a:gd name="T111" fmla="*/ 2147483647 h 2292"/>
                <a:gd name="T112" fmla="*/ 2147483647 w 2226"/>
                <a:gd name="T113" fmla="*/ 2147483647 h 2292"/>
                <a:gd name="T114" fmla="*/ 2147483647 w 2226"/>
                <a:gd name="T115" fmla="*/ 2147483647 h 2292"/>
                <a:gd name="T116" fmla="*/ 2147483647 w 2226"/>
                <a:gd name="T117" fmla="*/ 2147483647 h 2292"/>
                <a:gd name="T118" fmla="*/ 2147483647 w 2226"/>
                <a:gd name="T119" fmla="*/ 2147483647 h 2292"/>
                <a:gd name="T120" fmla="*/ 2147483647 w 2226"/>
                <a:gd name="T121" fmla="*/ 2147483647 h 2292"/>
                <a:gd name="T122" fmla="*/ 2147483647 w 2226"/>
                <a:gd name="T123" fmla="*/ 2147483647 h 2292"/>
                <a:gd name="T124" fmla="*/ 2147483647 w 2226"/>
                <a:gd name="T125" fmla="*/ 2147483647 h 229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226" h="2292">
                  <a:moveTo>
                    <a:pt x="233" y="973"/>
                  </a:moveTo>
                  <a:lnTo>
                    <a:pt x="313" y="967"/>
                  </a:lnTo>
                  <a:lnTo>
                    <a:pt x="323" y="963"/>
                  </a:lnTo>
                  <a:lnTo>
                    <a:pt x="332" y="959"/>
                  </a:lnTo>
                  <a:lnTo>
                    <a:pt x="342" y="953"/>
                  </a:lnTo>
                  <a:lnTo>
                    <a:pt x="351" y="948"/>
                  </a:lnTo>
                  <a:lnTo>
                    <a:pt x="368" y="936"/>
                  </a:lnTo>
                  <a:lnTo>
                    <a:pt x="386" y="923"/>
                  </a:lnTo>
                  <a:lnTo>
                    <a:pt x="403" y="911"/>
                  </a:lnTo>
                  <a:lnTo>
                    <a:pt x="421" y="902"/>
                  </a:lnTo>
                  <a:lnTo>
                    <a:pt x="431" y="898"/>
                  </a:lnTo>
                  <a:lnTo>
                    <a:pt x="440" y="896"/>
                  </a:lnTo>
                  <a:lnTo>
                    <a:pt x="449" y="894"/>
                  </a:lnTo>
                  <a:lnTo>
                    <a:pt x="459" y="893"/>
                  </a:lnTo>
                  <a:lnTo>
                    <a:pt x="467" y="894"/>
                  </a:lnTo>
                  <a:lnTo>
                    <a:pt x="474" y="896"/>
                  </a:lnTo>
                  <a:lnTo>
                    <a:pt x="480" y="899"/>
                  </a:lnTo>
                  <a:lnTo>
                    <a:pt x="485" y="902"/>
                  </a:lnTo>
                  <a:lnTo>
                    <a:pt x="489" y="907"/>
                  </a:lnTo>
                  <a:lnTo>
                    <a:pt x="492" y="912"/>
                  </a:lnTo>
                  <a:lnTo>
                    <a:pt x="496" y="918"/>
                  </a:lnTo>
                  <a:lnTo>
                    <a:pt x="498" y="925"/>
                  </a:lnTo>
                  <a:lnTo>
                    <a:pt x="502" y="956"/>
                  </a:lnTo>
                  <a:lnTo>
                    <a:pt x="505" y="985"/>
                  </a:lnTo>
                  <a:lnTo>
                    <a:pt x="509" y="994"/>
                  </a:lnTo>
                  <a:lnTo>
                    <a:pt x="512" y="1001"/>
                  </a:lnTo>
                  <a:lnTo>
                    <a:pt x="515" y="1008"/>
                  </a:lnTo>
                  <a:lnTo>
                    <a:pt x="520" y="1015"/>
                  </a:lnTo>
                  <a:lnTo>
                    <a:pt x="525" y="1022"/>
                  </a:lnTo>
                  <a:lnTo>
                    <a:pt x="531" y="1028"/>
                  </a:lnTo>
                  <a:lnTo>
                    <a:pt x="536" y="1033"/>
                  </a:lnTo>
                  <a:lnTo>
                    <a:pt x="543" y="1038"/>
                  </a:lnTo>
                  <a:lnTo>
                    <a:pt x="549" y="1044"/>
                  </a:lnTo>
                  <a:lnTo>
                    <a:pt x="557" y="1048"/>
                  </a:lnTo>
                  <a:lnTo>
                    <a:pt x="564" y="1051"/>
                  </a:lnTo>
                  <a:lnTo>
                    <a:pt x="572" y="1054"/>
                  </a:lnTo>
                  <a:lnTo>
                    <a:pt x="580" y="1057"/>
                  </a:lnTo>
                  <a:lnTo>
                    <a:pt x="588" y="1058"/>
                  </a:lnTo>
                  <a:lnTo>
                    <a:pt x="597" y="1059"/>
                  </a:lnTo>
                  <a:lnTo>
                    <a:pt x="605" y="1060"/>
                  </a:lnTo>
                  <a:lnTo>
                    <a:pt x="614" y="1060"/>
                  </a:lnTo>
                  <a:lnTo>
                    <a:pt x="625" y="1063"/>
                  </a:lnTo>
                  <a:lnTo>
                    <a:pt x="638" y="1066"/>
                  </a:lnTo>
                  <a:lnTo>
                    <a:pt x="653" y="1071"/>
                  </a:lnTo>
                  <a:lnTo>
                    <a:pt x="668" y="1076"/>
                  </a:lnTo>
                  <a:lnTo>
                    <a:pt x="683" y="1083"/>
                  </a:lnTo>
                  <a:lnTo>
                    <a:pt x="700" y="1090"/>
                  </a:lnTo>
                  <a:lnTo>
                    <a:pt x="716" y="1098"/>
                  </a:lnTo>
                  <a:lnTo>
                    <a:pt x="733" y="1108"/>
                  </a:lnTo>
                  <a:lnTo>
                    <a:pt x="747" y="1116"/>
                  </a:lnTo>
                  <a:lnTo>
                    <a:pt x="761" y="1126"/>
                  </a:lnTo>
                  <a:lnTo>
                    <a:pt x="773" y="1135"/>
                  </a:lnTo>
                  <a:lnTo>
                    <a:pt x="783" y="1144"/>
                  </a:lnTo>
                  <a:lnTo>
                    <a:pt x="791" y="1153"/>
                  </a:lnTo>
                  <a:lnTo>
                    <a:pt x="794" y="1158"/>
                  </a:lnTo>
                  <a:lnTo>
                    <a:pt x="796" y="1162"/>
                  </a:lnTo>
                  <a:lnTo>
                    <a:pt x="798" y="1167"/>
                  </a:lnTo>
                  <a:lnTo>
                    <a:pt x="798" y="1171"/>
                  </a:lnTo>
                  <a:lnTo>
                    <a:pt x="798" y="1190"/>
                  </a:lnTo>
                  <a:lnTo>
                    <a:pt x="798" y="1204"/>
                  </a:lnTo>
                  <a:lnTo>
                    <a:pt x="798" y="1214"/>
                  </a:lnTo>
                  <a:lnTo>
                    <a:pt x="798" y="1220"/>
                  </a:lnTo>
                  <a:lnTo>
                    <a:pt x="799" y="1229"/>
                  </a:lnTo>
                  <a:lnTo>
                    <a:pt x="803" y="1242"/>
                  </a:lnTo>
                  <a:lnTo>
                    <a:pt x="806" y="1249"/>
                  </a:lnTo>
                  <a:lnTo>
                    <a:pt x="810" y="1256"/>
                  </a:lnTo>
                  <a:lnTo>
                    <a:pt x="814" y="1263"/>
                  </a:lnTo>
                  <a:lnTo>
                    <a:pt x="818" y="1271"/>
                  </a:lnTo>
                  <a:lnTo>
                    <a:pt x="824" y="1277"/>
                  </a:lnTo>
                  <a:lnTo>
                    <a:pt x="830" y="1283"/>
                  </a:lnTo>
                  <a:lnTo>
                    <a:pt x="838" y="1288"/>
                  </a:lnTo>
                  <a:lnTo>
                    <a:pt x="846" y="1292"/>
                  </a:lnTo>
                  <a:lnTo>
                    <a:pt x="854" y="1295"/>
                  </a:lnTo>
                  <a:lnTo>
                    <a:pt x="863" y="1296"/>
                  </a:lnTo>
                  <a:lnTo>
                    <a:pt x="873" y="1296"/>
                  </a:lnTo>
                  <a:lnTo>
                    <a:pt x="884" y="1294"/>
                  </a:lnTo>
                  <a:lnTo>
                    <a:pt x="917" y="1294"/>
                  </a:lnTo>
                  <a:lnTo>
                    <a:pt x="918" y="1306"/>
                  </a:lnTo>
                  <a:lnTo>
                    <a:pt x="919" y="1317"/>
                  </a:lnTo>
                  <a:lnTo>
                    <a:pt x="923" y="1328"/>
                  </a:lnTo>
                  <a:lnTo>
                    <a:pt x="926" y="1336"/>
                  </a:lnTo>
                  <a:lnTo>
                    <a:pt x="929" y="1343"/>
                  </a:lnTo>
                  <a:lnTo>
                    <a:pt x="935" y="1349"/>
                  </a:lnTo>
                  <a:lnTo>
                    <a:pt x="939" y="1355"/>
                  </a:lnTo>
                  <a:lnTo>
                    <a:pt x="944" y="1360"/>
                  </a:lnTo>
                  <a:lnTo>
                    <a:pt x="953" y="1371"/>
                  </a:lnTo>
                  <a:lnTo>
                    <a:pt x="962" y="1385"/>
                  </a:lnTo>
                  <a:lnTo>
                    <a:pt x="965" y="1392"/>
                  </a:lnTo>
                  <a:lnTo>
                    <a:pt x="969" y="1401"/>
                  </a:lnTo>
                  <a:lnTo>
                    <a:pt x="970" y="1411"/>
                  </a:lnTo>
                  <a:lnTo>
                    <a:pt x="971" y="1423"/>
                  </a:lnTo>
                  <a:lnTo>
                    <a:pt x="970" y="1434"/>
                  </a:lnTo>
                  <a:lnTo>
                    <a:pt x="968" y="1443"/>
                  </a:lnTo>
                  <a:lnTo>
                    <a:pt x="964" y="1452"/>
                  </a:lnTo>
                  <a:lnTo>
                    <a:pt x="961" y="1459"/>
                  </a:lnTo>
                  <a:lnTo>
                    <a:pt x="957" y="1466"/>
                  </a:lnTo>
                  <a:lnTo>
                    <a:pt x="953" y="1474"/>
                  </a:lnTo>
                  <a:lnTo>
                    <a:pt x="951" y="1482"/>
                  </a:lnTo>
                  <a:lnTo>
                    <a:pt x="951" y="1491"/>
                  </a:lnTo>
                  <a:lnTo>
                    <a:pt x="951" y="1498"/>
                  </a:lnTo>
                  <a:lnTo>
                    <a:pt x="952" y="1503"/>
                  </a:lnTo>
                  <a:lnTo>
                    <a:pt x="953" y="1509"/>
                  </a:lnTo>
                  <a:lnTo>
                    <a:pt x="955" y="1513"/>
                  </a:lnTo>
                  <a:lnTo>
                    <a:pt x="959" y="1521"/>
                  </a:lnTo>
                  <a:lnTo>
                    <a:pt x="964" y="1527"/>
                  </a:lnTo>
                  <a:lnTo>
                    <a:pt x="969" y="1533"/>
                  </a:lnTo>
                  <a:lnTo>
                    <a:pt x="973" y="1537"/>
                  </a:lnTo>
                  <a:lnTo>
                    <a:pt x="976" y="1541"/>
                  </a:lnTo>
                  <a:lnTo>
                    <a:pt x="978" y="1547"/>
                  </a:lnTo>
                  <a:lnTo>
                    <a:pt x="979" y="1555"/>
                  </a:lnTo>
                  <a:lnTo>
                    <a:pt x="979" y="1564"/>
                  </a:lnTo>
                  <a:lnTo>
                    <a:pt x="979" y="1572"/>
                  </a:lnTo>
                  <a:lnTo>
                    <a:pt x="978" y="1580"/>
                  </a:lnTo>
                  <a:lnTo>
                    <a:pt x="976" y="1588"/>
                  </a:lnTo>
                  <a:lnTo>
                    <a:pt x="975" y="1596"/>
                  </a:lnTo>
                  <a:lnTo>
                    <a:pt x="975" y="1605"/>
                  </a:lnTo>
                  <a:lnTo>
                    <a:pt x="978" y="1614"/>
                  </a:lnTo>
                  <a:lnTo>
                    <a:pt x="981" y="1621"/>
                  </a:lnTo>
                  <a:lnTo>
                    <a:pt x="985" y="1627"/>
                  </a:lnTo>
                  <a:lnTo>
                    <a:pt x="992" y="1632"/>
                  </a:lnTo>
                  <a:lnTo>
                    <a:pt x="998" y="1637"/>
                  </a:lnTo>
                  <a:lnTo>
                    <a:pt x="1016" y="1645"/>
                  </a:lnTo>
                  <a:lnTo>
                    <a:pt x="1036" y="1653"/>
                  </a:lnTo>
                  <a:lnTo>
                    <a:pt x="1057" y="1661"/>
                  </a:lnTo>
                  <a:lnTo>
                    <a:pt x="1077" y="1669"/>
                  </a:lnTo>
                  <a:lnTo>
                    <a:pt x="1086" y="1673"/>
                  </a:lnTo>
                  <a:lnTo>
                    <a:pt x="1095" y="1678"/>
                  </a:lnTo>
                  <a:lnTo>
                    <a:pt x="1104" y="1682"/>
                  </a:lnTo>
                  <a:lnTo>
                    <a:pt x="1110" y="1688"/>
                  </a:lnTo>
                  <a:lnTo>
                    <a:pt x="1116" y="1692"/>
                  </a:lnTo>
                  <a:lnTo>
                    <a:pt x="1124" y="1695"/>
                  </a:lnTo>
                  <a:lnTo>
                    <a:pt x="1131" y="1698"/>
                  </a:lnTo>
                  <a:lnTo>
                    <a:pt x="1140" y="1700"/>
                  </a:lnTo>
                  <a:lnTo>
                    <a:pt x="1149" y="1702"/>
                  </a:lnTo>
                  <a:lnTo>
                    <a:pt x="1157" y="1705"/>
                  </a:lnTo>
                  <a:lnTo>
                    <a:pt x="1164" y="1708"/>
                  </a:lnTo>
                  <a:lnTo>
                    <a:pt x="1170" y="1713"/>
                  </a:lnTo>
                  <a:lnTo>
                    <a:pt x="1176" y="1721"/>
                  </a:lnTo>
                  <a:lnTo>
                    <a:pt x="1181" y="1729"/>
                  </a:lnTo>
                  <a:lnTo>
                    <a:pt x="1185" y="1739"/>
                  </a:lnTo>
                  <a:lnTo>
                    <a:pt x="1187" y="1749"/>
                  </a:lnTo>
                  <a:lnTo>
                    <a:pt x="1189" y="1772"/>
                  </a:lnTo>
                  <a:lnTo>
                    <a:pt x="1192" y="1794"/>
                  </a:lnTo>
                  <a:lnTo>
                    <a:pt x="1193" y="1805"/>
                  </a:lnTo>
                  <a:lnTo>
                    <a:pt x="1195" y="1815"/>
                  </a:lnTo>
                  <a:lnTo>
                    <a:pt x="1198" y="1825"/>
                  </a:lnTo>
                  <a:lnTo>
                    <a:pt x="1204" y="1832"/>
                  </a:lnTo>
                  <a:lnTo>
                    <a:pt x="1207" y="1836"/>
                  </a:lnTo>
                  <a:lnTo>
                    <a:pt x="1210" y="1839"/>
                  </a:lnTo>
                  <a:lnTo>
                    <a:pt x="1214" y="1842"/>
                  </a:lnTo>
                  <a:lnTo>
                    <a:pt x="1219" y="1844"/>
                  </a:lnTo>
                  <a:lnTo>
                    <a:pt x="1224" y="1846"/>
                  </a:lnTo>
                  <a:lnTo>
                    <a:pt x="1229" y="1847"/>
                  </a:lnTo>
                  <a:lnTo>
                    <a:pt x="1236" y="1848"/>
                  </a:lnTo>
                  <a:lnTo>
                    <a:pt x="1243" y="1848"/>
                  </a:lnTo>
                  <a:lnTo>
                    <a:pt x="1243" y="1864"/>
                  </a:lnTo>
                  <a:lnTo>
                    <a:pt x="1243" y="1879"/>
                  </a:lnTo>
                  <a:lnTo>
                    <a:pt x="1243" y="1891"/>
                  </a:lnTo>
                  <a:lnTo>
                    <a:pt x="1243" y="1904"/>
                  </a:lnTo>
                  <a:lnTo>
                    <a:pt x="1243" y="1921"/>
                  </a:lnTo>
                  <a:lnTo>
                    <a:pt x="1243" y="1942"/>
                  </a:lnTo>
                  <a:lnTo>
                    <a:pt x="1243" y="1961"/>
                  </a:lnTo>
                  <a:lnTo>
                    <a:pt x="1243" y="1971"/>
                  </a:lnTo>
                  <a:lnTo>
                    <a:pt x="1232" y="1974"/>
                  </a:lnTo>
                  <a:lnTo>
                    <a:pt x="1221" y="1979"/>
                  </a:lnTo>
                  <a:lnTo>
                    <a:pt x="1208" y="1985"/>
                  </a:lnTo>
                  <a:lnTo>
                    <a:pt x="1196" y="1994"/>
                  </a:lnTo>
                  <a:lnTo>
                    <a:pt x="1183" y="2003"/>
                  </a:lnTo>
                  <a:lnTo>
                    <a:pt x="1170" y="2013"/>
                  </a:lnTo>
                  <a:lnTo>
                    <a:pt x="1157" y="2023"/>
                  </a:lnTo>
                  <a:lnTo>
                    <a:pt x="1143" y="2034"/>
                  </a:lnTo>
                  <a:lnTo>
                    <a:pt x="1131" y="2047"/>
                  </a:lnTo>
                  <a:lnTo>
                    <a:pt x="1120" y="2059"/>
                  </a:lnTo>
                  <a:lnTo>
                    <a:pt x="1109" y="2070"/>
                  </a:lnTo>
                  <a:lnTo>
                    <a:pt x="1101" y="2082"/>
                  </a:lnTo>
                  <a:lnTo>
                    <a:pt x="1094" y="2094"/>
                  </a:lnTo>
                  <a:lnTo>
                    <a:pt x="1088" y="2106"/>
                  </a:lnTo>
                  <a:lnTo>
                    <a:pt x="1085" y="2116"/>
                  </a:lnTo>
                  <a:lnTo>
                    <a:pt x="1084" y="2125"/>
                  </a:lnTo>
                  <a:lnTo>
                    <a:pt x="1084" y="2128"/>
                  </a:lnTo>
                  <a:lnTo>
                    <a:pt x="1086" y="2130"/>
                  </a:lnTo>
                  <a:lnTo>
                    <a:pt x="1088" y="2132"/>
                  </a:lnTo>
                  <a:lnTo>
                    <a:pt x="1092" y="2133"/>
                  </a:lnTo>
                  <a:lnTo>
                    <a:pt x="1101" y="2137"/>
                  </a:lnTo>
                  <a:lnTo>
                    <a:pt x="1110" y="2139"/>
                  </a:lnTo>
                  <a:lnTo>
                    <a:pt x="1131" y="2142"/>
                  </a:lnTo>
                  <a:lnTo>
                    <a:pt x="1143" y="2144"/>
                  </a:lnTo>
                  <a:lnTo>
                    <a:pt x="1151" y="2145"/>
                  </a:lnTo>
                  <a:lnTo>
                    <a:pt x="1158" y="2147"/>
                  </a:lnTo>
                  <a:lnTo>
                    <a:pt x="1163" y="2150"/>
                  </a:lnTo>
                  <a:lnTo>
                    <a:pt x="1169" y="2153"/>
                  </a:lnTo>
                  <a:lnTo>
                    <a:pt x="1180" y="2161"/>
                  </a:lnTo>
                  <a:lnTo>
                    <a:pt x="1189" y="2170"/>
                  </a:lnTo>
                  <a:lnTo>
                    <a:pt x="1200" y="2178"/>
                  </a:lnTo>
                  <a:lnTo>
                    <a:pt x="1210" y="2186"/>
                  </a:lnTo>
                  <a:lnTo>
                    <a:pt x="1216" y="2190"/>
                  </a:lnTo>
                  <a:lnTo>
                    <a:pt x="1222" y="2193"/>
                  </a:lnTo>
                  <a:lnTo>
                    <a:pt x="1229" y="2197"/>
                  </a:lnTo>
                  <a:lnTo>
                    <a:pt x="1237" y="2199"/>
                  </a:lnTo>
                  <a:lnTo>
                    <a:pt x="1248" y="2203"/>
                  </a:lnTo>
                  <a:lnTo>
                    <a:pt x="1258" y="2208"/>
                  </a:lnTo>
                  <a:lnTo>
                    <a:pt x="1267" y="2214"/>
                  </a:lnTo>
                  <a:lnTo>
                    <a:pt x="1277" y="2220"/>
                  </a:lnTo>
                  <a:lnTo>
                    <a:pt x="1296" y="2234"/>
                  </a:lnTo>
                  <a:lnTo>
                    <a:pt x="1312" y="2248"/>
                  </a:lnTo>
                  <a:lnTo>
                    <a:pt x="1327" y="2262"/>
                  </a:lnTo>
                  <a:lnTo>
                    <a:pt x="1340" y="2275"/>
                  </a:lnTo>
                  <a:lnTo>
                    <a:pt x="1352" y="2285"/>
                  </a:lnTo>
                  <a:lnTo>
                    <a:pt x="1363" y="2292"/>
                  </a:lnTo>
                  <a:lnTo>
                    <a:pt x="1370" y="2276"/>
                  </a:lnTo>
                  <a:lnTo>
                    <a:pt x="1377" y="2261"/>
                  </a:lnTo>
                  <a:lnTo>
                    <a:pt x="1385" y="2248"/>
                  </a:lnTo>
                  <a:lnTo>
                    <a:pt x="1394" y="2235"/>
                  </a:lnTo>
                  <a:lnTo>
                    <a:pt x="1401" y="2223"/>
                  </a:lnTo>
                  <a:lnTo>
                    <a:pt x="1410" y="2210"/>
                  </a:lnTo>
                  <a:lnTo>
                    <a:pt x="1419" y="2198"/>
                  </a:lnTo>
                  <a:lnTo>
                    <a:pt x="1429" y="2187"/>
                  </a:lnTo>
                  <a:lnTo>
                    <a:pt x="1439" y="2160"/>
                  </a:lnTo>
                  <a:lnTo>
                    <a:pt x="1449" y="2138"/>
                  </a:lnTo>
                  <a:lnTo>
                    <a:pt x="1459" y="2116"/>
                  </a:lnTo>
                  <a:lnTo>
                    <a:pt x="1468" y="2088"/>
                  </a:lnTo>
                  <a:lnTo>
                    <a:pt x="1472" y="2082"/>
                  </a:lnTo>
                  <a:lnTo>
                    <a:pt x="1476" y="2076"/>
                  </a:lnTo>
                  <a:lnTo>
                    <a:pt x="1480" y="2070"/>
                  </a:lnTo>
                  <a:lnTo>
                    <a:pt x="1485" y="2065"/>
                  </a:lnTo>
                  <a:lnTo>
                    <a:pt x="1496" y="2055"/>
                  </a:lnTo>
                  <a:lnTo>
                    <a:pt x="1507" y="2046"/>
                  </a:lnTo>
                  <a:lnTo>
                    <a:pt x="1518" y="2036"/>
                  </a:lnTo>
                  <a:lnTo>
                    <a:pt x="1527" y="2026"/>
                  </a:lnTo>
                  <a:lnTo>
                    <a:pt x="1530" y="2021"/>
                  </a:lnTo>
                  <a:lnTo>
                    <a:pt x="1533" y="2015"/>
                  </a:lnTo>
                  <a:lnTo>
                    <a:pt x="1534" y="2009"/>
                  </a:lnTo>
                  <a:lnTo>
                    <a:pt x="1535" y="2002"/>
                  </a:lnTo>
                  <a:lnTo>
                    <a:pt x="1535" y="1993"/>
                  </a:lnTo>
                  <a:lnTo>
                    <a:pt x="1534" y="1984"/>
                  </a:lnTo>
                  <a:lnTo>
                    <a:pt x="1532" y="1975"/>
                  </a:lnTo>
                  <a:lnTo>
                    <a:pt x="1530" y="1966"/>
                  </a:lnTo>
                  <a:lnTo>
                    <a:pt x="1524" y="1950"/>
                  </a:lnTo>
                  <a:lnTo>
                    <a:pt x="1519" y="1934"/>
                  </a:lnTo>
                  <a:lnTo>
                    <a:pt x="1512" y="1918"/>
                  </a:lnTo>
                  <a:lnTo>
                    <a:pt x="1507" y="1904"/>
                  </a:lnTo>
                  <a:lnTo>
                    <a:pt x="1504" y="1891"/>
                  </a:lnTo>
                  <a:lnTo>
                    <a:pt x="1502" y="1879"/>
                  </a:lnTo>
                  <a:lnTo>
                    <a:pt x="1502" y="1873"/>
                  </a:lnTo>
                  <a:lnTo>
                    <a:pt x="1504" y="1867"/>
                  </a:lnTo>
                  <a:lnTo>
                    <a:pt x="1506" y="1861"/>
                  </a:lnTo>
                  <a:lnTo>
                    <a:pt x="1508" y="1855"/>
                  </a:lnTo>
                  <a:lnTo>
                    <a:pt x="1514" y="1843"/>
                  </a:lnTo>
                  <a:lnTo>
                    <a:pt x="1523" y="1830"/>
                  </a:lnTo>
                  <a:lnTo>
                    <a:pt x="1534" y="1817"/>
                  </a:lnTo>
                  <a:lnTo>
                    <a:pt x="1547" y="1805"/>
                  </a:lnTo>
                  <a:lnTo>
                    <a:pt x="1561" y="1793"/>
                  </a:lnTo>
                  <a:lnTo>
                    <a:pt x="1576" y="1782"/>
                  </a:lnTo>
                  <a:lnTo>
                    <a:pt x="1591" y="1772"/>
                  </a:lnTo>
                  <a:lnTo>
                    <a:pt x="1608" y="1761"/>
                  </a:lnTo>
                  <a:lnTo>
                    <a:pt x="1623" y="1753"/>
                  </a:lnTo>
                  <a:lnTo>
                    <a:pt x="1640" y="1745"/>
                  </a:lnTo>
                  <a:lnTo>
                    <a:pt x="1655" y="1739"/>
                  </a:lnTo>
                  <a:lnTo>
                    <a:pt x="1669" y="1735"/>
                  </a:lnTo>
                  <a:lnTo>
                    <a:pt x="1682" y="1732"/>
                  </a:lnTo>
                  <a:lnTo>
                    <a:pt x="1695" y="1731"/>
                  </a:lnTo>
                  <a:lnTo>
                    <a:pt x="1699" y="1731"/>
                  </a:lnTo>
                  <a:lnTo>
                    <a:pt x="1702" y="1729"/>
                  </a:lnTo>
                  <a:lnTo>
                    <a:pt x="1706" y="1727"/>
                  </a:lnTo>
                  <a:lnTo>
                    <a:pt x="1709" y="1725"/>
                  </a:lnTo>
                  <a:lnTo>
                    <a:pt x="1717" y="1718"/>
                  </a:lnTo>
                  <a:lnTo>
                    <a:pt x="1724" y="1709"/>
                  </a:lnTo>
                  <a:lnTo>
                    <a:pt x="1733" y="1701"/>
                  </a:lnTo>
                  <a:lnTo>
                    <a:pt x="1743" y="1694"/>
                  </a:lnTo>
                  <a:lnTo>
                    <a:pt x="1748" y="1692"/>
                  </a:lnTo>
                  <a:lnTo>
                    <a:pt x="1754" y="1690"/>
                  </a:lnTo>
                  <a:lnTo>
                    <a:pt x="1760" y="1688"/>
                  </a:lnTo>
                  <a:lnTo>
                    <a:pt x="1768" y="1688"/>
                  </a:lnTo>
                  <a:lnTo>
                    <a:pt x="1779" y="1684"/>
                  </a:lnTo>
                  <a:lnTo>
                    <a:pt x="1789" y="1682"/>
                  </a:lnTo>
                  <a:lnTo>
                    <a:pt x="1798" y="1681"/>
                  </a:lnTo>
                  <a:lnTo>
                    <a:pt x="1807" y="1680"/>
                  </a:lnTo>
                  <a:lnTo>
                    <a:pt x="1820" y="1681"/>
                  </a:lnTo>
                  <a:lnTo>
                    <a:pt x="1834" y="1682"/>
                  </a:lnTo>
                  <a:lnTo>
                    <a:pt x="1854" y="1681"/>
                  </a:lnTo>
                  <a:lnTo>
                    <a:pt x="1868" y="1679"/>
                  </a:lnTo>
                  <a:lnTo>
                    <a:pt x="1874" y="1678"/>
                  </a:lnTo>
                  <a:lnTo>
                    <a:pt x="1878" y="1676"/>
                  </a:lnTo>
                  <a:lnTo>
                    <a:pt x="1882" y="1673"/>
                  </a:lnTo>
                  <a:lnTo>
                    <a:pt x="1885" y="1670"/>
                  </a:lnTo>
                  <a:lnTo>
                    <a:pt x="1890" y="1663"/>
                  </a:lnTo>
                  <a:lnTo>
                    <a:pt x="1893" y="1653"/>
                  </a:lnTo>
                  <a:lnTo>
                    <a:pt x="1897" y="1641"/>
                  </a:lnTo>
                  <a:lnTo>
                    <a:pt x="1901" y="1626"/>
                  </a:lnTo>
                  <a:lnTo>
                    <a:pt x="1927" y="1571"/>
                  </a:lnTo>
                  <a:lnTo>
                    <a:pt x="1939" y="1553"/>
                  </a:lnTo>
                  <a:lnTo>
                    <a:pt x="1949" y="1535"/>
                  </a:lnTo>
                  <a:lnTo>
                    <a:pt x="1959" y="1518"/>
                  </a:lnTo>
                  <a:lnTo>
                    <a:pt x="1967" y="1500"/>
                  </a:lnTo>
                  <a:lnTo>
                    <a:pt x="1972" y="1480"/>
                  </a:lnTo>
                  <a:lnTo>
                    <a:pt x="1977" y="1460"/>
                  </a:lnTo>
                  <a:lnTo>
                    <a:pt x="1980" y="1437"/>
                  </a:lnTo>
                  <a:lnTo>
                    <a:pt x="1980" y="1411"/>
                  </a:lnTo>
                  <a:lnTo>
                    <a:pt x="1981" y="1405"/>
                  </a:lnTo>
                  <a:lnTo>
                    <a:pt x="1982" y="1400"/>
                  </a:lnTo>
                  <a:lnTo>
                    <a:pt x="1983" y="1395"/>
                  </a:lnTo>
                  <a:lnTo>
                    <a:pt x="1986" y="1391"/>
                  </a:lnTo>
                  <a:lnTo>
                    <a:pt x="1991" y="1382"/>
                  </a:lnTo>
                  <a:lnTo>
                    <a:pt x="1997" y="1372"/>
                  </a:lnTo>
                  <a:lnTo>
                    <a:pt x="2003" y="1364"/>
                  </a:lnTo>
                  <a:lnTo>
                    <a:pt x="2009" y="1354"/>
                  </a:lnTo>
                  <a:lnTo>
                    <a:pt x="2011" y="1349"/>
                  </a:lnTo>
                  <a:lnTo>
                    <a:pt x="2012" y="1343"/>
                  </a:lnTo>
                  <a:lnTo>
                    <a:pt x="2013" y="1337"/>
                  </a:lnTo>
                  <a:lnTo>
                    <a:pt x="2014" y="1331"/>
                  </a:lnTo>
                  <a:lnTo>
                    <a:pt x="2014" y="1307"/>
                  </a:lnTo>
                  <a:lnTo>
                    <a:pt x="2014" y="1288"/>
                  </a:lnTo>
                  <a:lnTo>
                    <a:pt x="2014" y="1271"/>
                  </a:lnTo>
                  <a:lnTo>
                    <a:pt x="2014" y="1250"/>
                  </a:lnTo>
                  <a:lnTo>
                    <a:pt x="2011" y="1223"/>
                  </a:lnTo>
                  <a:lnTo>
                    <a:pt x="2004" y="1185"/>
                  </a:lnTo>
                  <a:lnTo>
                    <a:pt x="2000" y="1165"/>
                  </a:lnTo>
                  <a:lnTo>
                    <a:pt x="1997" y="1145"/>
                  </a:lnTo>
                  <a:lnTo>
                    <a:pt x="1994" y="1129"/>
                  </a:lnTo>
                  <a:lnTo>
                    <a:pt x="1993" y="1115"/>
                  </a:lnTo>
                  <a:lnTo>
                    <a:pt x="1994" y="1108"/>
                  </a:lnTo>
                  <a:lnTo>
                    <a:pt x="1997" y="1102"/>
                  </a:lnTo>
                  <a:lnTo>
                    <a:pt x="1999" y="1096"/>
                  </a:lnTo>
                  <a:lnTo>
                    <a:pt x="2002" y="1090"/>
                  </a:lnTo>
                  <a:lnTo>
                    <a:pt x="2006" y="1085"/>
                  </a:lnTo>
                  <a:lnTo>
                    <a:pt x="2012" y="1081"/>
                  </a:lnTo>
                  <a:lnTo>
                    <a:pt x="2017" y="1077"/>
                  </a:lnTo>
                  <a:lnTo>
                    <a:pt x="2023" y="1073"/>
                  </a:lnTo>
                  <a:lnTo>
                    <a:pt x="2035" y="1067"/>
                  </a:lnTo>
                  <a:lnTo>
                    <a:pt x="2047" y="1063"/>
                  </a:lnTo>
                  <a:lnTo>
                    <a:pt x="2058" y="1060"/>
                  </a:lnTo>
                  <a:lnTo>
                    <a:pt x="2067" y="1060"/>
                  </a:lnTo>
                  <a:lnTo>
                    <a:pt x="2067" y="1046"/>
                  </a:lnTo>
                  <a:lnTo>
                    <a:pt x="2069" y="1032"/>
                  </a:lnTo>
                  <a:lnTo>
                    <a:pt x="2071" y="1020"/>
                  </a:lnTo>
                  <a:lnTo>
                    <a:pt x="2073" y="1009"/>
                  </a:lnTo>
                  <a:lnTo>
                    <a:pt x="2078" y="999"/>
                  </a:lnTo>
                  <a:lnTo>
                    <a:pt x="2081" y="990"/>
                  </a:lnTo>
                  <a:lnTo>
                    <a:pt x="2087" y="980"/>
                  </a:lnTo>
                  <a:lnTo>
                    <a:pt x="2092" y="972"/>
                  </a:lnTo>
                  <a:lnTo>
                    <a:pt x="2104" y="956"/>
                  </a:lnTo>
                  <a:lnTo>
                    <a:pt x="2117" y="943"/>
                  </a:lnTo>
                  <a:lnTo>
                    <a:pt x="2132" y="929"/>
                  </a:lnTo>
                  <a:lnTo>
                    <a:pt x="2147" y="917"/>
                  </a:lnTo>
                  <a:lnTo>
                    <a:pt x="2161" y="904"/>
                  </a:lnTo>
                  <a:lnTo>
                    <a:pt x="2175" y="891"/>
                  </a:lnTo>
                  <a:lnTo>
                    <a:pt x="2183" y="885"/>
                  </a:lnTo>
                  <a:lnTo>
                    <a:pt x="2190" y="877"/>
                  </a:lnTo>
                  <a:lnTo>
                    <a:pt x="2195" y="869"/>
                  </a:lnTo>
                  <a:lnTo>
                    <a:pt x="2202" y="861"/>
                  </a:lnTo>
                  <a:lnTo>
                    <a:pt x="2206" y="852"/>
                  </a:lnTo>
                  <a:lnTo>
                    <a:pt x="2212" y="843"/>
                  </a:lnTo>
                  <a:lnTo>
                    <a:pt x="2216" y="833"/>
                  </a:lnTo>
                  <a:lnTo>
                    <a:pt x="2219" y="822"/>
                  </a:lnTo>
                  <a:lnTo>
                    <a:pt x="2223" y="810"/>
                  </a:lnTo>
                  <a:lnTo>
                    <a:pt x="2225" y="798"/>
                  </a:lnTo>
                  <a:lnTo>
                    <a:pt x="2226" y="784"/>
                  </a:lnTo>
                  <a:lnTo>
                    <a:pt x="2226" y="770"/>
                  </a:lnTo>
                  <a:lnTo>
                    <a:pt x="2225" y="752"/>
                  </a:lnTo>
                  <a:lnTo>
                    <a:pt x="2222" y="732"/>
                  </a:lnTo>
                  <a:lnTo>
                    <a:pt x="2217" y="711"/>
                  </a:lnTo>
                  <a:lnTo>
                    <a:pt x="2212" y="689"/>
                  </a:lnTo>
                  <a:lnTo>
                    <a:pt x="2205" y="668"/>
                  </a:lnTo>
                  <a:lnTo>
                    <a:pt x="2199" y="649"/>
                  </a:lnTo>
                  <a:lnTo>
                    <a:pt x="2192" y="633"/>
                  </a:lnTo>
                  <a:lnTo>
                    <a:pt x="2186" y="622"/>
                  </a:lnTo>
                  <a:lnTo>
                    <a:pt x="2182" y="614"/>
                  </a:lnTo>
                  <a:lnTo>
                    <a:pt x="2178" y="608"/>
                  </a:lnTo>
                  <a:lnTo>
                    <a:pt x="2173" y="604"/>
                  </a:lnTo>
                  <a:lnTo>
                    <a:pt x="2168" y="601"/>
                  </a:lnTo>
                  <a:lnTo>
                    <a:pt x="2163" y="600"/>
                  </a:lnTo>
                  <a:lnTo>
                    <a:pt x="2157" y="599"/>
                  </a:lnTo>
                  <a:lnTo>
                    <a:pt x="2151" y="600"/>
                  </a:lnTo>
                  <a:lnTo>
                    <a:pt x="2146" y="601"/>
                  </a:lnTo>
                  <a:lnTo>
                    <a:pt x="2134" y="603"/>
                  </a:lnTo>
                  <a:lnTo>
                    <a:pt x="2122" y="605"/>
                  </a:lnTo>
                  <a:lnTo>
                    <a:pt x="2116" y="605"/>
                  </a:lnTo>
                  <a:lnTo>
                    <a:pt x="2111" y="604"/>
                  </a:lnTo>
                  <a:lnTo>
                    <a:pt x="2105" y="602"/>
                  </a:lnTo>
                  <a:lnTo>
                    <a:pt x="2100" y="597"/>
                  </a:lnTo>
                  <a:lnTo>
                    <a:pt x="2089" y="590"/>
                  </a:lnTo>
                  <a:lnTo>
                    <a:pt x="2079" y="582"/>
                  </a:lnTo>
                  <a:lnTo>
                    <a:pt x="2069" y="573"/>
                  </a:lnTo>
                  <a:lnTo>
                    <a:pt x="2059" y="563"/>
                  </a:lnTo>
                  <a:lnTo>
                    <a:pt x="2039" y="540"/>
                  </a:lnTo>
                  <a:lnTo>
                    <a:pt x="2021" y="518"/>
                  </a:lnTo>
                  <a:lnTo>
                    <a:pt x="2010" y="507"/>
                  </a:lnTo>
                  <a:lnTo>
                    <a:pt x="2000" y="497"/>
                  </a:lnTo>
                  <a:lnTo>
                    <a:pt x="1989" y="488"/>
                  </a:lnTo>
                  <a:lnTo>
                    <a:pt x="1977" y="478"/>
                  </a:lnTo>
                  <a:lnTo>
                    <a:pt x="1965" y="471"/>
                  </a:lnTo>
                  <a:lnTo>
                    <a:pt x="1950" y="466"/>
                  </a:lnTo>
                  <a:lnTo>
                    <a:pt x="1944" y="464"/>
                  </a:lnTo>
                  <a:lnTo>
                    <a:pt x="1936" y="463"/>
                  </a:lnTo>
                  <a:lnTo>
                    <a:pt x="1928" y="462"/>
                  </a:lnTo>
                  <a:lnTo>
                    <a:pt x="1921" y="462"/>
                  </a:lnTo>
                  <a:lnTo>
                    <a:pt x="1898" y="462"/>
                  </a:lnTo>
                  <a:lnTo>
                    <a:pt x="1878" y="462"/>
                  </a:lnTo>
                  <a:lnTo>
                    <a:pt x="1860" y="462"/>
                  </a:lnTo>
                  <a:lnTo>
                    <a:pt x="1841" y="462"/>
                  </a:lnTo>
                  <a:lnTo>
                    <a:pt x="1826" y="461"/>
                  </a:lnTo>
                  <a:lnTo>
                    <a:pt x="1814" y="460"/>
                  </a:lnTo>
                  <a:lnTo>
                    <a:pt x="1802" y="458"/>
                  </a:lnTo>
                  <a:lnTo>
                    <a:pt x="1791" y="456"/>
                  </a:lnTo>
                  <a:lnTo>
                    <a:pt x="1780" y="453"/>
                  </a:lnTo>
                  <a:lnTo>
                    <a:pt x="1768" y="451"/>
                  </a:lnTo>
                  <a:lnTo>
                    <a:pt x="1755" y="450"/>
                  </a:lnTo>
                  <a:lnTo>
                    <a:pt x="1742" y="450"/>
                  </a:lnTo>
                  <a:lnTo>
                    <a:pt x="1725" y="450"/>
                  </a:lnTo>
                  <a:lnTo>
                    <a:pt x="1713" y="452"/>
                  </a:lnTo>
                  <a:lnTo>
                    <a:pt x="1703" y="454"/>
                  </a:lnTo>
                  <a:lnTo>
                    <a:pt x="1696" y="458"/>
                  </a:lnTo>
                  <a:lnTo>
                    <a:pt x="1689" y="462"/>
                  </a:lnTo>
                  <a:lnTo>
                    <a:pt x="1685" y="467"/>
                  </a:lnTo>
                  <a:lnTo>
                    <a:pt x="1679" y="473"/>
                  </a:lnTo>
                  <a:lnTo>
                    <a:pt x="1675" y="480"/>
                  </a:lnTo>
                  <a:lnTo>
                    <a:pt x="1672" y="471"/>
                  </a:lnTo>
                  <a:lnTo>
                    <a:pt x="1669" y="462"/>
                  </a:lnTo>
                  <a:lnTo>
                    <a:pt x="1669" y="454"/>
                  </a:lnTo>
                  <a:lnTo>
                    <a:pt x="1670" y="447"/>
                  </a:lnTo>
                  <a:lnTo>
                    <a:pt x="1673" y="436"/>
                  </a:lnTo>
                  <a:lnTo>
                    <a:pt x="1675" y="430"/>
                  </a:lnTo>
                  <a:lnTo>
                    <a:pt x="1675" y="426"/>
                  </a:lnTo>
                  <a:lnTo>
                    <a:pt x="1673" y="421"/>
                  </a:lnTo>
                  <a:lnTo>
                    <a:pt x="1670" y="417"/>
                  </a:lnTo>
                  <a:lnTo>
                    <a:pt x="1668" y="413"/>
                  </a:lnTo>
                  <a:lnTo>
                    <a:pt x="1664" y="406"/>
                  </a:lnTo>
                  <a:lnTo>
                    <a:pt x="1662" y="400"/>
                  </a:lnTo>
                  <a:lnTo>
                    <a:pt x="1655" y="400"/>
                  </a:lnTo>
                  <a:lnTo>
                    <a:pt x="1648" y="398"/>
                  </a:lnTo>
                  <a:lnTo>
                    <a:pt x="1643" y="396"/>
                  </a:lnTo>
                  <a:lnTo>
                    <a:pt x="1636" y="394"/>
                  </a:lnTo>
                  <a:lnTo>
                    <a:pt x="1624" y="387"/>
                  </a:lnTo>
                  <a:lnTo>
                    <a:pt x="1612" y="379"/>
                  </a:lnTo>
                  <a:lnTo>
                    <a:pt x="1596" y="363"/>
                  </a:lnTo>
                  <a:lnTo>
                    <a:pt x="1588" y="357"/>
                  </a:lnTo>
                  <a:lnTo>
                    <a:pt x="1581" y="359"/>
                  </a:lnTo>
                  <a:lnTo>
                    <a:pt x="1574" y="360"/>
                  </a:lnTo>
                  <a:lnTo>
                    <a:pt x="1567" y="361"/>
                  </a:lnTo>
                  <a:lnTo>
                    <a:pt x="1560" y="362"/>
                  </a:lnTo>
                  <a:lnTo>
                    <a:pt x="1546" y="361"/>
                  </a:lnTo>
                  <a:lnTo>
                    <a:pt x="1534" y="358"/>
                  </a:lnTo>
                  <a:lnTo>
                    <a:pt x="1523" y="354"/>
                  </a:lnTo>
                  <a:lnTo>
                    <a:pt x="1512" y="348"/>
                  </a:lnTo>
                  <a:lnTo>
                    <a:pt x="1504" y="341"/>
                  </a:lnTo>
                  <a:lnTo>
                    <a:pt x="1496" y="333"/>
                  </a:lnTo>
                  <a:lnTo>
                    <a:pt x="1468" y="333"/>
                  </a:lnTo>
                  <a:lnTo>
                    <a:pt x="1468" y="337"/>
                  </a:lnTo>
                  <a:lnTo>
                    <a:pt x="1466" y="342"/>
                  </a:lnTo>
                  <a:lnTo>
                    <a:pt x="1463" y="349"/>
                  </a:lnTo>
                  <a:lnTo>
                    <a:pt x="1459" y="357"/>
                  </a:lnTo>
                  <a:lnTo>
                    <a:pt x="1446" y="373"/>
                  </a:lnTo>
                  <a:lnTo>
                    <a:pt x="1433" y="390"/>
                  </a:lnTo>
                  <a:lnTo>
                    <a:pt x="1426" y="398"/>
                  </a:lnTo>
                  <a:lnTo>
                    <a:pt x="1419" y="404"/>
                  </a:lnTo>
                  <a:lnTo>
                    <a:pt x="1411" y="409"/>
                  </a:lnTo>
                  <a:lnTo>
                    <a:pt x="1405" y="413"/>
                  </a:lnTo>
                  <a:lnTo>
                    <a:pt x="1401" y="414"/>
                  </a:lnTo>
                  <a:lnTo>
                    <a:pt x="1398" y="415"/>
                  </a:lnTo>
                  <a:lnTo>
                    <a:pt x="1395" y="415"/>
                  </a:lnTo>
                  <a:lnTo>
                    <a:pt x="1392" y="414"/>
                  </a:lnTo>
                  <a:lnTo>
                    <a:pt x="1389" y="413"/>
                  </a:lnTo>
                  <a:lnTo>
                    <a:pt x="1387" y="412"/>
                  </a:lnTo>
                  <a:lnTo>
                    <a:pt x="1385" y="409"/>
                  </a:lnTo>
                  <a:lnTo>
                    <a:pt x="1383" y="406"/>
                  </a:lnTo>
                  <a:lnTo>
                    <a:pt x="1367" y="406"/>
                  </a:lnTo>
                  <a:lnTo>
                    <a:pt x="1352" y="406"/>
                  </a:lnTo>
                  <a:lnTo>
                    <a:pt x="1338" y="405"/>
                  </a:lnTo>
                  <a:lnTo>
                    <a:pt x="1325" y="402"/>
                  </a:lnTo>
                  <a:lnTo>
                    <a:pt x="1318" y="401"/>
                  </a:lnTo>
                  <a:lnTo>
                    <a:pt x="1312" y="399"/>
                  </a:lnTo>
                  <a:lnTo>
                    <a:pt x="1308" y="396"/>
                  </a:lnTo>
                  <a:lnTo>
                    <a:pt x="1304" y="393"/>
                  </a:lnTo>
                  <a:lnTo>
                    <a:pt x="1300" y="390"/>
                  </a:lnTo>
                  <a:lnTo>
                    <a:pt x="1298" y="386"/>
                  </a:lnTo>
                  <a:lnTo>
                    <a:pt x="1297" y="381"/>
                  </a:lnTo>
                  <a:lnTo>
                    <a:pt x="1296" y="375"/>
                  </a:lnTo>
                  <a:lnTo>
                    <a:pt x="1270" y="375"/>
                  </a:lnTo>
                  <a:lnTo>
                    <a:pt x="1259" y="380"/>
                  </a:lnTo>
                  <a:lnTo>
                    <a:pt x="1247" y="384"/>
                  </a:lnTo>
                  <a:lnTo>
                    <a:pt x="1240" y="384"/>
                  </a:lnTo>
                  <a:lnTo>
                    <a:pt x="1235" y="384"/>
                  </a:lnTo>
                  <a:lnTo>
                    <a:pt x="1228" y="384"/>
                  </a:lnTo>
                  <a:lnTo>
                    <a:pt x="1224" y="382"/>
                  </a:lnTo>
                  <a:lnTo>
                    <a:pt x="1283" y="333"/>
                  </a:lnTo>
                  <a:lnTo>
                    <a:pt x="1286" y="321"/>
                  </a:lnTo>
                  <a:lnTo>
                    <a:pt x="1289" y="309"/>
                  </a:lnTo>
                  <a:lnTo>
                    <a:pt x="1294" y="299"/>
                  </a:lnTo>
                  <a:lnTo>
                    <a:pt x="1299" y="290"/>
                  </a:lnTo>
                  <a:lnTo>
                    <a:pt x="1305" y="282"/>
                  </a:lnTo>
                  <a:lnTo>
                    <a:pt x="1310" y="274"/>
                  </a:lnTo>
                  <a:lnTo>
                    <a:pt x="1317" y="268"/>
                  </a:lnTo>
                  <a:lnTo>
                    <a:pt x="1323" y="260"/>
                  </a:lnTo>
                  <a:lnTo>
                    <a:pt x="1349" y="240"/>
                  </a:lnTo>
                  <a:lnTo>
                    <a:pt x="1370" y="222"/>
                  </a:lnTo>
                  <a:lnTo>
                    <a:pt x="1362" y="217"/>
                  </a:lnTo>
                  <a:lnTo>
                    <a:pt x="1356" y="213"/>
                  </a:lnTo>
                  <a:lnTo>
                    <a:pt x="1352" y="210"/>
                  </a:lnTo>
                  <a:lnTo>
                    <a:pt x="1349" y="205"/>
                  </a:lnTo>
                  <a:lnTo>
                    <a:pt x="1345" y="201"/>
                  </a:lnTo>
                  <a:lnTo>
                    <a:pt x="1344" y="196"/>
                  </a:lnTo>
                  <a:lnTo>
                    <a:pt x="1343" y="191"/>
                  </a:lnTo>
                  <a:lnTo>
                    <a:pt x="1343" y="184"/>
                  </a:lnTo>
                  <a:lnTo>
                    <a:pt x="1338" y="184"/>
                  </a:lnTo>
                  <a:lnTo>
                    <a:pt x="1333" y="183"/>
                  </a:lnTo>
                  <a:lnTo>
                    <a:pt x="1330" y="182"/>
                  </a:lnTo>
                  <a:lnTo>
                    <a:pt x="1326" y="179"/>
                  </a:lnTo>
                  <a:lnTo>
                    <a:pt x="1320" y="174"/>
                  </a:lnTo>
                  <a:lnTo>
                    <a:pt x="1315" y="166"/>
                  </a:lnTo>
                  <a:lnTo>
                    <a:pt x="1310" y="157"/>
                  </a:lnTo>
                  <a:lnTo>
                    <a:pt x="1307" y="146"/>
                  </a:lnTo>
                  <a:lnTo>
                    <a:pt x="1305" y="135"/>
                  </a:lnTo>
                  <a:lnTo>
                    <a:pt x="1301" y="124"/>
                  </a:lnTo>
                  <a:lnTo>
                    <a:pt x="1298" y="100"/>
                  </a:lnTo>
                  <a:lnTo>
                    <a:pt x="1293" y="78"/>
                  </a:lnTo>
                  <a:lnTo>
                    <a:pt x="1291" y="68"/>
                  </a:lnTo>
                  <a:lnTo>
                    <a:pt x="1286" y="60"/>
                  </a:lnTo>
                  <a:lnTo>
                    <a:pt x="1282" y="54"/>
                  </a:lnTo>
                  <a:lnTo>
                    <a:pt x="1276" y="49"/>
                  </a:lnTo>
                  <a:lnTo>
                    <a:pt x="1264" y="71"/>
                  </a:lnTo>
                  <a:lnTo>
                    <a:pt x="1240" y="109"/>
                  </a:lnTo>
                  <a:lnTo>
                    <a:pt x="1227" y="128"/>
                  </a:lnTo>
                  <a:lnTo>
                    <a:pt x="1214" y="144"/>
                  </a:lnTo>
                  <a:lnTo>
                    <a:pt x="1207" y="150"/>
                  </a:lnTo>
                  <a:lnTo>
                    <a:pt x="1200" y="156"/>
                  </a:lnTo>
                  <a:lnTo>
                    <a:pt x="1195" y="159"/>
                  </a:lnTo>
                  <a:lnTo>
                    <a:pt x="1189" y="160"/>
                  </a:lnTo>
                  <a:lnTo>
                    <a:pt x="1124" y="135"/>
                  </a:lnTo>
                  <a:lnTo>
                    <a:pt x="1113" y="139"/>
                  </a:lnTo>
                  <a:lnTo>
                    <a:pt x="1102" y="142"/>
                  </a:lnTo>
                  <a:lnTo>
                    <a:pt x="1088" y="144"/>
                  </a:lnTo>
                  <a:lnTo>
                    <a:pt x="1075" y="146"/>
                  </a:lnTo>
                  <a:lnTo>
                    <a:pt x="1047" y="147"/>
                  </a:lnTo>
                  <a:lnTo>
                    <a:pt x="1017" y="147"/>
                  </a:lnTo>
                  <a:lnTo>
                    <a:pt x="1016" y="152"/>
                  </a:lnTo>
                  <a:lnTo>
                    <a:pt x="1015" y="157"/>
                  </a:lnTo>
                  <a:lnTo>
                    <a:pt x="1013" y="161"/>
                  </a:lnTo>
                  <a:lnTo>
                    <a:pt x="1009" y="165"/>
                  </a:lnTo>
                  <a:lnTo>
                    <a:pt x="1006" y="168"/>
                  </a:lnTo>
                  <a:lnTo>
                    <a:pt x="1003" y="170"/>
                  </a:lnTo>
                  <a:lnTo>
                    <a:pt x="1000" y="172"/>
                  </a:lnTo>
                  <a:lnTo>
                    <a:pt x="997" y="172"/>
                  </a:lnTo>
                  <a:lnTo>
                    <a:pt x="992" y="173"/>
                  </a:lnTo>
                  <a:lnTo>
                    <a:pt x="987" y="175"/>
                  </a:lnTo>
                  <a:lnTo>
                    <a:pt x="985" y="175"/>
                  </a:lnTo>
                  <a:lnTo>
                    <a:pt x="982" y="175"/>
                  </a:lnTo>
                  <a:lnTo>
                    <a:pt x="980" y="174"/>
                  </a:lnTo>
                  <a:lnTo>
                    <a:pt x="978" y="172"/>
                  </a:lnTo>
                  <a:lnTo>
                    <a:pt x="976" y="176"/>
                  </a:lnTo>
                  <a:lnTo>
                    <a:pt x="972" y="179"/>
                  </a:lnTo>
                  <a:lnTo>
                    <a:pt x="967" y="183"/>
                  </a:lnTo>
                  <a:lnTo>
                    <a:pt x="960" y="187"/>
                  </a:lnTo>
                  <a:lnTo>
                    <a:pt x="941" y="194"/>
                  </a:lnTo>
                  <a:lnTo>
                    <a:pt x="920" y="200"/>
                  </a:lnTo>
                  <a:lnTo>
                    <a:pt x="879" y="212"/>
                  </a:lnTo>
                  <a:lnTo>
                    <a:pt x="858" y="216"/>
                  </a:lnTo>
                  <a:lnTo>
                    <a:pt x="851" y="215"/>
                  </a:lnTo>
                  <a:lnTo>
                    <a:pt x="846" y="213"/>
                  </a:lnTo>
                  <a:lnTo>
                    <a:pt x="839" y="208"/>
                  </a:lnTo>
                  <a:lnTo>
                    <a:pt x="834" y="203"/>
                  </a:lnTo>
                  <a:lnTo>
                    <a:pt x="827" y="197"/>
                  </a:lnTo>
                  <a:lnTo>
                    <a:pt x="822" y="191"/>
                  </a:lnTo>
                  <a:lnTo>
                    <a:pt x="817" y="184"/>
                  </a:lnTo>
                  <a:lnTo>
                    <a:pt x="812" y="176"/>
                  </a:lnTo>
                  <a:lnTo>
                    <a:pt x="803" y="161"/>
                  </a:lnTo>
                  <a:lnTo>
                    <a:pt x="796" y="145"/>
                  </a:lnTo>
                  <a:lnTo>
                    <a:pt x="793" y="132"/>
                  </a:lnTo>
                  <a:lnTo>
                    <a:pt x="791" y="123"/>
                  </a:lnTo>
                  <a:lnTo>
                    <a:pt x="792" y="116"/>
                  </a:lnTo>
                  <a:lnTo>
                    <a:pt x="794" y="109"/>
                  </a:lnTo>
                  <a:lnTo>
                    <a:pt x="798" y="103"/>
                  </a:lnTo>
                  <a:lnTo>
                    <a:pt x="801" y="95"/>
                  </a:lnTo>
                  <a:lnTo>
                    <a:pt x="805" y="88"/>
                  </a:lnTo>
                  <a:lnTo>
                    <a:pt x="808" y="81"/>
                  </a:lnTo>
                  <a:lnTo>
                    <a:pt x="811" y="74"/>
                  </a:lnTo>
                  <a:lnTo>
                    <a:pt x="811" y="67"/>
                  </a:lnTo>
                  <a:lnTo>
                    <a:pt x="811" y="53"/>
                  </a:lnTo>
                  <a:lnTo>
                    <a:pt x="808" y="39"/>
                  </a:lnTo>
                  <a:lnTo>
                    <a:pt x="806" y="33"/>
                  </a:lnTo>
                  <a:lnTo>
                    <a:pt x="804" y="28"/>
                  </a:lnTo>
                  <a:lnTo>
                    <a:pt x="801" y="24"/>
                  </a:lnTo>
                  <a:lnTo>
                    <a:pt x="798" y="20"/>
                  </a:lnTo>
                  <a:lnTo>
                    <a:pt x="794" y="16"/>
                  </a:lnTo>
                  <a:lnTo>
                    <a:pt x="789" y="12"/>
                  </a:lnTo>
                  <a:lnTo>
                    <a:pt x="783" y="9"/>
                  </a:lnTo>
                  <a:lnTo>
                    <a:pt x="778" y="7"/>
                  </a:lnTo>
                  <a:lnTo>
                    <a:pt x="762" y="3"/>
                  </a:lnTo>
                  <a:lnTo>
                    <a:pt x="745" y="0"/>
                  </a:lnTo>
                  <a:lnTo>
                    <a:pt x="739" y="10"/>
                  </a:lnTo>
                  <a:lnTo>
                    <a:pt x="733" y="21"/>
                  </a:lnTo>
                  <a:lnTo>
                    <a:pt x="729" y="23"/>
                  </a:lnTo>
                  <a:lnTo>
                    <a:pt x="727" y="25"/>
                  </a:lnTo>
                  <a:lnTo>
                    <a:pt x="725" y="26"/>
                  </a:lnTo>
                  <a:lnTo>
                    <a:pt x="722" y="27"/>
                  </a:lnTo>
                  <a:lnTo>
                    <a:pt x="717" y="27"/>
                  </a:lnTo>
                  <a:lnTo>
                    <a:pt x="714" y="27"/>
                  </a:lnTo>
                  <a:lnTo>
                    <a:pt x="710" y="26"/>
                  </a:lnTo>
                  <a:lnTo>
                    <a:pt x="705" y="24"/>
                  </a:lnTo>
                  <a:lnTo>
                    <a:pt x="703" y="28"/>
                  </a:lnTo>
                  <a:lnTo>
                    <a:pt x="700" y="31"/>
                  </a:lnTo>
                  <a:lnTo>
                    <a:pt x="695" y="35"/>
                  </a:lnTo>
                  <a:lnTo>
                    <a:pt x="690" y="39"/>
                  </a:lnTo>
                  <a:lnTo>
                    <a:pt x="677" y="47"/>
                  </a:lnTo>
                  <a:lnTo>
                    <a:pt x="662" y="55"/>
                  </a:lnTo>
                  <a:lnTo>
                    <a:pt x="648" y="63"/>
                  </a:lnTo>
                  <a:lnTo>
                    <a:pt x="637" y="71"/>
                  </a:lnTo>
                  <a:lnTo>
                    <a:pt x="632" y="75"/>
                  </a:lnTo>
                  <a:lnTo>
                    <a:pt x="628" y="79"/>
                  </a:lnTo>
                  <a:lnTo>
                    <a:pt x="626" y="82"/>
                  </a:lnTo>
                  <a:lnTo>
                    <a:pt x="625" y="86"/>
                  </a:lnTo>
                  <a:lnTo>
                    <a:pt x="612" y="79"/>
                  </a:lnTo>
                  <a:lnTo>
                    <a:pt x="589" y="70"/>
                  </a:lnTo>
                  <a:lnTo>
                    <a:pt x="566" y="62"/>
                  </a:lnTo>
                  <a:lnTo>
                    <a:pt x="552" y="55"/>
                  </a:lnTo>
                  <a:lnTo>
                    <a:pt x="525" y="55"/>
                  </a:lnTo>
                  <a:lnTo>
                    <a:pt x="525" y="99"/>
                  </a:lnTo>
                  <a:lnTo>
                    <a:pt x="535" y="114"/>
                  </a:lnTo>
                  <a:lnTo>
                    <a:pt x="552" y="137"/>
                  </a:lnTo>
                  <a:lnTo>
                    <a:pt x="566" y="160"/>
                  </a:lnTo>
                  <a:lnTo>
                    <a:pt x="572" y="172"/>
                  </a:lnTo>
                  <a:lnTo>
                    <a:pt x="571" y="178"/>
                  </a:lnTo>
                  <a:lnTo>
                    <a:pt x="569" y="185"/>
                  </a:lnTo>
                  <a:lnTo>
                    <a:pt x="566" y="191"/>
                  </a:lnTo>
                  <a:lnTo>
                    <a:pt x="560" y="198"/>
                  </a:lnTo>
                  <a:lnTo>
                    <a:pt x="555" y="205"/>
                  </a:lnTo>
                  <a:lnTo>
                    <a:pt x="548" y="213"/>
                  </a:lnTo>
                  <a:lnTo>
                    <a:pt x="541" y="220"/>
                  </a:lnTo>
                  <a:lnTo>
                    <a:pt x="532" y="227"/>
                  </a:lnTo>
                  <a:lnTo>
                    <a:pt x="523" y="233"/>
                  </a:lnTo>
                  <a:lnTo>
                    <a:pt x="513" y="239"/>
                  </a:lnTo>
                  <a:lnTo>
                    <a:pt x="503" y="244"/>
                  </a:lnTo>
                  <a:lnTo>
                    <a:pt x="493" y="249"/>
                  </a:lnTo>
                  <a:lnTo>
                    <a:pt x="483" y="253"/>
                  </a:lnTo>
                  <a:lnTo>
                    <a:pt x="472" y="256"/>
                  </a:lnTo>
                  <a:lnTo>
                    <a:pt x="463" y="257"/>
                  </a:lnTo>
                  <a:lnTo>
                    <a:pt x="453" y="258"/>
                  </a:lnTo>
                  <a:lnTo>
                    <a:pt x="446" y="258"/>
                  </a:lnTo>
                  <a:lnTo>
                    <a:pt x="440" y="256"/>
                  </a:lnTo>
                  <a:lnTo>
                    <a:pt x="433" y="254"/>
                  </a:lnTo>
                  <a:lnTo>
                    <a:pt x="426" y="252"/>
                  </a:lnTo>
                  <a:lnTo>
                    <a:pt x="413" y="245"/>
                  </a:lnTo>
                  <a:lnTo>
                    <a:pt x="401" y="235"/>
                  </a:lnTo>
                  <a:lnTo>
                    <a:pt x="389" y="224"/>
                  </a:lnTo>
                  <a:lnTo>
                    <a:pt x="378" y="212"/>
                  </a:lnTo>
                  <a:lnTo>
                    <a:pt x="368" y="198"/>
                  </a:lnTo>
                  <a:lnTo>
                    <a:pt x="359" y="184"/>
                  </a:lnTo>
                  <a:lnTo>
                    <a:pt x="330" y="190"/>
                  </a:lnTo>
                  <a:lnTo>
                    <a:pt x="286" y="197"/>
                  </a:lnTo>
                  <a:lnTo>
                    <a:pt x="263" y="201"/>
                  </a:lnTo>
                  <a:lnTo>
                    <a:pt x="244" y="206"/>
                  </a:lnTo>
                  <a:lnTo>
                    <a:pt x="238" y="208"/>
                  </a:lnTo>
                  <a:lnTo>
                    <a:pt x="231" y="211"/>
                  </a:lnTo>
                  <a:lnTo>
                    <a:pt x="228" y="213"/>
                  </a:lnTo>
                  <a:lnTo>
                    <a:pt x="227" y="216"/>
                  </a:lnTo>
                  <a:lnTo>
                    <a:pt x="227" y="220"/>
                  </a:lnTo>
                  <a:lnTo>
                    <a:pt x="229" y="224"/>
                  </a:lnTo>
                  <a:lnTo>
                    <a:pt x="231" y="227"/>
                  </a:lnTo>
                  <a:lnTo>
                    <a:pt x="235" y="230"/>
                  </a:lnTo>
                  <a:lnTo>
                    <a:pt x="243" y="235"/>
                  </a:lnTo>
                  <a:lnTo>
                    <a:pt x="253" y="240"/>
                  </a:lnTo>
                  <a:lnTo>
                    <a:pt x="253" y="258"/>
                  </a:lnTo>
                  <a:lnTo>
                    <a:pt x="241" y="262"/>
                  </a:lnTo>
                  <a:lnTo>
                    <a:pt x="221" y="268"/>
                  </a:lnTo>
                  <a:lnTo>
                    <a:pt x="210" y="272"/>
                  </a:lnTo>
                  <a:lnTo>
                    <a:pt x="201" y="278"/>
                  </a:lnTo>
                  <a:lnTo>
                    <a:pt x="198" y="281"/>
                  </a:lnTo>
                  <a:lnTo>
                    <a:pt x="196" y="285"/>
                  </a:lnTo>
                  <a:lnTo>
                    <a:pt x="194" y="290"/>
                  </a:lnTo>
                  <a:lnTo>
                    <a:pt x="194" y="295"/>
                  </a:lnTo>
                  <a:lnTo>
                    <a:pt x="194" y="302"/>
                  </a:lnTo>
                  <a:lnTo>
                    <a:pt x="196" y="307"/>
                  </a:lnTo>
                  <a:lnTo>
                    <a:pt x="198" y="311"/>
                  </a:lnTo>
                  <a:lnTo>
                    <a:pt x="201" y="314"/>
                  </a:lnTo>
                  <a:lnTo>
                    <a:pt x="210" y="321"/>
                  </a:lnTo>
                  <a:lnTo>
                    <a:pt x="220" y="327"/>
                  </a:lnTo>
                  <a:lnTo>
                    <a:pt x="224" y="330"/>
                  </a:lnTo>
                  <a:lnTo>
                    <a:pt x="230" y="333"/>
                  </a:lnTo>
                  <a:lnTo>
                    <a:pt x="234" y="337"/>
                  </a:lnTo>
                  <a:lnTo>
                    <a:pt x="239" y="342"/>
                  </a:lnTo>
                  <a:lnTo>
                    <a:pt x="242" y="348"/>
                  </a:lnTo>
                  <a:lnTo>
                    <a:pt x="244" y="356"/>
                  </a:lnTo>
                  <a:lnTo>
                    <a:pt x="246" y="365"/>
                  </a:lnTo>
                  <a:lnTo>
                    <a:pt x="246" y="375"/>
                  </a:lnTo>
                  <a:lnTo>
                    <a:pt x="246" y="388"/>
                  </a:lnTo>
                  <a:lnTo>
                    <a:pt x="245" y="400"/>
                  </a:lnTo>
                  <a:lnTo>
                    <a:pt x="243" y="412"/>
                  </a:lnTo>
                  <a:lnTo>
                    <a:pt x="241" y="423"/>
                  </a:lnTo>
                  <a:lnTo>
                    <a:pt x="236" y="446"/>
                  </a:lnTo>
                  <a:lnTo>
                    <a:pt x="230" y="468"/>
                  </a:lnTo>
                  <a:lnTo>
                    <a:pt x="223" y="490"/>
                  </a:lnTo>
                  <a:lnTo>
                    <a:pt x="219" y="512"/>
                  </a:lnTo>
                  <a:lnTo>
                    <a:pt x="217" y="524"/>
                  </a:lnTo>
                  <a:lnTo>
                    <a:pt x="214" y="535"/>
                  </a:lnTo>
                  <a:lnTo>
                    <a:pt x="213" y="548"/>
                  </a:lnTo>
                  <a:lnTo>
                    <a:pt x="213" y="560"/>
                  </a:lnTo>
                  <a:lnTo>
                    <a:pt x="194" y="560"/>
                  </a:lnTo>
                  <a:lnTo>
                    <a:pt x="188" y="557"/>
                  </a:lnTo>
                  <a:lnTo>
                    <a:pt x="184" y="554"/>
                  </a:lnTo>
                  <a:lnTo>
                    <a:pt x="183" y="553"/>
                  </a:lnTo>
                  <a:lnTo>
                    <a:pt x="182" y="552"/>
                  </a:lnTo>
                  <a:lnTo>
                    <a:pt x="180" y="550"/>
                  </a:lnTo>
                  <a:lnTo>
                    <a:pt x="180" y="548"/>
                  </a:lnTo>
                  <a:lnTo>
                    <a:pt x="168" y="554"/>
                  </a:lnTo>
                  <a:lnTo>
                    <a:pt x="157" y="559"/>
                  </a:lnTo>
                  <a:lnTo>
                    <a:pt x="147" y="562"/>
                  </a:lnTo>
                  <a:lnTo>
                    <a:pt x="138" y="564"/>
                  </a:lnTo>
                  <a:lnTo>
                    <a:pt x="119" y="566"/>
                  </a:lnTo>
                  <a:lnTo>
                    <a:pt x="100" y="567"/>
                  </a:lnTo>
                  <a:lnTo>
                    <a:pt x="96" y="567"/>
                  </a:lnTo>
                  <a:lnTo>
                    <a:pt x="93" y="569"/>
                  </a:lnTo>
                  <a:lnTo>
                    <a:pt x="90" y="573"/>
                  </a:lnTo>
                  <a:lnTo>
                    <a:pt x="88" y="576"/>
                  </a:lnTo>
                  <a:lnTo>
                    <a:pt x="85" y="584"/>
                  </a:lnTo>
                  <a:lnTo>
                    <a:pt x="81" y="591"/>
                  </a:lnTo>
                  <a:lnTo>
                    <a:pt x="65" y="607"/>
                  </a:lnTo>
                  <a:lnTo>
                    <a:pt x="51" y="624"/>
                  </a:lnTo>
                  <a:lnTo>
                    <a:pt x="38" y="643"/>
                  </a:lnTo>
                  <a:lnTo>
                    <a:pt x="26" y="665"/>
                  </a:lnTo>
                  <a:lnTo>
                    <a:pt x="20" y="676"/>
                  </a:lnTo>
                  <a:lnTo>
                    <a:pt x="16" y="687"/>
                  </a:lnTo>
                  <a:lnTo>
                    <a:pt x="11" y="699"/>
                  </a:lnTo>
                  <a:lnTo>
                    <a:pt x="7" y="711"/>
                  </a:lnTo>
                  <a:lnTo>
                    <a:pt x="5" y="723"/>
                  </a:lnTo>
                  <a:lnTo>
                    <a:pt x="3" y="734"/>
                  </a:lnTo>
                  <a:lnTo>
                    <a:pt x="1" y="746"/>
                  </a:lnTo>
                  <a:lnTo>
                    <a:pt x="0" y="757"/>
                  </a:lnTo>
                  <a:lnTo>
                    <a:pt x="1" y="767"/>
                  </a:lnTo>
                  <a:lnTo>
                    <a:pt x="4" y="777"/>
                  </a:lnTo>
                  <a:lnTo>
                    <a:pt x="7" y="787"/>
                  </a:lnTo>
                  <a:lnTo>
                    <a:pt x="11" y="799"/>
                  </a:lnTo>
                  <a:lnTo>
                    <a:pt x="17" y="811"/>
                  </a:lnTo>
                  <a:lnTo>
                    <a:pt x="22" y="824"/>
                  </a:lnTo>
                  <a:lnTo>
                    <a:pt x="30" y="836"/>
                  </a:lnTo>
                  <a:lnTo>
                    <a:pt x="38" y="848"/>
                  </a:lnTo>
                  <a:lnTo>
                    <a:pt x="46" y="859"/>
                  </a:lnTo>
                  <a:lnTo>
                    <a:pt x="56" y="870"/>
                  </a:lnTo>
                  <a:lnTo>
                    <a:pt x="66" y="880"/>
                  </a:lnTo>
                  <a:lnTo>
                    <a:pt x="76" y="889"/>
                  </a:lnTo>
                  <a:lnTo>
                    <a:pt x="87" y="896"/>
                  </a:lnTo>
                  <a:lnTo>
                    <a:pt x="98" y="901"/>
                  </a:lnTo>
                  <a:lnTo>
                    <a:pt x="104" y="903"/>
                  </a:lnTo>
                  <a:lnTo>
                    <a:pt x="109" y="904"/>
                  </a:lnTo>
                  <a:lnTo>
                    <a:pt x="115" y="905"/>
                  </a:lnTo>
                  <a:lnTo>
                    <a:pt x="120" y="905"/>
                  </a:lnTo>
                  <a:lnTo>
                    <a:pt x="130" y="904"/>
                  </a:lnTo>
                  <a:lnTo>
                    <a:pt x="138" y="902"/>
                  </a:lnTo>
                  <a:lnTo>
                    <a:pt x="146" y="898"/>
                  </a:lnTo>
                  <a:lnTo>
                    <a:pt x="153" y="893"/>
                  </a:lnTo>
                  <a:lnTo>
                    <a:pt x="161" y="889"/>
                  </a:lnTo>
                  <a:lnTo>
                    <a:pt x="168" y="885"/>
                  </a:lnTo>
                  <a:lnTo>
                    <a:pt x="177" y="882"/>
                  </a:lnTo>
                  <a:lnTo>
                    <a:pt x="187" y="881"/>
                  </a:lnTo>
                  <a:lnTo>
                    <a:pt x="189" y="903"/>
                  </a:lnTo>
                  <a:lnTo>
                    <a:pt x="190" y="934"/>
                  </a:lnTo>
                  <a:lnTo>
                    <a:pt x="190" y="942"/>
                  </a:lnTo>
                  <a:lnTo>
                    <a:pt x="191" y="949"/>
                  </a:lnTo>
                  <a:lnTo>
                    <a:pt x="194" y="956"/>
                  </a:lnTo>
                  <a:lnTo>
                    <a:pt x="196" y="961"/>
                  </a:lnTo>
                  <a:lnTo>
                    <a:pt x="199" y="966"/>
                  </a:lnTo>
                  <a:lnTo>
                    <a:pt x="202" y="970"/>
                  </a:lnTo>
                  <a:lnTo>
                    <a:pt x="208" y="972"/>
                  </a:lnTo>
                  <a:lnTo>
                    <a:pt x="213" y="973"/>
                  </a:lnTo>
                  <a:lnTo>
                    <a:pt x="233" y="973"/>
                  </a:lnTo>
                </a:path>
              </a:pathLst>
            </a:custGeom>
            <a:solidFill>
              <a:srgbClr val="19194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42" name="Freeform 10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6406194" y="3124639"/>
              <a:ext cx="69850" cy="49213"/>
            </a:xfrm>
            <a:custGeom>
              <a:avLst/>
              <a:gdLst>
                <a:gd name="T0" fmla="*/ 2147483647 w 161"/>
                <a:gd name="T1" fmla="*/ 0 h 93"/>
                <a:gd name="T2" fmla="*/ 2147483647 w 161"/>
                <a:gd name="T3" fmla="*/ 2147483647 h 93"/>
                <a:gd name="T4" fmla="*/ 2147483647 w 161"/>
                <a:gd name="T5" fmla="*/ 2147483647 h 93"/>
                <a:gd name="T6" fmla="*/ 2147483647 w 161"/>
                <a:gd name="T7" fmla="*/ 2147483647 h 93"/>
                <a:gd name="T8" fmla="*/ 2147483647 w 161"/>
                <a:gd name="T9" fmla="*/ 2147483647 h 93"/>
                <a:gd name="T10" fmla="*/ 2147483647 w 161"/>
                <a:gd name="T11" fmla="*/ 2147483647 h 93"/>
                <a:gd name="T12" fmla="*/ 2147483647 w 161"/>
                <a:gd name="T13" fmla="*/ 2147483647 h 93"/>
                <a:gd name="T14" fmla="*/ 2147483647 w 161"/>
                <a:gd name="T15" fmla="*/ 0 h 93"/>
                <a:gd name="T16" fmla="*/ 2147483647 w 161"/>
                <a:gd name="T17" fmla="*/ 0 h 93"/>
                <a:gd name="T18" fmla="*/ 2147483647 w 161"/>
                <a:gd name="T19" fmla="*/ 0 h 93"/>
                <a:gd name="T20" fmla="*/ 2147483647 w 161"/>
                <a:gd name="T21" fmla="*/ 2147483647 h 93"/>
                <a:gd name="T22" fmla="*/ 2147483647 w 161"/>
                <a:gd name="T23" fmla="*/ 2147483647 h 93"/>
                <a:gd name="T24" fmla="*/ 2147483647 w 161"/>
                <a:gd name="T25" fmla="*/ 2147483647 h 93"/>
                <a:gd name="T26" fmla="*/ 2147483647 w 161"/>
                <a:gd name="T27" fmla="*/ 2147483647 h 93"/>
                <a:gd name="T28" fmla="*/ 2147483647 w 161"/>
                <a:gd name="T29" fmla="*/ 2147483647 h 93"/>
                <a:gd name="T30" fmla="*/ 2147483647 w 161"/>
                <a:gd name="T31" fmla="*/ 2147483647 h 93"/>
                <a:gd name="T32" fmla="*/ 2147483647 w 161"/>
                <a:gd name="T33" fmla="*/ 2147483647 h 93"/>
                <a:gd name="T34" fmla="*/ 2147483647 w 161"/>
                <a:gd name="T35" fmla="*/ 2147483647 h 93"/>
                <a:gd name="T36" fmla="*/ 2147483647 w 161"/>
                <a:gd name="T37" fmla="*/ 2147483647 h 93"/>
                <a:gd name="T38" fmla="*/ 2147483647 w 161"/>
                <a:gd name="T39" fmla="*/ 2147483647 h 93"/>
                <a:gd name="T40" fmla="*/ 2147483647 w 161"/>
                <a:gd name="T41" fmla="*/ 2147483647 h 93"/>
                <a:gd name="T42" fmla="*/ 2147483647 w 161"/>
                <a:gd name="T43" fmla="*/ 2147483647 h 93"/>
                <a:gd name="T44" fmla="*/ 2147483647 w 161"/>
                <a:gd name="T45" fmla="*/ 2147483647 h 93"/>
                <a:gd name="T46" fmla="*/ 2147483647 w 161"/>
                <a:gd name="T47" fmla="*/ 2147483647 h 93"/>
                <a:gd name="T48" fmla="*/ 2147483647 w 161"/>
                <a:gd name="T49" fmla="*/ 2147483647 h 93"/>
                <a:gd name="T50" fmla="*/ 2147483647 w 161"/>
                <a:gd name="T51" fmla="*/ 2147483647 h 93"/>
                <a:gd name="T52" fmla="*/ 2147483647 w 161"/>
                <a:gd name="T53" fmla="*/ 2147483647 h 93"/>
                <a:gd name="T54" fmla="*/ 2147483647 w 161"/>
                <a:gd name="T55" fmla="*/ 2147483647 h 93"/>
                <a:gd name="T56" fmla="*/ 2147483647 w 161"/>
                <a:gd name="T57" fmla="*/ 2147483647 h 93"/>
                <a:gd name="T58" fmla="*/ 2147483647 w 161"/>
                <a:gd name="T59" fmla="*/ 2147483647 h 93"/>
                <a:gd name="T60" fmla="*/ 2147483647 w 161"/>
                <a:gd name="T61" fmla="*/ 2147483647 h 93"/>
                <a:gd name="T62" fmla="*/ 2147483647 w 161"/>
                <a:gd name="T63" fmla="*/ 2147483647 h 93"/>
                <a:gd name="T64" fmla="*/ 2147483647 w 161"/>
                <a:gd name="T65" fmla="*/ 2147483647 h 93"/>
                <a:gd name="T66" fmla="*/ 2147483647 w 161"/>
                <a:gd name="T67" fmla="*/ 2147483647 h 93"/>
                <a:gd name="T68" fmla="*/ 2147483647 w 161"/>
                <a:gd name="T69" fmla="*/ 2147483647 h 93"/>
                <a:gd name="T70" fmla="*/ 2147483647 w 161"/>
                <a:gd name="T71" fmla="*/ 2147483647 h 93"/>
                <a:gd name="T72" fmla="*/ 0 w 161"/>
                <a:gd name="T73" fmla="*/ 0 h 93"/>
                <a:gd name="T74" fmla="*/ 2147483647 w 161"/>
                <a:gd name="T75" fmla="*/ 0 h 9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161" h="93">
                  <a:moveTo>
                    <a:pt x="94" y="0"/>
                  </a:moveTo>
                  <a:lnTo>
                    <a:pt x="107" y="18"/>
                  </a:lnTo>
                  <a:lnTo>
                    <a:pt x="112" y="12"/>
                  </a:lnTo>
                  <a:lnTo>
                    <a:pt x="117" y="8"/>
                  </a:lnTo>
                  <a:lnTo>
                    <a:pt x="122" y="5"/>
                  </a:lnTo>
                  <a:lnTo>
                    <a:pt x="127" y="3"/>
                  </a:lnTo>
                  <a:lnTo>
                    <a:pt x="137" y="1"/>
                  </a:lnTo>
                  <a:lnTo>
                    <a:pt x="148" y="0"/>
                  </a:lnTo>
                  <a:lnTo>
                    <a:pt x="151" y="0"/>
                  </a:lnTo>
                  <a:lnTo>
                    <a:pt x="161" y="0"/>
                  </a:lnTo>
                  <a:lnTo>
                    <a:pt x="161" y="92"/>
                  </a:lnTo>
                  <a:lnTo>
                    <a:pt x="155" y="93"/>
                  </a:lnTo>
                  <a:lnTo>
                    <a:pt x="150" y="93"/>
                  </a:lnTo>
                  <a:lnTo>
                    <a:pt x="145" y="92"/>
                  </a:lnTo>
                  <a:lnTo>
                    <a:pt x="140" y="91"/>
                  </a:lnTo>
                  <a:lnTo>
                    <a:pt x="129" y="88"/>
                  </a:lnTo>
                  <a:lnTo>
                    <a:pt x="120" y="82"/>
                  </a:lnTo>
                  <a:lnTo>
                    <a:pt x="111" y="75"/>
                  </a:lnTo>
                  <a:lnTo>
                    <a:pt x="104" y="67"/>
                  </a:lnTo>
                  <a:lnTo>
                    <a:pt x="97" y="59"/>
                  </a:lnTo>
                  <a:lnTo>
                    <a:pt x="94" y="49"/>
                  </a:lnTo>
                  <a:lnTo>
                    <a:pt x="92" y="50"/>
                  </a:lnTo>
                  <a:lnTo>
                    <a:pt x="89" y="51"/>
                  </a:lnTo>
                  <a:lnTo>
                    <a:pt x="86" y="51"/>
                  </a:lnTo>
                  <a:lnTo>
                    <a:pt x="84" y="51"/>
                  </a:lnTo>
                  <a:lnTo>
                    <a:pt x="78" y="50"/>
                  </a:lnTo>
                  <a:lnTo>
                    <a:pt x="74" y="49"/>
                  </a:lnTo>
                  <a:lnTo>
                    <a:pt x="65" y="48"/>
                  </a:lnTo>
                  <a:lnTo>
                    <a:pt x="55" y="45"/>
                  </a:lnTo>
                  <a:lnTo>
                    <a:pt x="44" y="40"/>
                  </a:lnTo>
                  <a:lnTo>
                    <a:pt x="32" y="34"/>
                  </a:lnTo>
                  <a:lnTo>
                    <a:pt x="21" y="26"/>
                  </a:lnTo>
                  <a:lnTo>
                    <a:pt x="12" y="18"/>
                  </a:lnTo>
                  <a:lnTo>
                    <a:pt x="8" y="14"/>
                  </a:lnTo>
                  <a:lnTo>
                    <a:pt x="5" y="9"/>
                  </a:lnTo>
                  <a:lnTo>
                    <a:pt x="3" y="5"/>
                  </a:lnTo>
                  <a:lnTo>
                    <a:pt x="0" y="0"/>
                  </a:lnTo>
                  <a:lnTo>
                    <a:pt x="94" y="0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43" name="Freeform 11"/>
            <p:cNvSpPr>
              <a:spLocks/>
            </p:cNvSpPr>
            <p:nvPr>
              <p:custDataLst>
                <p:tags r:id="rId28"/>
              </p:custDataLst>
            </p:nvPr>
          </p:nvSpPr>
          <p:spPr bwMode="auto">
            <a:xfrm>
              <a:off x="5904544" y="2999227"/>
              <a:ext cx="82550" cy="160337"/>
            </a:xfrm>
            <a:custGeom>
              <a:avLst/>
              <a:gdLst>
                <a:gd name="T0" fmla="*/ 2147483647 w 192"/>
                <a:gd name="T1" fmla="*/ 2147483647 h 307"/>
                <a:gd name="T2" fmla="*/ 2147483647 w 192"/>
                <a:gd name="T3" fmla="*/ 0 h 307"/>
                <a:gd name="T4" fmla="*/ 2147483647 w 192"/>
                <a:gd name="T5" fmla="*/ 2147483647 h 307"/>
                <a:gd name="T6" fmla="*/ 2147483647 w 192"/>
                <a:gd name="T7" fmla="*/ 2147483647 h 307"/>
                <a:gd name="T8" fmla="*/ 2147483647 w 192"/>
                <a:gd name="T9" fmla="*/ 2147483647 h 307"/>
                <a:gd name="T10" fmla="*/ 2147483647 w 192"/>
                <a:gd name="T11" fmla="*/ 2147483647 h 307"/>
                <a:gd name="T12" fmla="*/ 2147483647 w 192"/>
                <a:gd name="T13" fmla="*/ 2147483647 h 307"/>
                <a:gd name="T14" fmla="*/ 2147483647 w 192"/>
                <a:gd name="T15" fmla="*/ 2147483647 h 307"/>
                <a:gd name="T16" fmla="*/ 2147483647 w 192"/>
                <a:gd name="T17" fmla="*/ 2147483647 h 307"/>
                <a:gd name="T18" fmla="*/ 2147483647 w 192"/>
                <a:gd name="T19" fmla="*/ 2147483647 h 307"/>
                <a:gd name="T20" fmla="*/ 2147483647 w 192"/>
                <a:gd name="T21" fmla="*/ 2147483647 h 307"/>
                <a:gd name="T22" fmla="*/ 2147483647 w 192"/>
                <a:gd name="T23" fmla="*/ 2147483647 h 307"/>
                <a:gd name="T24" fmla="*/ 2147483647 w 192"/>
                <a:gd name="T25" fmla="*/ 2147483647 h 307"/>
                <a:gd name="T26" fmla="*/ 2147483647 w 192"/>
                <a:gd name="T27" fmla="*/ 2147483647 h 307"/>
                <a:gd name="T28" fmla="*/ 2147483647 w 192"/>
                <a:gd name="T29" fmla="*/ 2147483647 h 307"/>
                <a:gd name="T30" fmla="*/ 2147483647 w 192"/>
                <a:gd name="T31" fmla="*/ 2147483647 h 307"/>
                <a:gd name="T32" fmla="*/ 2147483647 w 192"/>
                <a:gd name="T33" fmla="*/ 2147483647 h 307"/>
                <a:gd name="T34" fmla="*/ 2147483647 w 192"/>
                <a:gd name="T35" fmla="*/ 2147483647 h 307"/>
                <a:gd name="T36" fmla="*/ 2147483647 w 192"/>
                <a:gd name="T37" fmla="*/ 2147483647 h 307"/>
                <a:gd name="T38" fmla="*/ 2147483647 w 192"/>
                <a:gd name="T39" fmla="*/ 2147483647 h 307"/>
                <a:gd name="T40" fmla="*/ 2147483647 w 192"/>
                <a:gd name="T41" fmla="*/ 2147483647 h 307"/>
                <a:gd name="T42" fmla="*/ 2147483647 w 192"/>
                <a:gd name="T43" fmla="*/ 2147483647 h 307"/>
                <a:gd name="T44" fmla="*/ 2147483647 w 192"/>
                <a:gd name="T45" fmla="*/ 2147483647 h 307"/>
                <a:gd name="T46" fmla="*/ 0 w 192"/>
                <a:gd name="T47" fmla="*/ 2147483647 h 307"/>
                <a:gd name="T48" fmla="*/ 0 w 192"/>
                <a:gd name="T49" fmla="*/ 2147483647 h 307"/>
                <a:gd name="T50" fmla="*/ 2147483647 w 192"/>
                <a:gd name="T51" fmla="*/ 2147483647 h 307"/>
                <a:gd name="T52" fmla="*/ 2147483647 w 192"/>
                <a:gd name="T53" fmla="*/ 2147483647 h 307"/>
                <a:gd name="T54" fmla="*/ 2147483647 w 192"/>
                <a:gd name="T55" fmla="*/ 2147483647 h 307"/>
                <a:gd name="T56" fmla="*/ 2147483647 w 192"/>
                <a:gd name="T57" fmla="*/ 2147483647 h 307"/>
                <a:gd name="T58" fmla="*/ 2147483647 w 192"/>
                <a:gd name="T59" fmla="*/ 2147483647 h 307"/>
                <a:gd name="T60" fmla="*/ 2147483647 w 192"/>
                <a:gd name="T61" fmla="*/ 2147483647 h 307"/>
                <a:gd name="T62" fmla="*/ 2147483647 w 192"/>
                <a:gd name="T63" fmla="*/ 2147483647 h 307"/>
                <a:gd name="T64" fmla="*/ 2147483647 w 192"/>
                <a:gd name="T65" fmla="*/ 2147483647 h 307"/>
                <a:gd name="T66" fmla="*/ 2147483647 w 192"/>
                <a:gd name="T67" fmla="*/ 2147483647 h 307"/>
                <a:gd name="T68" fmla="*/ 2147483647 w 192"/>
                <a:gd name="T69" fmla="*/ 2147483647 h 30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2" h="307">
                  <a:moveTo>
                    <a:pt x="44" y="7"/>
                  </a:moveTo>
                  <a:lnTo>
                    <a:pt x="38" y="3"/>
                  </a:lnTo>
                  <a:lnTo>
                    <a:pt x="35" y="1"/>
                  </a:lnTo>
                  <a:lnTo>
                    <a:pt x="37" y="0"/>
                  </a:lnTo>
                  <a:lnTo>
                    <a:pt x="41" y="0"/>
                  </a:lnTo>
                  <a:lnTo>
                    <a:pt x="57" y="3"/>
                  </a:lnTo>
                  <a:lnTo>
                    <a:pt x="82" y="8"/>
                  </a:lnTo>
                  <a:lnTo>
                    <a:pt x="110" y="14"/>
                  </a:lnTo>
                  <a:lnTo>
                    <a:pt x="141" y="22"/>
                  </a:lnTo>
                  <a:lnTo>
                    <a:pt x="155" y="25"/>
                  </a:lnTo>
                  <a:lnTo>
                    <a:pt x="169" y="27"/>
                  </a:lnTo>
                  <a:lnTo>
                    <a:pt x="181" y="28"/>
                  </a:lnTo>
                  <a:lnTo>
                    <a:pt x="192" y="29"/>
                  </a:lnTo>
                  <a:lnTo>
                    <a:pt x="192" y="35"/>
                  </a:lnTo>
                  <a:lnTo>
                    <a:pt x="192" y="41"/>
                  </a:lnTo>
                  <a:lnTo>
                    <a:pt x="188" y="47"/>
                  </a:lnTo>
                  <a:lnTo>
                    <a:pt x="183" y="61"/>
                  </a:lnTo>
                  <a:lnTo>
                    <a:pt x="175" y="82"/>
                  </a:lnTo>
                  <a:lnTo>
                    <a:pt x="167" y="104"/>
                  </a:lnTo>
                  <a:lnTo>
                    <a:pt x="158" y="127"/>
                  </a:lnTo>
                  <a:lnTo>
                    <a:pt x="152" y="148"/>
                  </a:lnTo>
                  <a:lnTo>
                    <a:pt x="147" y="165"/>
                  </a:lnTo>
                  <a:lnTo>
                    <a:pt x="146" y="176"/>
                  </a:lnTo>
                  <a:lnTo>
                    <a:pt x="146" y="207"/>
                  </a:lnTo>
                  <a:lnTo>
                    <a:pt x="146" y="234"/>
                  </a:lnTo>
                  <a:lnTo>
                    <a:pt x="144" y="249"/>
                  </a:lnTo>
                  <a:lnTo>
                    <a:pt x="141" y="263"/>
                  </a:lnTo>
                  <a:lnTo>
                    <a:pt x="134" y="277"/>
                  </a:lnTo>
                  <a:lnTo>
                    <a:pt x="127" y="294"/>
                  </a:lnTo>
                  <a:lnTo>
                    <a:pt x="106" y="296"/>
                  </a:lnTo>
                  <a:lnTo>
                    <a:pt x="91" y="300"/>
                  </a:lnTo>
                  <a:lnTo>
                    <a:pt x="83" y="303"/>
                  </a:lnTo>
                  <a:lnTo>
                    <a:pt x="77" y="306"/>
                  </a:lnTo>
                  <a:lnTo>
                    <a:pt x="72" y="307"/>
                  </a:lnTo>
                  <a:lnTo>
                    <a:pt x="64" y="307"/>
                  </a:lnTo>
                  <a:lnTo>
                    <a:pt x="52" y="305"/>
                  </a:lnTo>
                  <a:lnTo>
                    <a:pt x="33" y="300"/>
                  </a:lnTo>
                  <a:lnTo>
                    <a:pt x="32" y="291"/>
                  </a:lnTo>
                  <a:lnTo>
                    <a:pt x="32" y="284"/>
                  </a:lnTo>
                  <a:lnTo>
                    <a:pt x="30" y="277"/>
                  </a:lnTo>
                  <a:lnTo>
                    <a:pt x="28" y="270"/>
                  </a:lnTo>
                  <a:lnTo>
                    <a:pt x="22" y="257"/>
                  </a:lnTo>
                  <a:lnTo>
                    <a:pt x="17" y="244"/>
                  </a:lnTo>
                  <a:lnTo>
                    <a:pt x="10" y="231"/>
                  </a:lnTo>
                  <a:lnTo>
                    <a:pt x="5" y="218"/>
                  </a:lnTo>
                  <a:lnTo>
                    <a:pt x="2" y="211"/>
                  </a:lnTo>
                  <a:lnTo>
                    <a:pt x="1" y="204"/>
                  </a:lnTo>
                  <a:lnTo>
                    <a:pt x="0" y="197"/>
                  </a:lnTo>
                  <a:lnTo>
                    <a:pt x="0" y="189"/>
                  </a:lnTo>
                  <a:lnTo>
                    <a:pt x="0" y="180"/>
                  </a:lnTo>
                  <a:lnTo>
                    <a:pt x="1" y="173"/>
                  </a:lnTo>
                  <a:lnTo>
                    <a:pt x="2" y="165"/>
                  </a:lnTo>
                  <a:lnTo>
                    <a:pt x="5" y="158"/>
                  </a:lnTo>
                  <a:lnTo>
                    <a:pt x="11" y="145"/>
                  </a:lnTo>
                  <a:lnTo>
                    <a:pt x="18" y="133"/>
                  </a:lnTo>
                  <a:lnTo>
                    <a:pt x="33" y="109"/>
                  </a:lnTo>
                  <a:lnTo>
                    <a:pt x="46" y="90"/>
                  </a:lnTo>
                  <a:lnTo>
                    <a:pt x="48" y="81"/>
                  </a:lnTo>
                  <a:lnTo>
                    <a:pt x="50" y="72"/>
                  </a:lnTo>
                  <a:lnTo>
                    <a:pt x="52" y="62"/>
                  </a:lnTo>
                  <a:lnTo>
                    <a:pt x="53" y="53"/>
                  </a:lnTo>
                  <a:lnTo>
                    <a:pt x="53" y="41"/>
                  </a:lnTo>
                  <a:lnTo>
                    <a:pt x="54" y="34"/>
                  </a:lnTo>
                  <a:lnTo>
                    <a:pt x="55" y="30"/>
                  </a:lnTo>
                  <a:lnTo>
                    <a:pt x="56" y="28"/>
                  </a:lnTo>
                  <a:lnTo>
                    <a:pt x="57" y="26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60" y="16"/>
                  </a:lnTo>
                  <a:lnTo>
                    <a:pt x="44" y="7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44" name="Freeform 12"/>
            <p:cNvSpPr>
              <a:spLocks/>
            </p:cNvSpPr>
            <p:nvPr>
              <p:custDataLst>
                <p:tags r:id="rId29"/>
              </p:custDataLst>
            </p:nvPr>
          </p:nvSpPr>
          <p:spPr bwMode="auto">
            <a:xfrm>
              <a:off x="5985507" y="2484877"/>
              <a:ext cx="171450" cy="269875"/>
            </a:xfrm>
            <a:custGeom>
              <a:avLst/>
              <a:gdLst>
                <a:gd name="T0" fmla="*/ 2147483647 w 398"/>
                <a:gd name="T1" fmla="*/ 2147483647 h 518"/>
                <a:gd name="T2" fmla="*/ 2147483647 w 398"/>
                <a:gd name="T3" fmla="*/ 2147483647 h 518"/>
                <a:gd name="T4" fmla="*/ 2147483647 w 398"/>
                <a:gd name="T5" fmla="*/ 2147483647 h 518"/>
                <a:gd name="T6" fmla="*/ 2147483647 w 398"/>
                <a:gd name="T7" fmla="*/ 2147483647 h 518"/>
                <a:gd name="T8" fmla="*/ 2147483647 w 398"/>
                <a:gd name="T9" fmla="*/ 2147483647 h 518"/>
                <a:gd name="T10" fmla="*/ 2147483647 w 398"/>
                <a:gd name="T11" fmla="*/ 2147483647 h 518"/>
                <a:gd name="T12" fmla="*/ 2147483647 w 398"/>
                <a:gd name="T13" fmla="*/ 2147483647 h 518"/>
                <a:gd name="T14" fmla="*/ 2147483647 w 398"/>
                <a:gd name="T15" fmla="*/ 2147483647 h 518"/>
                <a:gd name="T16" fmla="*/ 2147483647 w 398"/>
                <a:gd name="T17" fmla="*/ 2147483647 h 518"/>
                <a:gd name="T18" fmla="*/ 2147483647 w 398"/>
                <a:gd name="T19" fmla="*/ 2147483647 h 518"/>
                <a:gd name="T20" fmla="*/ 2147483647 w 398"/>
                <a:gd name="T21" fmla="*/ 2147483647 h 518"/>
                <a:gd name="T22" fmla="*/ 2147483647 w 398"/>
                <a:gd name="T23" fmla="*/ 2147483647 h 518"/>
                <a:gd name="T24" fmla="*/ 2147483647 w 398"/>
                <a:gd name="T25" fmla="*/ 2147483647 h 518"/>
                <a:gd name="T26" fmla="*/ 2147483647 w 398"/>
                <a:gd name="T27" fmla="*/ 2147483647 h 518"/>
                <a:gd name="T28" fmla="*/ 2147483647 w 398"/>
                <a:gd name="T29" fmla="*/ 2147483647 h 518"/>
                <a:gd name="T30" fmla="*/ 2147483647 w 398"/>
                <a:gd name="T31" fmla="*/ 2147483647 h 518"/>
                <a:gd name="T32" fmla="*/ 2147483647 w 398"/>
                <a:gd name="T33" fmla="*/ 2147483647 h 518"/>
                <a:gd name="T34" fmla="*/ 2147483647 w 398"/>
                <a:gd name="T35" fmla="*/ 2147483647 h 518"/>
                <a:gd name="T36" fmla="*/ 2147483647 w 398"/>
                <a:gd name="T37" fmla="*/ 2147483647 h 518"/>
                <a:gd name="T38" fmla="*/ 2147483647 w 398"/>
                <a:gd name="T39" fmla="*/ 2147483647 h 518"/>
                <a:gd name="T40" fmla="*/ 2147483647 w 398"/>
                <a:gd name="T41" fmla="*/ 2147483647 h 518"/>
                <a:gd name="T42" fmla="*/ 2147483647 w 398"/>
                <a:gd name="T43" fmla="*/ 2147483647 h 518"/>
                <a:gd name="T44" fmla="*/ 2147483647 w 398"/>
                <a:gd name="T45" fmla="*/ 2147483647 h 518"/>
                <a:gd name="T46" fmla="*/ 2147483647 w 398"/>
                <a:gd name="T47" fmla="*/ 2147483647 h 518"/>
                <a:gd name="T48" fmla="*/ 2147483647 w 398"/>
                <a:gd name="T49" fmla="*/ 2147483647 h 518"/>
                <a:gd name="T50" fmla="*/ 2147483647 w 398"/>
                <a:gd name="T51" fmla="*/ 2147483647 h 518"/>
                <a:gd name="T52" fmla="*/ 2147483647 w 398"/>
                <a:gd name="T53" fmla="*/ 2147483647 h 518"/>
                <a:gd name="T54" fmla="*/ 2147483647 w 398"/>
                <a:gd name="T55" fmla="*/ 2147483647 h 518"/>
                <a:gd name="T56" fmla="*/ 2147483647 w 398"/>
                <a:gd name="T57" fmla="*/ 2147483647 h 518"/>
                <a:gd name="T58" fmla="*/ 2147483647 w 398"/>
                <a:gd name="T59" fmla="*/ 2147483647 h 518"/>
                <a:gd name="T60" fmla="*/ 2147483647 w 398"/>
                <a:gd name="T61" fmla="*/ 2147483647 h 518"/>
                <a:gd name="T62" fmla="*/ 2147483647 w 398"/>
                <a:gd name="T63" fmla="*/ 2147483647 h 518"/>
                <a:gd name="T64" fmla="*/ 2147483647 w 398"/>
                <a:gd name="T65" fmla="*/ 2147483647 h 518"/>
                <a:gd name="T66" fmla="*/ 2147483647 w 398"/>
                <a:gd name="T67" fmla="*/ 2147483647 h 518"/>
                <a:gd name="T68" fmla="*/ 2147483647 w 398"/>
                <a:gd name="T69" fmla="*/ 2147483647 h 518"/>
                <a:gd name="T70" fmla="*/ 2147483647 w 398"/>
                <a:gd name="T71" fmla="*/ 2147483647 h 518"/>
                <a:gd name="T72" fmla="*/ 2147483647 w 398"/>
                <a:gd name="T73" fmla="*/ 2147483647 h 518"/>
                <a:gd name="T74" fmla="*/ 2147483647 w 398"/>
                <a:gd name="T75" fmla="*/ 2147483647 h 518"/>
                <a:gd name="T76" fmla="*/ 2147483647 w 398"/>
                <a:gd name="T77" fmla="*/ 2147483647 h 518"/>
                <a:gd name="T78" fmla="*/ 2147483647 w 398"/>
                <a:gd name="T79" fmla="*/ 2147483647 h 518"/>
                <a:gd name="T80" fmla="*/ 2147483647 w 398"/>
                <a:gd name="T81" fmla="*/ 2147483647 h 518"/>
                <a:gd name="T82" fmla="*/ 2147483647 w 398"/>
                <a:gd name="T83" fmla="*/ 2147483647 h 518"/>
                <a:gd name="T84" fmla="*/ 2147483647 w 398"/>
                <a:gd name="T85" fmla="*/ 2147483647 h 518"/>
                <a:gd name="T86" fmla="*/ 2147483647 w 398"/>
                <a:gd name="T87" fmla="*/ 2147483647 h 518"/>
                <a:gd name="T88" fmla="*/ 2147483647 w 398"/>
                <a:gd name="T89" fmla="*/ 2147483647 h 518"/>
                <a:gd name="T90" fmla="*/ 2147483647 w 398"/>
                <a:gd name="T91" fmla="*/ 2147483647 h 518"/>
                <a:gd name="T92" fmla="*/ 2147483647 w 398"/>
                <a:gd name="T93" fmla="*/ 2147483647 h 518"/>
                <a:gd name="T94" fmla="*/ 2147483647 w 398"/>
                <a:gd name="T95" fmla="*/ 2147483647 h 518"/>
                <a:gd name="T96" fmla="*/ 2147483647 w 398"/>
                <a:gd name="T97" fmla="*/ 2147483647 h 518"/>
                <a:gd name="T98" fmla="*/ 2147483647 w 398"/>
                <a:gd name="T99" fmla="*/ 2147483647 h 518"/>
                <a:gd name="T100" fmla="*/ 2147483647 w 398"/>
                <a:gd name="T101" fmla="*/ 2147483647 h 518"/>
                <a:gd name="T102" fmla="*/ 2147483647 w 398"/>
                <a:gd name="T103" fmla="*/ 2147483647 h 518"/>
                <a:gd name="T104" fmla="*/ 2147483647 w 398"/>
                <a:gd name="T105" fmla="*/ 2147483647 h 518"/>
                <a:gd name="T106" fmla="*/ 2147483647 w 398"/>
                <a:gd name="T107" fmla="*/ 2147483647 h 518"/>
                <a:gd name="T108" fmla="*/ 2147483647 w 398"/>
                <a:gd name="T109" fmla="*/ 2147483647 h 518"/>
                <a:gd name="T110" fmla="*/ 2147483647 w 398"/>
                <a:gd name="T111" fmla="*/ 2147483647 h 518"/>
                <a:gd name="T112" fmla="*/ 2147483647 w 398"/>
                <a:gd name="T113" fmla="*/ 2147483647 h 518"/>
                <a:gd name="T114" fmla="*/ 2147483647 w 398"/>
                <a:gd name="T115" fmla="*/ 2147483647 h 518"/>
                <a:gd name="T116" fmla="*/ 2147483647 w 398"/>
                <a:gd name="T117" fmla="*/ 2147483647 h 518"/>
                <a:gd name="T118" fmla="*/ 2147483647 w 398"/>
                <a:gd name="T119" fmla="*/ 2147483647 h 518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398" h="518">
                  <a:moveTo>
                    <a:pt x="0" y="1"/>
                  </a:moveTo>
                  <a:lnTo>
                    <a:pt x="6" y="0"/>
                  </a:lnTo>
                  <a:lnTo>
                    <a:pt x="15" y="1"/>
                  </a:lnTo>
                  <a:lnTo>
                    <a:pt x="26" y="2"/>
                  </a:lnTo>
                  <a:lnTo>
                    <a:pt x="39" y="5"/>
                  </a:lnTo>
                  <a:lnTo>
                    <a:pt x="56" y="8"/>
                  </a:lnTo>
                  <a:lnTo>
                    <a:pt x="75" y="11"/>
                  </a:lnTo>
                  <a:lnTo>
                    <a:pt x="95" y="13"/>
                  </a:lnTo>
                  <a:lnTo>
                    <a:pt x="120" y="13"/>
                  </a:lnTo>
                  <a:lnTo>
                    <a:pt x="120" y="17"/>
                  </a:lnTo>
                  <a:lnTo>
                    <a:pt x="118" y="20"/>
                  </a:lnTo>
                  <a:lnTo>
                    <a:pt x="116" y="23"/>
                  </a:lnTo>
                  <a:lnTo>
                    <a:pt x="114" y="26"/>
                  </a:lnTo>
                  <a:lnTo>
                    <a:pt x="107" y="32"/>
                  </a:lnTo>
                  <a:lnTo>
                    <a:pt x="99" y="37"/>
                  </a:lnTo>
                  <a:lnTo>
                    <a:pt x="80" y="47"/>
                  </a:lnTo>
                  <a:lnTo>
                    <a:pt x="66" y="57"/>
                  </a:lnTo>
                  <a:lnTo>
                    <a:pt x="65" y="59"/>
                  </a:lnTo>
                  <a:lnTo>
                    <a:pt x="64" y="61"/>
                  </a:lnTo>
                  <a:lnTo>
                    <a:pt x="64" y="62"/>
                  </a:lnTo>
                  <a:lnTo>
                    <a:pt x="65" y="64"/>
                  </a:lnTo>
                  <a:lnTo>
                    <a:pt x="68" y="66"/>
                  </a:lnTo>
                  <a:lnTo>
                    <a:pt x="71" y="67"/>
                  </a:lnTo>
                  <a:lnTo>
                    <a:pt x="77" y="69"/>
                  </a:lnTo>
                  <a:lnTo>
                    <a:pt x="84" y="70"/>
                  </a:lnTo>
                  <a:lnTo>
                    <a:pt x="103" y="73"/>
                  </a:lnTo>
                  <a:lnTo>
                    <a:pt x="131" y="76"/>
                  </a:lnTo>
                  <a:lnTo>
                    <a:pt x="167" y="79"/>
                  </a:lnTo>
                  <a:lnTo>
                    <a:pt x="213" y="81"/>
                  </a:lnTo>
                  <a:lnTo>
                    <a:pt x="213" y="91"/>
                  </a:lnTo>
                  <a:lnTo>
                    <a:pt x="213" y="105"/>
                  </a:lnTo>
                  <a:lnTo>
                    <a:pt x="210" y="109"/>
                  </a:lnTo>
                  <a:lnTo>
                    <a:pt x="202" y="112"/>
                  </a:lnTo>
                  <a:lnTo>
                    <a:pt x="191" y="116"/>
                  </a:lnTo>
                  <a:lnTo>
                    <a:pt x="179" y="120"/>
                  </a:lnTo>
                  <a:lnTo>
                    <a:pt x="154" y="127"/>
                  </a:lnTo>
                  <a:lnTo>
                    <a:pt x="139" y="130"/>
                  </a:lnTo>
                  <a:lnTo>
                    <a:pt x="142" y="133"/>
                  </a:lnTo>
                  <a:lnTo>
                    <a:pt x="144" y="136"/>
                  </a:lnTo>
                  <a:lnTo>
                    <a:pt x="147" y="138"/>
                  </a:lnTo>
                  <a:lnTo>
                    <a:pt x="150" y="140"/>
                  </a:lnTo>
                  <a:lnTo>
                    <a:pt x="160" y="142"/>
                  </a:lnTo>
                  <a:lnTo>
                    <a:pt x="170" y="143"/>
                  </a:lnTo>
                  <a:lnTo>
                    <a:pt x="191" y="143"/>
                  </a:lnTo>
                  <a:lnTo>
                    <a:pt x="206" y="142"/>
                  </a:lnTo>
                  <a:lnTo>
                    <a:pt x="206" y="147"/>
                  </a:lnTo>
                  <a:lnTo>
                    <a:pt x="208" y="152"/>
                  </a:lnTo>
                  <a:lnTo>
                    <a:pt x="211" y="156"/>
                  </a:lnTo>
                  <a:lnTo>
                    <a:pt x="214" y="161"/>
                  </a:lnTo>
                  <a:lnTo>
                    <a:pt x="223" y="172"/>
                  </a:lnTo>
                  <a:lnTo>
                    <a:pt x="233" y="182"/>
                  </a:lnTo>
                  <a:lnTo>
                    <a:pt x="243" y="191"/>
                  </a:lnTo>
                  <a:lnTo>
                    <a:pt x="250" y="200"/>
                  </a:lnTo>
                  <a:lnTo>
                    <a:pt x="254" y="205"/>
                  </a:lnTo>
                  <a:lnTo>
                    <a:pt x="257" y="209"/>
                  </a:lnTo>
                  <a:lnTo>
                    <a:pt x="258" y="212"/>
                  </a:lnTo>
                  <a:lnTo>
                    <a:pt x="259" y="216"/>
                  </a:lnTo>
                  <a:lnTo>
                    <a:pt x="259" y="223"/>
                  </a:lnTo>
                  <a:lnTo>
                    <a:pt x="260" y="232"/>
                  </a:lnTo>
                  <a:lnTo>
                    <a:pt x="260" y="237"/>
                  </a:lnTo>
                  <a:lnTo>
                    <a:pt x="262" y="241"/>
                  </a:lnTo>
                  <a:lnTo>
                    <a:pt x="263" y="244"/>
                  </a:lnTo>
                  <a:lnTo>
                    <a:pt x="266" y="247"/>
                  </a:lnTo>
                  <a:lnTo>
                    <a:pt x="272" y="254"/>
                  </a:lnTo>
                  <a:lnTo>
                    <a:pt x="277" y="261"/>
                  </a:lnTo>
                  <a:lnTo>
                    <a:pt x="280" y="267"/>
                  </a:lnTo>
                  <a:lnTo>
                    <a:pt x="283" y="273"/>
                  </a:lnTo>
                  <a:lnTo>
                    <a:pt x="286" y="279"/>
                  </a:lnTo>
                  <a:lnTo>
                    <a:pt x="291" y="284"/>
                  </a:lnTo>
                  <a:lnTo>
                    <a:pt x="297" y="288"/>
                  </a:lnTo>
                  <a:lnTo>
                    <a:pt x="305" y="291"/>
                  </a:lnTo>
                  <a:lnTo>
                    <a:pt x="306" y="297"/>
                  </a:lnTo>
                  <a:lnTo>
                    <a:pt x="310" y="304"/>
                  </a:lnTo>
                  <a:lnTo>
                    <a:pt x="315" y="310"/>
                  </a:lnTo>
                  <a:lnTo>
                    <a:pt x="320" y="316"/>
                  </a:lnTo>
                  <a:lnTo>
                    <a:pt x="327" y="320"/>
                  </a:lnTo>
                  <a:lnTo>
                    <a:pt x="334" y="324"/>
                  </a:lnTo>
                  <a:lnTo>
                    <a:pt x="340" y="326"/>
                  </a:lnTo>
                  <a:lnTo>
                    <a:pt x="346" y="327"/>
                  </a:lnTo>
                  <a:lnTo>
                    <a:pt x="346" y="337"/>
                  </a:lnTo>
                  <a:lnTo>
                    <a:pt x="346" y="346"/>
                  </a:lnTo>
                  <a:lnTo>
                    <a:pt x="355" y="343"/>
                  </a:lnTo>
                  <a:lnTo>
                    <a:pt x="363" y="341"/>
                  </a:lnTo>
                  <a:lnTo>
                    <a:pt x="370" y="341"/>
                  </a:lnTo>
                  <a:lnTo>
                    <a:pt x="376" y="342"/>
                  </a:lnTo>
                  <a:lnTo>
                    <a:pt x="389" y="347"/>
                  </a:lnTo>
                  <a:lnTo>
                    <a:pt x="398" y="352"/>
                  </a:lnTo>
                  <a:lnTo>
                    <a:pt x="396" y="365"/>
                  </a:lnTo>
                  <a:lnTo>
                    <a:pt x="394" y="376"/>
                  </a:lnTo>
                  <a:lnTo>
                    <a:pt x="393" y="382"/>
                  </a:lnTo>
                  <a:lnTo>
                    <a:pt x="393" y="389"/>
                  </a:lnTo>
                  <a:lnTo>
                    <a:pt x="395" y="395"/>
                  </a:lnTo>
                  <a:lnTo>
                    <a:pt x="398" y="401"/>
                  </a:lnTo>
                  <a:lnTo>
                    <a:pt x="393" y="402"/>
                  </a:lnTo>
                  <a:lnTo>
                    <a:pt x="387" y="403"/>
                  </a:lnTo>
                  <a:lnTo>
                    <a:pt x="382" y="404"/>
                  </a:lnTo>
                  <a:lnTo>
                    <a:pt x="376" y="406"/>
                  </a:lnTo>
                  <a:lnTo>
                    <a:pt x="372" y="409"/>
                  </a:lnTo>
                  <a:lnTo>
                    <a:pt x="369" y="412"/>
                  </a:lnTo>
                  <a:lnTo>
                    <a:pt x="367" y="415"/>
                  </a:lnTo>
                  <a:lnTo>
                    <a:pt x="365" y="420"/>
                  </a:lnTo>
                  <a:lnTo>
                    <a:pt x="365" y="422"/>
                  </a:lnTo>
                  <a:lnTo>
                    <a:pt x="367" y="424"/>
                  </a:lnTo>
                  <a:lnTo>
                    <a:pt x="368" y="426"/>
                  </a:lnTo>
                  <a:lnTo>
                    <a:pt x="370" y="429"/>
                  </a:lnTo>
                  <a:lnTo>
                    <a:pt x="376" y="433"/>
                  </a:lnTo>
                  <a:lnTo>
                    <a:pt x="385" y="438"/>
                  </a:lnTo>
                  <a:lnTo>
                    <a:pt x="376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3" y="455"/>
                  </a:lnTo>
                  <a:lnTo>
                    <a:pt x="359" y="463"/>
                  </a:lnTo>
                  <a:lnTo>
                    <a:pt x="352" y="475"/>
                  </a:lnTo>
                  <a:lnTo>
                    <a:pt x="146" y="475"/>
                  </a:lnTo>
                  <a:lnTo>
                    <a:pt x="146" y="487"/>
                  </a:lnTo>
                  <a:lnTo>
                    <a:pt x="146" y="500"/>
                  </a:lnTo>
                  <a:lnTo>
                    <a:pt x="116" y="501"/>
                  </a:lnTo>
                  <a:lnTo>
                    <a:pt x="90" y="503"/>
                  </a:lnTo>
                  <a:lnTo>
                    <a:pt x="78" y="505"/>
                  </a:lnTo>
                  <a:lnTo>
                    <a:pt x="68" y="508"/>
                  </a:lnTo>
                  <a:lnTo>
                    <a:pt x="64" y="510"/>
                  </a:lnTo>
                  <a:lnTo>
                    <a:pt x="59" y="512"/>
                  </a:lnTo>
                  <a:lnTo>
                    <a:pt x="56" y="515"/>
                  </a:lnTo>
                  <a:lnTo>
                    <a:pt x="53" y="518"/>
                  </a:lnTo>
                  <a:lnTo>
                    <a:pt x="54" y="511"/>
                  </a:lnTo>
                  <a:lnTo>
                    <a:pt x="55" y="505"/>
                  </a:lnTo>
                  <a:lnTo>
                    <a:pt x="56" y="499"/>
                  </a:lnTo>
                  <a:lnTo>
                    <a:pt x="58" y="493"/>
                  </a:lnTo>
                  <a:lnTo>
                    <a:pt x="61" y="488"/>
                  </a:lnTo>
                  <a:lnTo>
                    <a:pt x="64" y="484"/>
                  </a:lnTo>
                  <a:lnTo>
                    <a:pt x="68" y="480"/>
                  </a:lnTo>
                  <a:lnTo>
                    <a:pt x="71" y="476"/>
                  </a:lnTo>
                  <a:lnTo>
                    <a:pt x="81" y="470"/>
                  </a:lnTo>
                  <a:lnTo>
                    <a:pt x="91" y="465"/>
                  </a:lnTo>
                  <a:lnTo>
                    <a:pt x="102" y="462"/>
                  </a:lnTo>
                  <a:lnTo>
                    <a:pt x="114" y="458"/>
                  </a:lnTo>
                  <a:lnTo>
                    <a:pt x="136" y="453"/>
                  </a:lnTo>
                  <a:lnTo>
                    <a:pt x="157" y="448"/>
                  </a:lnTo>
                  <a:lnTo>
                    <a:pt x="165" y="444"/>
                  </a:lnTo>
                  <a:lnTo>
                    <a:pt x="172" y="439"/>
                  </a:lnTo>
                  <a:lnTo>
                    <a:pt x="174" y="436"/>
                  </a:lnTo>
                  <a:lnTo>
                    <a:pt x="177" y="433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79" y="428"/>
                  </a:lnTo>
                  <a:lnTo>
                    <a:pt x="177" y="430"/>
                  </a:lnTo>
                  <a:lnTo>
                    <a:pt x="174" y="432"/>
                  </a:lnTo>
                  <a:lnTo>
                    <a:pt x="171" y="434"/>
                  </a:lnTo>
                  <a:lnTo>
                    <a:pt x="162" y="437"/>
                  </a:lnTo>
                  <a:lnTo>
                    <a:pt x="152" y="438"/>
                  </a:lnTo>
                  <a:lnTo>
                    <a:pt x="137" y="437"/>
                  </a:lnTo>
                  <a:lnTo>
                    <a:pt x="111" y="432"/>
                  </a:lnTo>
                  <a:lnTo>
                    <a:pt x="96" y="429"/>
                  </a:lnTo>
                  <a:lnTo>
                    <a:pt x="84" y="425"/>
                  </a:lnTo>
                  <a:lnTo>
                    <a:pt x="80" y="423"/>
                  </a:lnTo>
                  <a:lnTo>
                    <a:pt x="76" y="420"/>
                  </a:lnTo>
                  <a:lnTo>
                    <a:pt x="73" y="417"/>
                  </a:lnTo>
                  <a:lnTo>
                    <a:pt x="73" y="414"/>
                  </a:lnTo>
                  <a:lnTo>
                    <a:pt x="73" y="407"/>
                  </a:lnTo>
                  <a:lnTo>
                    <a:pt x="77" y="402"/>
                  </a:lnTo>
                  <a:lnTo>
                    <a:pt x="80" y="398"/>
                  </a:lnTo>
                  <a:lnTo>
                    <a:pt x="84" y="395"/>
                  </a:lnTo>
                  <a:lnTo>
                    <a:pt x="90" y="392"/>
                  </a:lnTo>
                  <a:lnTo>
                    <a:pt x="95" y="391"/>
                  </a:lnTo>
                  <a:lnTo>
                    <a:pt x="101" y="390"/>
                  </a:lnTo>
                  <a:lnTo>
                    <a:pt x="106" y="389"/>
                  </a:lnTo>
                  <a:lnTo>
                    <a:pt x="106" y="352"/>
                  </a:lnTo>
                  <a:lnTo>
                    <a:pt x="87" y="352"/>
                  </a:lnTo>
                  <a:lnTo>
                    <a:pt x="90" y="345"/>
                  </a:lnTo>
                  <a:lnTo>
                    <a:pt x="94" y="339"/>
                  </a:lnTo>
                  <a:lnTo>
                    <a:pt x="100" y="334"/>
                  </a:lnTo>
                  <a:lnTo>
                    <a:pt x="105" y="329"/>
                  </a:lnTo>
                  <a:lnTo>
                    <a:pt x="117" y="323"/>
                  </a:lnTo>
                  <a:lnTo>
                    <a:pt x="129" y="319"/>
                  </a:lnTo>
                  <a:lnTo>
                    <a:pt x="142" y="315"/>
                  </a:lnTo>
                  <a:lnTo>
                    <a:pt x="154" y="309"/>
                  </a:lnTo>
                  <a:lnTo>
                    <a:pt x="159" y="306"/>
                  </a:lnTo>
                  <a:lnTo>
                    <a:pt x="163" y="302"/>
                  </a:lnTo>
                  <a:lnTo>
                    <a:pt x="169" y="297"/>
                  </a:lnTo>
                  <a:lnTo>
                    <a:pt x="172" y="291"/>
                  </a:lnTo>
                  <a:lnTo>
                    <a:pt x="166" y="286"/>
                  </a:lnTo>
                  <a:lnTo>
                    <a:pt x="159" y="281"/>
                  </a:lnTo>
                  <a:lnTo>
                    <a:pt x="154" y="277"/>
                  </a:lnTo>
                  <a:lnTo>
                    <a:pt x="148" y="271"/>
                  </a:lnTo>
                  <a:lnTo>
                    <a:pt x="145" y="265"/>
                  </a:lnTo>
                  <a:lnTo>
                    <a:pt x="142" y="260"/>
                  </a:lnTo>
                  <a:lnTo>
                    <a:pt x="140" y="254"/>
                  </a:lnTo>
                  <a:lnTo>
                    <a:pt x="139" y="247"/>
                  </a:lnTo>
                  <a:lnTo>
                    <a:pt x="125" y="247"/>
                  </a:lnTo>
                  <a:lnTo>
                    <a:pt x="113" y="245"/>
                  </a:lnTo>
                  <a:lnTo>
                    <a:pt x="103" y="242"/>
                  </a:lnTo>
                  <a:lnTo>
                    <a:pt x="94" y="239"/>
                  </a:lnTo>
                  <a:lnTo>
                    <a:pt x="88" y="235"/>
                  </a:lnTo>
                  <a:lnTo>
                    <a:pt x="83" y="229"/>
                  </a:lnTo>
                  <a:lnTo>
                    <a:pt x="80" y="224"/>
                  </a:lnTo>
                  <a:lnTo>
                    <a:pt x="80" y="216"/>
                  </a:lnTo>
                  <a:lnTo>
                    <a:pt x="80" y="209"/>
                  </a:lnTo>
                  <a:lnTo>
                    <a:pt x="82" y="203"/>
                  </a:lnTo>
                  <a:lnTo>
                    <a:pt x="86" y="198"/>
                  </a:lnTo>
                  <a:lnTo>
                    <a:pt x="90" y="192"/>
                  </a:lnTo>
                  <a:lnTo>
                    <a:pt x="93" y="186"/>
                  </a:lnTo>
                  <a:lnTo>
                    <a:pt x="96" y="180"/>
                  </a:lnTo>
                  <a:lnTo>
                    <a:pt x="99" y="174"/>
                  </a:lnTo>
                  <a:lnTo>
                    <a:pt x="100" y="168"/>
                  </a:lnTo>
                  <a:lnTo>
                    <a:pt x="92" y="171"/>
                  </a:lnTo>
                  <a:lnTo>
                    <a:pt x="86" y="175"/>
                  </a:lnTo>
                  <a:lnTo>
                    <a:pt x="80" y="180"/>
                  </a:lnTo>
                  <a:lnTo>
                    <a:pt x="73" y="186"/>
                  </a:lnTo>
                  <a:lnTo>
                    <a:pt x="64" y="199"/>
                  </a:lnTo>
                  <a:lnTo>
                    <a:pt x="53" y="210"/>
                  </a:lnTo>
                  <a:lnTo>
                    <a:pt x="31" y="179"/>
                  </a:lnTo>
                  <a:lnTo>
                    <a:pt x="22" y="162"/>
                  </a:lnTo>
                  <a:lnTo>
                    <a:pt x="20" y="157"/>
                  </a:lnTo>
                  <a:lnTo>
                    <a:pt x="20" y="153"/>
                  </a:lnTo>
                  <a:lnTo>
                    <a:pt x="20" y="148"/>
                  </a:lnTo>
                  <a:lnTo>
                    <a:pt x="20" y="142"/>
                  </a:lnTo>
                  <a:lnTo>
                    <a:pt x="17" y="141"/>
                  </a:lnTo>
                  <a:lnTo>
                    <a:pt x="16" y="138"/>
                  </a:lnTo>
                  <a:lnTo>
                    <a:pt x="15" y="135"/>
                  </a:lnTo>
                  <a:lnTo>
                    <a:pt x="14" y="131"/>
                  </a:lnTo>
                  <a:lnTo>
                    <a:pt x="14" y="121"/>
                  </a:lnTo>
                  <a:lnTo>
                    <a:pt x="15" y="110"/>
                  </a:lnTo>
                  <a:lnTo>
                    <a:pt x="17" y="84"/>
                  </a:lnTo>
                  <a:lnTo>
                    <a:pt x="20" y="63"/>
                  </a:lnTo>
                  <a:lnTo>
                    <a:pt x="21" y="59"/>
                  </a:lnTo>
                  <a:lnTo>
                    <a:pt x="21" y="55"/>
                  </a:lnTo>
                  <a:lnTo>
                    <a:pt x="20" y="51"/>
                  </a:lnTo>
                  <a:lnTo>
                    <a:pt x="19" y="49"/>
                  </a:lnTo>
                  <a:lnTo>
                    <a:pt x="15" y="45"/>
                  </a:lnTo>
                  <a:lnTo>
                    <a:pt x="11" y="43"/>
                  </a:lnTo>
                  <a:lnTo>
                    <a:pt x="6" y="41"/>
                  </a:lnTo>
                  <a:lnTo>
                    <a:pt x="4" y="40"/>
                  </a:lnTo>
                  <a:lnTo>
                    <a:pt x="3" y="39"/>
                  </a:lnTo>
                  <a:lnTo>
                    <a:pt x="6" y="37"/>
                  </a:lnTo>
                  <a:lnTo>
                    <a:pt x="13" y="28"/>
                  </a:lnTo>
                  <a:lnTo>
                    <a:pt x="20" y="19"/>
                  </a:lnTo>
                  <a:lnTo>
                    <a:pt x="20" y="13"/>
                  </a:lnTo>
                  <a:lnTo>
                    <a:pt x="11" y="11"/>
                  </a:lnTo>
                  <a:lnTo>
                    <a:pt x="5" y="10"/>
                  </a:lnTo>
                  <a:lnTo>
                    <a:pt x="3" y="9"/>
                  </a:lnTo>
                  <a:lnTo>
                    <a:pt x="1" y="7"/>
                  </a:lnTo>
                  <a:lnTo>
                    <a:pt x="0" y="5"/>
                  </a:lnTo>
                  <a:lnTo>
                    <a:pt x="0" y="1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104" name="Freeform 13"/>
            <p:cNvSpPr>
              <a:spLocks/>
            </p:cNvSpPr>
            <p:nvPr>
              <p:custDataLst>
                <p:tags r:id="rId30"/>
              </p:custDataLst>
            </p:nvPr>
          </p:nvSpPr>
          <p:spPr bwMode="auto">
            <a:xfrm>
              <a:off x="6344012" y="2788330"/>
              <a:ext cx="170767" cy="75906"/>
            </a:xfrm>
            <a:custGeom>
              <a:avLst/>
              <a:gdLst>
                <a:gd name="T0" fmla="*/ 190 w 382"/>
                <a:gd name="T1" fmla="*/ 21 h 148"/>
                <a:gd name="T2" fmla="*/ 177 w 382"/>
                <a:gd name="T3" fmla="*/ 31 h 148"/>
                <a:gd name="T4" fmla="*/ 174 w 382"/>
                <a:gd name="T5" fmla="*/ 45 h 148"/>
                <a:gd name="T6" fmla="*/ 168 w 382"/>
                <a:gd name="T7" fmla="*/ 53 h 148"/>
                <a:gd name="T8" fmla="*/ 166 w 382"/>
                <a:gd name="T9" fmla="*/ 61 h 148"/>
                <a:gd name="T10" fmla="*/ 177 w 382"/>
                <a:gd name="T11" fmla="*/ 74 h 148"/>
                <a:gd name="T12" fmla="*/ 155 w 382"/>
                <a:gd name="T13" fmla="*/ 86 h 148"/>
                <a:gd name="T14" fmla="*/ 108 w 382"/>
                <a:gd name="T15" fmla="*/ 96 h 148"/>
                <a:gd name="T16" fmla="*/ 77 w 382"/>
                <a:gd name="T17" fmla="*/ 97 h 148"/>
                <a:gd name="T18" fmla="*/ 52 w 382"/>
                <a:gd name="T19" fmla="*/ 95 h 148"/>
                <a:gd name="T20" fmla="*/ 4 w 382"/>
                <a:gd name="T21" fmla="*/ 111 h 148"/>
                <a:gd name="T22" fmla="*/ 0 w 382"/>
                <a:gd name="T23" fmla="*/ 129 h 148"/>
                <a:gd name="T24" fmla="*/ 4 w 382"/>
                <a:gd name="T25" fmla="*/ 131 h 148"/>
                <a:gd name="T26" fmla="*/ 12 w 382"/>
                <a:gd name="T27" fmla="*/ 131 h 148"/>
                <a:gd name="T28" fmla="*/ 51 w 382"/>
                <a:gd name="T29" fmla="*/ 129 h 148"/>
                <a:gd name="T30" fmla="*/ 114 w 382"/>
                <a:gd name="T31" fmla="*/ 127 h 148"/>
                <a:gd name="T32" fmla="*/ 123 w 382"/>
                <a:gd name="T33" fmla="*/ 134 h 148"/>
                <a:gd name="T34" fmla="*/ 137 w 382"/>
                <a:gd name="T35" fmla="*/ 141 h 148"/>
                <a:gd name="T36" fmla="*/ 159 w 382"/>
                <a:gd name="T37" fmla="*/ 147 h 148"/>
                <a:gd name="T38" fmla="*/ 185 w 382"/>
                <a:gd name="T39" fmla="*/ 148 h 148"/>
                <a:gd name="T40" fmla="*/ 210 w 382"/>
                <a:gd name="T41" fmla="*/ 148 h 148"/>
                <a:gd name="T42" fmla="*/ 233 w 382"/>
                <a:gd name="T43" fmla="*/ 148 h 148"/>
                <a:gd name="T44" fmla="*/ 255 w 382"/>
                <a:gd name="T45" fmla="*/ 148 h 148"/>
                <a:gd name="T46" fmla="*/ 275 w 382"/>
                <a:gd name="T47" fmla="*/ 143 h 148"/>
                <a:gd name="T48" fmla="*/ 301 w 382"/>
                <a:gd name="T49" fmla="*/ 134 h 148"/>
                <a:gd name="T50" fmla="*/ 334 w 382"/>
                <a:gd name="T51" fmla="*/ 121 h 148"/>
                <a:gd name="T52" fmla="*/ 353 w 382"/>
                <a:gd name="T53" fmla="*/ 103 h 148"/>
                <a:gd name="T54" fmla="*/ 372 w 382"/>
                <a:gd name="T55" fmla="*/ 72 h 148"/>
                <a:gd name="T56" fmla="*/ 376 w 382"/>
                <a:gd name="T57" fmla="*/ 52 h 148"/>
                <a:gd name="T58" fmla="*/ 363 w 382"/>
                <a:gd name="T59" fmla="*/ 44 h 148"/>
                <a:gd name="T60" fmla="*/ 357 w 382"/>
                <a:gd name="T61" fmla="*/ 32 h 148"/>
                <a:gd name="T62" fmla="*/ 347 w 382"/>
                <a:gd name="T63" fmla="*/ 22 h 148"/>
                <a:gd name="T64" fmla="*/ 334 w 382"/>
                <a:gd name="T65" fmla="*/ 17 h 148"/>
                <a:gd name="T66" fmla="*/ 319 w 382"/>
                <a:gd name="T67" fmla="*/ 8 h 148"/>
                <a:gd name="T68" fmla="*/ 203 w 382"/>
                <a:gd name="T69" fmla="*/ 1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82" h="148">
                  <a:moveTo>
                    <a:pt x="203" y="18"/>
                  </a:moveTo>
                  <a:lnTo>
                    <a:pt x="190" y="21"/>
                  </a:lnTo>
                  <a:lnTo>
                    <a:pt x="177" y="24"/>
                  </a:lnTo>
                  <a:lnTo>
                    <a:pt x="177" y="31"/>
                  </a:lnTo>
                  <a:lnTo>
                    <a:pt x="175" y="40"/>
                  </a:lnTo>
                  <a:lnTo>
                    <a:pt x="174" y="45"/>
                  </a:lnTo>
                  <a:lnTo>
                    <a:pt x="172" y="49"/>
                  </a:lnTo>
                  <a:lnTo>
                    <a:pt x="168" y="53"/>
                  </a:lnTo>
                  <a:lnTo>
                    <a:pt x="164" y="55"/>
                  </a:lnTo>
                  <a:lnTo>
                    <a:pt x="166" y="61"/>
                  </a:lnTo>
                  <a:lnTo>
                    <a:pt x="170" y="67"/>
                  </a:lnTo>
                  <a:lnTo>
                    <a:pt x="177" y="74"/>
                  </a:lnTo>
                  <a:lnTo>
                    <a:pt x="184" y="80"/>
                  </a:lnTo>
                  <a:lnTo>
                    <a:pt x="155" y="86"/>
                  </a:lnTo>
                  <a:lnTo>
                    <a:pt x="125" y="93"/>
                  </a:lnTo>
                  <a:lnTo>
                    <a:pt x="108" y="96"/>
                  </a:lnTo>
                  <a:lnTo>
                    <a:pt x="88" y="97"/>
                  </a:lnTo>
                  <a:lnTo>
                    <a:pt x="77" y="97"/>
                  </a:lnTo>
                  <a:lnTo>
                    <a:pt x="65" y="96"/>
                  </a:lnTo>
                  <a:lnTo>
                    <a:pt x="52" y="95"/>
                  </a:lnTo>
                  <a:lnTo>
                    <a:pt x="38" y="93"/>
                  </a:lnTo>
                  <a:lnTo>
                    <a:pt x="4" y="111"/>
                  </a:lnTo>
                  <a:lnTo>
                    <a:pt x="1" y="122"/>
                  </a:lnTo>
                  <a:lnTo>
                    <a:pt x="0" y="129"/>
                  </a:lnTo>
                  <a:lnTo>
                    <a:pt x="1" y="130"/>
                  </a:lnTo>
                  <a:lnTo>
                    <a:pt x="4" y="131"/>
                  </a:lnTo>
                  <a:lnTo>
                    <a:pt x="7" y="131"/>
                  </a:lnTo>
                  <a:lnTo>
                    <a:pt x="12" y="131"/>
                  </a:lnTo>
                  <a:lnTo>
                    <a:pt x="28" y="131"/>
                  </a:lnTo>
                  <a:lnTo>
                    <a:pt x="51" y="129"/>
                  </a:lnTo>
                  <a:lnTo>
                    <a:pt x="110" y="123"/>
                  </a:lnTo>
                  <a:lnTo>
                    <a:pt x="114" y="127"/>
                  </a:lnTo>
                  <a:lnTo>
                    <a:pt x="119" y="131"/>
                  </a:lnTo>
                  <a:lnTo>
                    <a:pt x="123" y="134"/>
                  </a:lnTo>
                  <a:lnTo>
                    <a:pt x="128" y="137"/>
                  </a:lnTo>
                  <a:lnTo>
                    <a:pt x="137" y="141"/>
                  </a:lnTo>
                  <a:lnTo>
                    <a:pt x="148" y="144"/>
                  </a:lnTo>
                  <a:lnTo>
                    <a:pt x="159" y="147"/>
                  </a:lnTo>
                  <a:lnTo>
                    <a:pt x="172" y="148"/>
                  </a:lnTo>
                  <a:lnTo>
                    <a:pt x="185" y="148"/>
                  </a:lnTo>
                  <a:lnTo>
                    <a:pt x="197" y="148"/>
                  </a:lnTo>
                  <a:lnTo>
                    <a:pt x="210" y="148"/>
                  </a:lnTo>
                  <a:lnTo>
                    <a:pt x="222" y="148"/>
                  </a:lnTo>
                  <a:lnTo>
                    <a:pt x="233" y="148"/>
                  </a:lnTo>
                  <a:lnTo>
                    <a:pt x="243" y="148"/>
                  </a:lnTo>
                  <a:lnTo>
                    <a:pt x="255" y="148"/>
                  </a:lnTo>
                  <a:lnTo>
                    <a:pt x="265" y="145"/>
                  </a:lnTo>
                  <a:lnTo>
                    <a:pt x="275" y="143"/>
                  </a:lnTo>
                  <a:lnTo>
                    <a:pt x="284" y="140"/>
                  </a:lnTo>
                  <a:lnTo>
                    <a:pt x="301" y="134"/>
                  </a:lnTo>
                  <a:lnTo>
                    <a:pt x="323" y="129"/>
                  </a:lnTo>
                  <a:lnTo>
                    <a:pt x="334" y="121"/>
                  </a:lnTo>
                  <a:lnTo>
                    <a:pt x="344" y="113"/>
                  </a:lnTo>
                  <a:lnTo>
                    <a:pt x="353" y="103"/>
                  </a:lnTo>
                  <a:lnTo>
                    <a:pt x="360" y="93"/>
                  </a:lnTo>
                  <a:lnTo>
                    <a:pt x="372" y="72"/>
                  </a:lnTo>
                  <a:lnTo>
                    <a:pt x="382" y="55"/>
                  </a:lnTo>
                  <a:lnTo>
                    <a:pt x="376" y="52"/>
                  </a:lnTo>
                  <a:lnTo>
                    <a:pt x="367" y="47"/>
                  </a:lnTo>
                  <a:lnTo>
                    <a:pt x="363" y="44"/>
                  </a:lnTo>
                  <a:lnTo>
                    <a:pt x="359" y="39"/>
                  </a:lnTo>
                  <a:lnTo>
                    <a:pt x="357" y="32"/>
                  </a:lnTo>
                  <a:lnTo>
                    <a:pt x="356" y="24"/>
                  </a:lnTo>
                  <a:lnTo>
                    <a:pt x="347" y="22"/>
                  </a:lnTo>
                  <a:lnTo>
                    <a:pt x="341" y="20"/>
                  </a:lnTo>
                  <a:lnTo>
                    <a:pt x="334" y="17"/>
                  </a:lnTo>
                  <a:lnTo>
                    <a:pt x="330" y="14"/>
                  </a:lnTo>
                  <a:lnTo>
                    <a:pt x="319" y="8"/>
                  </a:lnTo>
                  <a:lnTo>
                    <a:pt x="303" y="0"/>
                  </a:lnTo>
                  <a:lnTo>
                    <a:pt x="203" y="1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646" name="Freeform 14"/>
            <p:cNvSpPr>
              <a:spLocks/>
            </p:cNvSpPr>
            <p:nvPr>
              <p:custDataLst>
                <p:tags r:id="rId31"/>
              </p:custDataLst>
            </p:nvPr>
          </p:nvSpPr>
          <p:spPr bwMode="auto">
            <a:xfrm>
              <a:off x="7836532" y="2637277"/>
              <a:ext cx="1281112" cy="1038225"/>
            </a:xfrm>
            <a:custGeom>
              <a:avLst/>
              <a:gdLst>
                <a:gd name="T0" fmla="*/ 2147483647 w 2936"/>
                <a:gd name="T1" fmla="*/ 2147483647 h 1983"/>
                <a:gd name="T2" fmla="*/ 2147483647 w 2936"/>
                <a:gd name="T3" fmla="*/ 2147483647 h 1983"/>
                <a:gd name="T4" fmla="*/ 2147483647 w 2936"/>
                <a:gd name="T5" fmla="*/ 2147483647 h 1983"/>
                <a:gd name="T6" fmla="*/ 2147483647 w 2936"/>
                <a:gd name="T7" fmla="*/ 2147483647 h 1983"/>
                <a:gd name="T8" fmla="*/ 2147483647 w 2936"/>
                <a:gd name="T9" fmla="*/ 2147483647 h 1983"/>
                <a:gd name="T10" fmla="*/ 2147483647 w 2936"/>
                <a:gd name="T11" fmla="*/ 2147483647 h 1983"/>
                <a:gd name="T12" fmla="*/ 2147483647 w 2936"/>
                <a:gd name="T13" fmla="*/ 2147483647 h 1983"/>
                <a:gd name="T14" fmla="*/ 2147483647 w 2936"/>
                <a:gd name="T15" fmla="*/ 2147483647 h 1983"/>
                <a:gd name="T16" fmla="*/ 2147483647 w 2936"/>
                <a:gd name="T17" fmla="*/ 2147483647 h 1983"/>
                <a:gd name="T18" fmla="*/ 2147483647 w 2936"/>
                <a:gd name="T19" fmla="*/ 2147483647 h 1983"/>
                <a:gd name="T20" fmla="*/ 2147483647 w 2936"/>
                <a:gd name="T21" fmla="*/ 2147483647 h 1983"/>
                <a:gd name="T22" fmla="*/ 2147483647 w 2936"/>
                <a:gd name="T23" fmla="*/ 2147483647 h 1983"/>
                <a:gd name="T24" fmla="*/ 2147483647 w 2936"/>
                <a:gd name="T25" fmla="*/ 2147483647 h 1983"/>
                <a:gd name="T26" fmla="*/ 2147483647 w 2936"/>
                <a:gd name="T27" fmla="*/ 2147483647 h 1983"/>
                <a:gd name="T28" fmla="*/ 2147483647 w 2936"/>
                <a:gd name="T29" fmla="*/ 2147483647 h 1983"/>
                <a:gd name="T30" fmla="*/ 2147483647 w 2936"/>
                <a:gd name="T31" fmla="*/ 2147483647 h 1983"/>
                <a:gd name="T32" fmla="*/ 2147483647 w 2936"/>
                <a:gd name="T33" fmla="*/ 2147483647 h 1983"/>
                <a:gd name="T34" fmla="*/ 2147483647 w 2936"/>
                <a:gd name="T35" fmla="*/ 2147483647 h 1983"/>
                <a:gd name="T36" fmla="*/ 2147483647 w 2936"/>
                <a:gd name="T37" fmla="*/ 2147483647 h 1983"/>
                <a:gd name="T38" fmla="*/ 2147483647 w 2936"/>
                <a:gd name="T39" fmla="*/ 2147483647 h 1983"/>
                <a:gd name="T40" fmla="*/ 2147483647 w 2936"/>
                <a:gd name="T41" fmla="*/ 2147483647 h 1983"/>
                <a:gd name="T42" fmla="*/ 2147483647 w 2936"/>
                <a:gd name="T43" fmla="*/ 2147483647 h 1983"/>
                <a:gd name="T44" fmla="*/ 2147483647 w 2936"/>
                <a:gd name="T45" fmla="*/ 2147483647 h 1983"/>
                <a:gd name="T46" fmla="*/ 2147483647 w 2936"/>
                <a:gd name="T47" fmla="*/ 2147483647 h 1983"/>
                <a:gd name="T48" fmla="*/ 2147483647 w 2936"/>
                <a:gd name="T49" fmla="*/ 2147483647 h 1983"/>
                <a:gd name="T50" fmla="*/ 2147483647 w 2936"/>
                <a:gd name="T51" fmla="*/ 2147483647 h 1983"/>
                <a:gd name="T52" fmla="*/ 2147483647 w 2936"/>
                <a:gd name="T53" fmla="*/ 2147483647 h 1983"/>
                <a:gd name="T54" fmla="*/ 2147483647 w 2936"/>
                <a:gd name="T55" fmla="*/ 2147483647 h 1983"/>
                <a:gd name="T56" fmla="*/ 2147483647 w 2936"/>
                <a:gd name="T57" fmla="*/ 2147483647 h 1983"/>
                <a:gd name="T58" fmla="*/ 2147483647 w 2936"/>
                <a:gd name="T59" fmla="*/ 2147483647 h 1983"/>
                <a:gd name="T60" fmla="*/ 2147483647 w 2936"/>
                <a:gd name="T61" fmla="*/ 2147483647 h 1983"/>
                <a:gd name="T62" fmla="*/ 2147483647 w 2936"/>
                <a:gd name="T63" fmla="*/ 2147483647 h 1983"/>
                <a:gd name="T64" fmla="*/ 2147483647 w 2936"/>
                <a:gd name="T65" fmla="*/ 2147483647 h 1983"/>
                <a:gd name="T66" fmla="*/ 2147483647 w 2936"/>
                <a:gd name="T67" fmla="*/ 2147483647 h 1983"/>
                <a:gd name="T68" fmla="*/ 2147483647 w 2936"/>
                <a:gd name="T69" fmla="*/ 2147483647 h 1983"/>
                <a:gd name="T70" fmla="*/ 2147483647 w 2936"/>
                <a:gd name="T71" fmla="*/ 2147483647 h 1983"/>
                <a:gd name="T72" fmla="*/ 2147483647 w 2936"/>
                <a:gd name="T73" fmla="*/ 2147483647 h 1983"/>
                <a:gd name="T74" fmla="*/ 2147483647 w 2936"/>
                <a:gd name="T75" fmla="*/ 2147483647 h 1983"/>
                <a:gd name="T76" fmla="*/ 2147483647 w 2936"/>
                <a:gd name="T77" fmla="*/ 2147483647 h 1983"/>
                <a:gd name="T78" fmla="*/ 2147483647 w 2936"/>
                <a:gd name="T79" fmla="*/ 2147483647 h 1983"/>
                <a:gd name="T80" fmla="*/ 2147483647 w 2936"/>
                <a:gd name="T81" fmla="*/ 2147483647 h 1983"/>
                <a:gd name="T82" fmla="*/ 2147483647 w 2936"/>
                <a:gd name="T83" fmla="*/ 2147483647 h 1983"/>
                <a:gd name="T84" fmla="*/ 2147483647 w 2936"/>
                <a:gd name="T85" fmla="*/ 2147483647 h 1983"/>
                <a:gd name="T86" fmla="*/ 2147483647 w 2936"/>
                <a:gd name="T87" fmla="*/ 2147483647 h 1983"/>
                <a:gd name="T88" fmla="*/ 2147483647 w 2936"/>
                <a:gd name="T89" fmla="*/ 2147483647 h 1983"/>
                <a:gd name="T90" fmla="*/ 2147483647 w 2936"/>
                <a:gd name="T91" fmla="*/ 2147483647 h 1983"/>
                <a:gd name="T92" fmla="*/ 2147483647 w 2936"/>
                <a:gd name="T93" fmla="*/ 2147483647 h 1983"/>
                <a:gd name="T94" fmla="*/ 2147483647 w 2936"/>
                <a:gd name="T95" fmla="*/ 2147483647 h 1983"/>
                <a:gd name="T96" fmla="*/ 2147483647 w 2936"/>
                <a:gd name="T97" fmla="*/ 2147483647 h 1983"/>
                <a:gd name="T98" fmla="*/ 2147483647 w 2936"/>
                <a:gd name="T99" fmla="*/ 2147483647 h 1983"/>
                <a:gd name="T100" fmla="*/ 2147483647 w 2936"/>
                <a:gd name="T101" fmla="*/ 2147483647 h 1983"/>
                <a:gd name="T102" fmla="*/ 2147483647 w 2936"/>
                <a:gd name="T103" fmla="*/ 2147483647 h 1983"/>
                <a:gd name="T104" fmla="*/ 2147483647 w 2936"/>
                <a:gd name="T105" fmla="*/ 2147483647 h 1983"/>
                <a:gd name="T106" fmla="*/ 2147483647 w 2936"/>
                <a:gd name="T107" fmla="*/ 2147483647 h 1983"/>
                <a:gd name="T108" fmla="*/ 2147483647 w 2936"/>
                <a:gd name="T109" fmla="*/ 2147483647 h 1983"/>
                <a:gd name="T110" fmla="*/ 2147483647 w 2936"/>
                <a:gd name="T111" fmla="*/ 2147483647 h 1983"/>
                <a:gd name="T112" fmla="*/ 2147483647 w 2936"/>
                <a:gd name="T113" fmla="*/ 2147483647 h 1983"/>
                <a:gd name="T114" fmla="*/ 2147483647 w 2936"/>
                <a:gd name="T115" fmla="*/ 2147483647 h 1983"/>
                <a:gd name="T116" fmla="*/ 2147483647 w 2936"/>
                <a:gd name="T117" fmla="*/ 2147483647 h 1983"/>
                <a:gd name="T118" fmla="*/ 2147483647 w 2936"/>
                <a:gd name="T119" fmla="*/ 2147483647 h 1983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2936" h="1983">
                  <a:moveTo>
                    <a:pt x="98" y="954"/>
                  </a:moveTo>
                  <a:lnTo>
                    <a:pt x="129" y="989"/>
                  </a:lnTo>
                  <a:lnTo>
                    <a:pt x="157" y="1017"/>
                  </a:lnTo>
                  <a:lnTo>
                    <a:pt x="170" y="1029"/>
                  </a:lnTo>
                  <a:lnTo>
                    <a:pt x="182" y="1041"/>
                  </a:lnTo>
                  <a:lnTo>
                    <a:pt x="194" y="1050"/>
                  </a:lnTo>
                  <a:lnTo>
                    <a:pt x="205" y="1059"/>
                  </a:lnTo>
                  <a:lnTo>
                    <a:pt x="216" y="1066"/>
                  </a:lnTo>
                  <a:lnTo>
                    <a:pt x="227" y="1072"/>
                  </a:lnTo>
                  <a:lnTo>
                    <a:pt x="238" y="1076"/>
                  </a:lnTo>
                  <a:lnTo>
                    <a:pt x="248" y="1080"/>
                  </a:lnTo>
                  <a:lnTo>
                    <a:pt x="259" y="1082"/>
                  </a:lnTo>
                  <a:lnTo>
                    <a:pt x="270" y="1084"/>
                  </a:lnTo>
                  <a:lnTo>
                    <a:pt x="281" y="1084"/>
                  </a:lnTo>
                  <a:lnTo>
                    <a:pt x="292" y="1084"/>
                  </a:lnTo>
                  <a:lnTo>
                    <a:pt x="364" y="1065"/>
                  </a:lnTo>
                  <a:lnTo>
                    <a:pt x="373" y="1071"/>
                  </a:lnTo>
                  <a:lnTo>
                    <a:pt x="383" y="1079"/>
                  </a:lnTo>
                  <a:lnTo>
                    <a:pt x="393" y="1090"/>
                  </a:lnTo>
                  <a:lnTo>
                    <a:pt x="401" y="1102"/>
                  </a:lnTo>
                  <a:lnTo>
                    <a:pt x="410" y="1114"/>
                  </a:lnTo>
                  <a:lnTo>
                    <a:pt x="418" y="1127"/>
                  </a:lnTo>
                  <a:lnTo>
                    <a:pt x="420" y="1133"/>
                  </a:lnTo>
                  <a:lnTo>
                    <a:pt x="422" y="1139"/>
                  </a:lnTo>
                  <a:lnTo>
                    <a:pt x="423" y="1145"/>
                  </a:lnTo>
                  <a:lnTo>
                    <a:pt x="425" y="1151"/>
                  </a:lnTo>
                  <a:lnTo>
                    <a:pt x="423" y="1157"/>
                  </a:lnTo>
                  <a:lnTo>
                    <a:pt x="420" y="1162"/>
                  </a:lnTo>
                  <a:lnTo>
                    <a:pt x="416" y="1167"/>
                  </a:lnTo>
                  <a:lnTo>
                    <a:pt x="409" y="1172"/>
                  </a:lnTo>
                  <a:lnTo>
                    <a:pt x="403" y="1176"/>
                  </a:lnTo>
                  <a:lnTo>
                    <a:pt x="396" y="1179"/>
                  </a:lnTo>
                  <a:lnTo>
                    <a:pt x="390" y="1182"/>
                  </a:lnTo>
                  <a:lnTo>
                    <a:pt x="385" y="1182"/>
                  </a:lnTo>
                  <a:lnTo>
                    <a:pt x="399" y="1200"/>
                  </a:lnTo>
                  <a:lnTo>
                    <a:pt x="412" y="1217"/>
                  </a:lnTo>
                  <a:lnTo>
                    <a:pt x="419" y="1226"/>
                  </a:lnTo>
                  <a:lnTo>
                    <a:pt x="423" y="1235"/>
                  </a:lnTo>
                  <a:lnTo>
                    <a:pt x="428" y="1245"/>
                  </a:lnTo>
                  <a:lnTo>
                    <a:pt x="431" y="1256"/>
                  </a:lnTo>
                  <a:lnTo>
                    <a:pt x="385" y="1256"/>
                  </a:lnTo>
                  <a:lnTo>
                    <a:pt x="385" y="1287"/>
                  </a:lnTo>
                  <a:lnTo>
                    <a:pt x="390" y="1300"/>
                  </a:lnTo>
                  <a:lnTo>
                    <a:pt x="397" y="1311"/>
                  </a:lnTo>
                  <a:lnTo>
                    <a:pt x="405" y="1321"/>
                  </a:lnTo>
                  <a:lnTo>
                    <a:pt x="414" y="1328"/>
                  </a:lnTo>
                  <a:lnTo>
                    <a:pt x="423" y="1335"/>
                  </a:lnTo>
                  <a:lnTo>
                    <a:pt x="434" y="1340"/>
                  </a:lnTo>
                  <a:lnTo>
                    <a:pt x="444" y="1345"/>
                  </a:lnTo>
                  <a:lnTo>
                    <a:pt x="456" y="1349"/>
                  </a:lnTo>
                  <a:lnTo>
                    <a:pt x="478" y="1358"/>
                  </a:lnTo>
                  <a:lnTo>
                    <a:pt x="500" y="1367"/>
                  </a:lnTo>
                  <a:lnTo>
                    <a:pt x="510" y="1373"/>
                  </a:lnTo>
                  <a:lnTo>
                    <a:pt x="520" y="1381"/>
                  </a:lnTo>
                  <a:lnTo>
                    <a:pt x="529" y="1389"/>
                  </a:lnTo>
                  <a:lnTo>
                    <a:pt x="538" y="1398"/>
                  </a:lnTo>
                  <a:lnTo>
                    <a:pt x="617" y="1404"/>
                  </a:lnTo>
                  <a:lnTo>
                    <a:pt x="620" y="1408"/>
                  </a:lnTo>
                  <a:lnTo>
                    <a:pt x="623" y="1411"/>
                  </a:lnTo>
                  <a:lnTo>
                    <a:pt x="628" y="1414"/>
                  </a:lnTo>
                  <a:lnTo>
                    <a:pt x="633" y="1417"/>
                  </a:lnTo>
                  <a:lnTo>
                    <a:pt x="644" y="1422"/>
                  </a:lnTo>
                  <a:lnTo>
                    <a:pt x="656" y="1427"/>
                  </a:lnTo>
                  <a:lnTo>
                    <a:pt x="678" y="1436"/>
                  </a:lnTo>
                  <a:lnTo>
                    <a:pt x="690" y="1441"/>
                  </a:lnTo>
                  <a:lnTo>
                    <a:pt x="723" y="1462"/>
                  </a:lnTo>
                  <a:lnTo>
                    <a:pt x="754" y="1481"/>
                  </a:lnTo>
                  <a:lnTo>
                    <a:pt x="768" y="1492"/>
                  </a:lnTo>
                  <a:lnTo>
                    <a:pt x="784" y="1501"/>
                  </a:lnTo>
                  <a:lnTo>
                    <a:pt x="798" y="1509"/>
                  </a:lnTo>
                  <a:lnTo>
                    <a:pt x="814" y="1517"/>
                  </a:lnTo>
                  <a:lnTo>
                    <a:pt x="830" y="1525"/>
                  </a:lnTo>
                  <a:lnTo>
                    <a:pt x="847" y="1531"/>
                  </a:lnTo>
                  <a:lnTo>
                    <a:pt x="866" y="1537"/>
                  </a:lnTo>
                  <a:lnTo>
                    <a:pt x="886" y="1543"/>
                  </a:lnTo>
                  <a:lnTo>
                    <a:pt x="907" y="1547"/>
                  </a:lnTo>
                  <a:lnTo>
                    <a:pt x="930" y="1550"/>
                  </a:lnTo>
                  <a:lnTo>
                    <a:pt x="955" y="1552"/>
                  </a:lnTo>
                  <a:lnTo>
                    <a:pt x="982" y="1552"/>
                  </a:lnTo>
                  <a:lnTo>
                    <a:pt x="982" y="1521"/>
                  </a:lnTo>
                  <a:lnTo>
                    <a:pt x="1015" y="1521"/>
                  </a:lnTo>
                  <a:lnTo>
                    <a:pt x="1021" y="1532"/>
                  </a:lnTo>
                  <a:lnTo>
                    <a:pt x="1025" y="1539"/>
                  </a:lnTo>
                  <a:lnTo>
                    <a:pt x="1031" y="1545"/>
                  </a:lnTo>
                  <a:lnTo>
                    <a:pt x="1036" y="1552"/>
                  </a:lnTo>
                  <a:lnTo>
                    <a:pt x="1042" y="1552"/>
                  </a:lnTo>
                  <a:lnTo>
                    <a:pt x="1046" y="1551"/>
                  </a:lnTo>
                  <a:lnTo>
                    <a:pt x="1050" y="1548"/>
                  </a:lnTo>
                  <a:lnTo>
                    <a:pt x="1054" y="1546"/>
                  </a:lnTo>
                  <a:lnTo>
                    <a:pt x="1058" y="1538"/>
                  </a:lnTo>
                  <a:lnTo>
                    <a:pt x="1062" y="1530"/>
                  </a:lnTo>
                  <a:lnTo>
                    <a:pt x="1066" y="1522"/>
                  </a:lnTo>
                  <a:lnTo>
                    <a:pt x="1071" y="1516"/>
                  </a:lnTo>
                  <a:lnTo>
                    <a:pt x="1075" y="1513"/>
                  </a:lnTo>
                  <a:lnTo>
                    <a:pt x="1078" y="1511"/>
                  </a:lnTo>
                  <a:lnTo>
                    <a:pt x="1083" y="1510"/>
                  </a:lnTo>
                  <a:lnTo>
                    <a:pt x="1089" y="1509"/>
                  </a:lnTo>
                  <a:lnTo>
                    <a:pt x="1092" y="1512"/>
                  </a:lnTo>
                  <a:lnTo>
                    <a:pt x="1096" y="1516"/>
                  </a:lnTo>
                  <a:lnTo>
                    <a:pt x="1102" y="1519"/>
                  </a:lnTo>
                  <a:lnTo>
                    <a:pt x="1109" y="1522"/>
                  </a:lnTo>
                  <a:lnTo>
                    <a:pt x="1124" y="1529"/>
                  </a:lnTo>
                  <a:lnTo>
                    <a:pt x="1142" y="1534"/>
                  </a:lnTo>
                  <a:lnTo>
                    <a:pt x="1159" y="1539"/>
                  </a:lnTo>
                  <a:lnTo>
                    <a:pt x="1178" y="1543"/>
                  </a:lnTo>
                  <a:lnTo>
                    <a:pt x="1194" y="1546"/>
                  </a:lnTo>
                  <a:lnTo>
                    <a:pt x="1208" y="1546"/>
                  </a:lnTo>
                  <a:lnTo>
                    <a:pt x="1217" y="1535"/>
                  </a:lnTo>
                  <a:lnTo>
                    <a:pt x="1227" y="1526"/>
                  </a:lnTo>
                  <a:lnTo>
                    <a:pt x="1236" y="1518"/>
                  </a:lnTo>
                  <a:lnTo>
                    <a:pt x="1247" y="1510"/>
                  </a:lnTo>
                  <a:lnTo>
                    <a:pt x="1258" y="1502"/>
                  </a:lnTo>
                  <a:lnTo>
                    <a:pt x="1269" y="1496"/>
                  </a:lnTo>
                  <a:lnTo>
                    <a:pt x="1280" y="1489"/>
                  </a:lnTo>
                  <a:lnTo>
                    <a:pt x="1292" y="1482"/>
                  </a:lnTo>
                  <a:lnTo>
                    <a:pt x="1317" y="1472"/>
                  </a:lnTo>
                  <a:lnTo>
                    <a:pt x="1344" y="1463"/>
                  </a:lnTo>
                  <a:lnTo>
                    <a:pt x="1372" y="1455"/>
                  </a:lnTo>
                  <a:lnTo>
                    <a:pt x="1401" y="1448"/>
                  </a:lnTo>
                  <a:lnTo>
                    <a:pt x="1408" y="1456"/>
                  </a:lnTo>
                  <a:lnTo>
                    <a:pt x="1418" y="1465"/>
                  </a:lnTo>
                  <a:lnTo>
                    <a:pt x="1431" y="1476"/>
                  </a:lnTo>
                  <a:lnTo>
                    <a:pt x="1446" y="1487"/>
                  </a:lnTo>
                  <a:lnTo>
                    <a:pt x="1453" y="1492"/>
                  </a:lnTo>
                  <a:lnTo>
                    <a:pt x="1461" y="1496"/>
                  </a:lnTo>
                  <a:lnTo>
                    <a:pt x="1469" y="1499"/>
                  </a:lnTo>
                  <a:lnTo>
                    <a:pt x="1475" y="1502"/>
                  </a:lnTo>
                  <a:lnTo>
                    <a:pt x="1483" y="1504"/>
                  </a:lnTo>
                  <a:lnTo>
                    <a:pt x="1490" y="1505"/>
                  </a:lnTo>
                  <a:lnTo>
                    <a:pt x="1495" y="1505"/>
                  </a:lnTo>
                  <a:lnTo>
                    <a:pt x="1501" y="1503"/>
                  </a:lnTo>
                  <a:lnTo>
                    <a:pt x="1512" y="1510"/>
                  </a:lnTo>
                  <a:lnTo>
                    <a:pt x="1521" y="1518"/>
                  </a:lnTo>
                  <a:lnTo>
                    <a:pt x="1530" y="1526"/>
                  </a:lnTo>
                  <a:lnTo>
                    <a:pt x="1538" y="1534"/>
                  </a:lnTo>
                  <a:lnTo>
                    <a:pt x="1547" y="1542"/>
                  </a:lnTo>
                  <a:lnTo>
                    <a:pt x="1555" y="1547"/>
                  </a:lnTo>
                  <a:lnTo>
                    <a:pt x="1561" y="1550"/>
                  </a:lnTo>
                  <a:lnTo>
                    <a:pt x="1566" y="1551"/>
                  </a:lnTo>
                  <a:lnTo>
                    <a:pt x="1573" y="1552"/>
                  </a:lnTo>
                  <a:lnTo>
                    <a:pt x="1581" y="1552"/>
                  </a:lnTo>
                  <a:lnTo>
                    <a:pt x="1586" y="1578"/>
                  </a:lnTo>
                  <a:lnTo>
                    <a:pt x="1593" y="1602"/>
                  </a:lnTo>
                  <a:lnTo>
                    <a:pt x="1596" y="1613"/>
                  </a:lnTo>
                  <a:lnTo>
                    <a:pt x="1598" y="1625"/>
                  </a:lnTo>
                  <a:lnTo>
                    <a:pt x="1599" y="1637"/>
                  </a:lnTo>
                  <a:lnTo>
                    <a:pt x="1600" y="1650"/>
                  </a:lnTo>
                  <a:lnTo>
                    <a:pt x="1599" y="1658"/>
                  </a:lnTo>
                  <a:lnTo>
                    <a:pt x="1598" y="1664"/>
                  </a:lnTo>
                  <a:lnTo>
                    <a:pt x="1596" y="1670"/>
                  </a:lnTo>
                  <a:lnTo>
                    <a:pt x="1593" y="1676"/>
                  </a:lnTo>
                  <a:lnTo>
                    <a:pt x="1585" y="1686"/>
                  </a:lnTo>
                  <a:lnTo>
                    <a:pt x="1577" y="1697"/>
                  </a:lnTo>
                  <a:lnTo>
                    <a:pt x="1569" y="1707"/>
                  </a:lnTo>
                  <a:lnTo>
                    <a:pt x="1561" y="1719"/>
                  </a:lnTo>
                  <a:lnTo>
                    <a:pt x="1558" y="1724"/>
                  </a:lnTo>
                  <a:lnTo>
                    <a:pt x="1555" y="1730"/>
                  </a:lnTo>
                  <a:lnTo>
                    <a:pt x="1554" y="1736"/>
                  </a:lnTo>
                  <a:lnTo>
                    <a:pt x="1553" y="1743"/>
                  </a:lnTo>
                  <a:lnTo>
                    <a:pt x="1554" y="1748"/>
                  </a:lnTo>
                  <a:lnTo>
                    <a:pt x="1555" y="1753"/>
                  </a:lnTo>
                  <a:lnTo>
                    <a:pt x="1558" y="1756"/>
                  </a:lnTo>
                  <a:lnTo>
                    <a:pt x="1561" y="1759"/>
                  </a:lnTo>
                  <a:lnTo>
                    <a:pt x="1565" y="1761"/>
                  </a:lnTo>
                  <a:lnTo>
                    <a:pt x="1570" y="1764"/>
                  </a:lnTo>
                  <a:lnTo>
                    <a:pt x="1574" y="1765"/>
                  </a:lnTo>
                  <a:lnTo>
                    <a:pt x="1580" y="1767"/>
                  </a:lnTo>
                  <a:lnTo>
                    <a:pt x="1591" y="1769"/>
                  </a:lnTo>
                  <a:lnTo>
                    <a:pt x="1602" y="1771"/>
                  </a:lnTo>
                  <a:lnTo>
                    <a:pt x="1607" y="1773"/>
                  </a:lnTo>
                  <a:lnTo>
                    <a:pt x="1611" y="1775"/>
                  </a:lnTo>
                  <a:lnTo>
                    <a:pt x="1616" y="1777"/>
                  </a:lnTo>
                  <a:lnTo>
                    <a:pt x="1620" y="1780"/>
                  </a:lnTo>
                  <a:lnTo>
                    <a:pt x="1627" y="1787"/>
                  </a:lnTo>
                  <a:lnTo>
                    <a:pt x="1632" y="1794"/>
                  </a:lnTo>
                  <a:lnTo>
                    <a:pt x="1636" y="1801"/>
                  </a:lnTo>
                  <a:lnTo>
                    <a:pt x="1639" y="1807"/>
                  </a:lnTo>
                  <a:lnTo>
                    <a:pt x="1645" y="1822"/>
                  </a:lnTo>
                  <a:lnTo>
                    <a:pt x="1653" y="1836"/>
                  </a:lnTo>
                  <a:lnTo>
                    <a:pt x="1659" y="1848"/>
                  </a:lnTo>
                  <a:lnTo>
                    <a:pt x="1666" y="1862"/>
                  </a:lnTo>
                  <a:lnTo>
                    <a:pt x="1674" y="1877"/>
                  </a:lnTo>
                  <a:lnTo>
                    <a:pt x="1683" y="1890"/>
                  </a:lnTo>
                  <a:lnTo>
                    <a:pt x="1688" y="1897"/>
                  </a:lnTo>
                  <a:lnTo>
                    <a:pt x="1694" y="1903"/>
                  </a:lnTo>
                  <a:lnTo>
                    <a:pt x="1699" y="1908"/>
                  </a:lnTo>
                  <a:lnTo>
                    <a:pt x="1706" y="1912"/>
                  </a:lnTo>
                  <a:lnTo>
                    <a:pt x="1712" y="1916"/>
                  </a:lnTo>
                  <a:lnTo>
                    <a:pt x="1719" y="1919"/>
                  </a:lnTo>
                  <a:lnTo>
                    <a:pt x="1726" y="1921"/>
                  </a:lnTo>
                  <a:lnTo>
                    <a:pt x="1733" y="1921"/>
                  </a:lnTo>
                  <a:lnTo>
                    <a:pt x="1741" y="1921"/>
                  </a:lnTo>
                  <a:lnTo>
                    <a:pt x="1752" y="1918"/>
                  </a:lnTo>
                  <a:lnTo>
                    <a:pt x="1762" y="1916"/>
                  </a:lnTo>
                  <a:lnTo>
                    <a:pt x="1766" y="1915"/>
                  </a:lnTo>
                  <a:lnTo>
                    <a:pt x="1777" y="1910"/>
                  </a:lnTo>
                  <a:lnTo>
                    <a:pt x="1787" y="1904"/>
                  </a:lnTo>
                  <a:lnTo>
                    <a:pt x="1795" y="1898"/>
                  </a:lnTo>
                  <a:lnTo>
                    <a:pt x="1803" y="1891"/>
                  </a:lnTo>
                  <a:lnTo>
                    <a:pt x="1809" y="1884"/>
                  </a:lnTo>
                  <a:lnTo>
                    <a:pt x="1816" y="1878"/>
                  </a:lnTo>
                  <a:lnTo>
                    <a:pt x="1823" y="1871"/>
                  </a:lnTo>
                  <a:lnTo>
                    <a:pt x="1833" y="1866"/>
                  </a:lnTo>
                  <a:lnTo>
                    <a:pt x="1842" y="1859"/>
                  </a:lnTo>
                  <a:lnTo>
                    <a:pt x="1852" y="1853"/>
                  </a:lnTo>
                  <a:lnTo>
                    <a:pt x="1863" y="1848"/>
                  </a:lnTo>
                  <a:lnTo>
                    <a:pt x="1874" y="1844"/>
                  </a:lnTo>
                  <a:lnTo>
                    <a:pt x="1896" y="1838"/>
                  </a:lnTo>
                  <a:lnTo>
                    <a:pt x="1919" y="1834"/>
                  </a:lnTo>
                  <a:lnTo>
                    <a:pt x="1941" y="1831"/>
                  </a:lnTo>
                  <a:lnTo>
                    <a:pt x="1960" y="1827"/>
                  </a:lnTo>
                  <a:lnTo>
                    <a:pt x="1968" y="1824"/>
                  </a:lnTo>
                  <a:lnTo>
                    <a:pt x="1975" y="1821"/>
                  </a:lnTo>
                  <a:lnTo>
                    <a:pt x="1981" y="1816"/>
                  </a:lnTo>
                  <a:lnTo>
                    <a:pt x="1986" y="1811"/>
                  </a:lnTo>
                  <a:lnTo>
                    <a:pt x="1996" y="1820"/>
                  </a:lnTo>
                  <a:lnTo>
                    <a:pt x="2008" y="1827"/>
                  </a:lnTo>
                  <a:lnTo>
                    <a:pt x="2019" y="1832"/>
                  </a:lnTo>
                  <a:lnTo>
                    <a:pt x="2031" y="1837"/>
                  </a:lnTo>
                  <a:lnTo>
                    <a:pt x="2054" y="1846"/>
                  </a:lnTo>
                  <a:lnTo>
                    <a:pt x="2072" y="1854"/>
                  </a:lnTo>
                  <a:lnTo>
                    <a:pt x="2091" y="1869"/>
                  </a:lnTo>
                  <a:lnTo>
                    <a:pt x="2109" y="1887"/>
                  </a:lnTo>
                  <a:lnTo>
                    <a:pt x="2119" y="1896"/>
                  </a:lnTo>
                  <a:lnTo>
                    <a:pt x="2129" y="1903"/>
                  </a:lnTo>
                  <a:lnTo>
                    <a:pt x="2140" y="1910"/>
                  </a:lnTo>
                  <a:lnTo>
                    <a:pt x="2152" y="1915"/>
                  </a:lnTo>
                  <a:lnTo>
                    <a:pt x="2245" y="1921"/>
                  </a:lnTo>
                  <a:lnTo>
                    <a:pt x="2238" y="1935"/>
                  </a:lnTo>
                  <a:lnTo>
                    <a:pt x="2232" y="1947"/>
                  </a:lnTo>
                  <a:lnTo>
                    <a:pt x="2232" y="1953"/>
                  </a:lnTo>
                  <a:lnTo>
                    <a:pt x="2235" y="1957"/>
                  </a:lnTo>
                  <a:lnTo>
                    <a:pt x="2238" y="1961"/>
                  </a:lnTo>
                  <a:lnTo>
                    <a:pt x="2243" y="1965"/>
                  </a:lnTo>
                  <a:lnTo>
                    <a:pt x="2248" y="1968"/>
                  </a:lnTo>
                  <a:lnTo>
                    <a:pt x="2254" y="1972"/>
                  </a:lnTo>
                  <a:lnTo>
                    <a:pt x="2259" y="1977"/>
                  </a:lnTo>
                  <a:lnTo>
                    <a:pt x="2265" y="1983"/>
                  </a:lnTo>
                  <a:lnTo>
                    <a:pt x="2266" y="1980"/>
                  </a:lnTo>
                  <a:lnTo>
                    <a:pt x="2267" y="1972"/>
                  </a:lnTo>
                  <a:lnTo>
                    <a:pt x="2268" y="1968"/>
                  </a:lnTo>
                  <a:lnTo>
                    <a:pt x="2267" y="1963"/>
                  </a:lnTo>
                  <a:lnTo>
                    <a:pt x="2267" y="1957"/>
                  </a:lnTo>
                  <a:lnTo>
                    <a:pt x="2265" y="1953"/>
                  </a:lnTo>
                  <a:lnTo>
                    <a:pt x="2275" y="1947"/>
                  </a:lnTo>
                  <a:lnTo>
                    <a:pt x="2293" y="1935"/>
                  </a:lnTo>
                  <a:lnTo>
                    <a:pt x="2303" y="1927"/>
                  </a:lnTo>
                  <a:lnTo>
                    <a:pt x="2313" y="1921"/>
                  </a:lnTo>
                  <a:lnTo>
                    <a:pt x="2319" y="1919"/>
                  </a:lnTo>
                  <a:lnTo>
                    <a:pt x="2323" y="1917"/>
                  </a:lnTo>
                  <a:lnTo>
                    <a:pt x="2327" y="1916"/>
                  </a:lnTo>
                  <a:lnTo>
                    <a:pt x="2331" y="1915"/>
                  </a:lnTo>
                  <a:lnTo>
                    <a:pt x="2341" y="1915"/>
                  </a:lnTo>
                  <a:lnTo>
                    <a:pt x="2349" y="1913"/>
                  </a:lnTo>
                  <a:lnTo>
                    <a:pt x="2357" y="1910"/>
                  </a:lnTo>
                  <a:lnTo>
                    <a:pt x="2364" y="1906"/>
                  </a:lnTo>
                  <a:lnTo>
                    <a:pt x="2370" y="1901"/>
                  </a:lnTo>
                  <a:lnTo>
                    <a:pt x="2376" y="1895"/>
                  </a:lnTo>
                  <a:lnTo>
                    <a:pt x="2382" y="1889"/>
                  </a:lnTo>
                  <a:lnTo>
                    <a:pt x="2388" y="1882"/>
                  </a:lnTo>
                  <a:lnTo>
                    <a:pt x="2399" y="1867"/>
                  </a:lnTo>
                  <a:lnTo>
                    <a:pt x="2412" y="1853"/>
                  </a:lnTo>
                  <a:lnTo>
                    <a:pt x="2418" y="1847"/>
                  </a:lnTo>
                  <a:lnTo>
                    <a:pt x="2426" y="1840"/>
                  </a:lnTo>
                  <a:lnTo>
                    <a:pt x="2435" y="1835"/>
                  </a:lnTo>
                  <a:lnTo>
                    <a:pt x="2444" y="1830"/>
                  </a:lnTo>
                  <a:lnTo>
                    <a:pt x="2449" y="1838"/>
                  </a:lnTo>
                  <a:lnTo>
                    <a:pt x="2454" y="1846"/>
                  </a:lnTo>
                  <a:lnTo>
                    <a:pt x="2455" y="1850"/>
                  </a:lnTo>
                  <a:lnTo>
                    <a:pt x="2456" y="1854"/>
                  </a:lnTo>
                  <a:lnTo>
                    <a:pt x="2457" y="1860"/>
                  </a:lnTo>
                  <a:lnTo>
                    <a:pt x="2457" y="1866"/>
                  </a:lnTo>
                  <a:lnTo>
                    <a:pt x="2462" y="1860"/>
                  </a:lnTo>
                  <a:lnTo>
                    <a:pt x="2468" y="1857"/>
                  </a:lnTo>
                  <a:lnTo>
                    <a:pt x="2474" y="1855"/>
                  </a:lnTo>
                  <a:lnTo>
                    <a:pt x="2481" y="1855"/>
                  </a:lnTo>
                  <a:lnTo>
                    <a:pt x="2487" y="1856"/>
                  </a:lnTo>
                  <a:lnTo>
                    <a:pt x="2493" y="1858"/>
                  </a:lnTo>
                  <a:lnTo>
                    <a:pt x="2499" y="1862"/>
                  </a:lnTo>
                  <a:lnTo>
                    <a:pt x="2504" y="1866"/>
                  </a:lnTo>
                  <a:lnTo>
                    <a:pt x="2505" y="1856"/>
                  </a:lnTo>
                  <a:lnTo>
                    <a:pt x="2507" y="1847"/>
                  </a:lnTo>
                  <a:lnTo>
                    <a:pt x="2511" y="1841"/>
                  </a:lnTo>
                  <a:lnTo>
                    <a:pt x="2514" y="1836"/>
                  </a:lnTo>
                  <a:lnTo>
                    <a:pt x="2517" y="1832"/>
                  </a:lnTo>
                  <a:lnTo>
                    <a:pt x="2522" y="1829"/>
                  </a:lnTo>
                  <a:lnTo>
                    <a:pt x="2527" y="1828"/>
                  </a:lnTo>
                  <a:lnTo>
                    <a:pt x="2533" y="1827"/>
                  </a:lnTo>
                  <a:lnTo>
                    <a:pt x="2546" y="1826"/>
                  </a:lnTo>
                  <a:lnTo>
                    <a:pt x="2561" y="1827"/>
                  </a:lnTo>
                  <a:lnTo>
                    <a:pt x="2569" y="1827"/>
                  </a:lnTo>
                  <a:lnTo>
                    <a:pt x="2578" y="1826"/>
                  </a:lnTo>
                  <a:lnTo>
                    <a:pt x="2588" y="1825"/>
                  </a:lnTo>
                  <a:lnTo>
                    <a:pt x="2596" y="1824"/>
                  </a:lnTo>
                  <a:lnTo>
                    <a:pt x="2604" y="1821"/>
                  </a:lnTo>
                  <a:lnTo>
                    <a:pt x="2611" y="1816"/>
                  </a:lnTo>
                  <a:lnTo>
                    <a:pt x="2616" y="1810"/>
                  </a:lnTo>
                  <a:lnTo>
                    <a:pt x="2622" y="1804"/>
                  </a:lnTo>
                  <a:lnTo>
                    <a:pt x="2633" y="1790"/>
                  </a:lnTo>
                  <a:lnTo>
                    <a:pt x="2642" y="1774"/>
                  </a:lnTo>
                  <a:lnTo>
                    <a:pt x="2648" y="1766"/>
                  </a:lnTo>
                  <a:lnTo>
                    <a:pt x="2653" y="1758"/>
                  </a:lnTo>
                  <a:lnTo>
                    <a:pt x="2660" y="1750"/>
                  </a:lnTo>
                  <a:lnTo>
                    <a:pt x="2667" y="1743"/>
                  </a:lnTo>
                  <a:lnTo>
                    <a:pt x="2674" y="1737"/>
                  </a:lnTo>
                  <a:lnTo>
                    <a:pt x="2683" y="1732"/>
                  </a:lnTo>
                  <a:lnTo>
                    <a:pt x="2693" y="1728"/>
                  </a:lnTo>
                  <a:lnTo>
                    <a:pt x="2703" y="1725"/>
                  </a:lnTo>
                  <a:lnTo>
                    <a:pt x="2704" y="1716"/>
                  </a:lnTo>
                  <a:lnTo>
                    <a:pt x="2706" y="1707"/>
                  </a:lnTo>
                  <a:lnTo>
                    <a:pt x="2711" y="1699"/>
                  </a:lnTo>
                  <a:lnTo>
                    <a:pt x="2715" y="1691"/>
                  </a:lnTo>
                  <a:lnTo>
                    <a:pt x="2726" y="1677"/>
                  </a:lnTo>
                  <a:lnTo>
                    <a:pt x="2737" y="1663"/>
                  </a:lnTo>
                  <a:lnTo>
                    <a:pt x="2733" y="1658"/>
                  </a:lnTo>
                  <a:lnTo>
                    <a:pt x="2730" y="1651"/>
                  </a:lnTo>
                  <a:lnTo>
                    <a:pt x="2729" y="1645"/>
                  </a:lnTo>
                  <a:lnTo>
                    <a:pt x="2729" y="1638"/>
                  </a:lnTo>
                  <a:lnTo>
                    <a:pt x="2728" y="1631"/>
                  </a:lnTo>
                  <a:lnTo>
                    <a:pt x="2726" y="1625"/>
                  </a:lnTo>
                  <a:lnTo>
                    <a:pt x="2725" y="1622"/>
                  </a:lnTo>
                  <a:lnTo>
                    <a:pt x="2723" y="1619"/>
                  </a:lnTo>
                  <a:lnTo>
                    <a:pt x="2719" y="1616"/>
                  </a:lnTo>
                  <a:lnTo>
                    <a:pt x="2716" y="1614"/>
                  </a:lnTo>
                  <a:lnTo>
                    <a:pt x="2728" y="1602"/>
                  </a:lnTo>
                  <a:lnTo>
                    <a:pt x="2739" y="1588"/>
                  </a:lnTo>
                  <a:lnTo>
                    <a:pt x="2750" y="1573"/>
                  </a:lnTo>
                  <a:lnTo>
                    <a:pt x="2760" y="1558"/>
                  </a:lnTo>
                  <a:lnTo>
                    <a:pt x="2780" y="1521"/>
                  </a:lnTo>
                  <a:lnTo>
                    <a:pt x="2803" y="1478"/>
                  </a:lnTo>
                  <a:lnTo>
                    <a:pt x="2798" y="1475"/>
                  </a:lnTo>
                  <a:lnTo>
                    <a:pt x="2796" y="1471"/>
                  </a:lnTo>
                  <a:lnTo>
                    <a:pt x="2795" y="1467"/>
                  </a:lnTo>
                  <a:lnTo>
                    <a:pt x="2794" y="1462"/>
                  </a:lnTo>
                  <a:lnTo>
                    <a:pt x="2795" y="1451"/>
                  </a:lnTo>
                  <a:lnTo>
                    <a:pt x="2796" y="1441"/>
                  </a:lnTo>
                  <a:lnTo>
                    <a:pt x="2790" y="1428"/>
                  </a:lnTo>
                  <a:lnTo>
                    <a:pt x="2790" y="1426"/>
                  </a:lnTo>
                  <a:lnTo>
                    <a:pt x="2792" y="1423"/>
                  </a:lnTo>
                  <a:lnTo>
                    <a:pt x="2794" y="1420"/>
                  </a:lnTo>
                  <a:lnTo>
                    <a:pt x="2797" y="1417"/>
                  </a:lnTo>
                  <a:lnTo>
                    <a:pt x="2801" y="1414"/>
                  </a:lnTo>
                  <a:lnTo>
                    <a:pt x="2804" y="1412"/>
                  </a:lnTo>
                  <a:lnTo>
                    <a:pt x="2807" y="1411"/>
                  </a:lnTo>
                  <a:lnTo>
                    <a:pt x="2809" y="1410"/>
                  </a:lnTo>
                  <a:lnTo>
                    <a:pt x="2809" y="1386"/>
                  </a:lnTo>
                  <a:lnTo>
                    <a:pt x="2801" y="1389"/>
                  </a:lnTo>
                  <a:lnTo>
                    <a:pt x="2793" y="1391"/>
                  </a:lnTo>
                  <a:lnTo>
                    <a:pt x="2785" y="1393"/>
                  </a:lnTo>
                  <a:lnTo>
                    <a:pt x="2778" y="1394"/>
                  </a:lnTo>
                  <a:lnTo>
                    <a:pt x="2763" y="1395"/>
                  </a:lnTo>
                  <a:lnTo>
                    <a:pt x="2750" y="1394"/>
                  </a:lnTo>
                  <a:lnTo>
                    <a:pt x="2738" y="1392"/>
                  </a:lnTo>
                  <a:lnTo>
                    <a:pt x="2725" y="1389"/>
                  </a:lnTo>
                  <a:lnTo>
                    <a:pt x="2711" y="1384"/>
                  </a:lnTo>
                  <a:lnTo>
                    <a:pt x="2696" y="1380"/>
                  </a:lnTo>
                  <a:lnTo>
                    <a:pt x="2705" y="1375"/>
                  </a:lnTo>
                  <a:lnTo>
                    <a:pt x="2713" y="1369"/>
                  </a:lnTo>
                  <a:lnTo>
                    <a:pt x="2719" y="1363"/>
                  </a:lnTo>
                  <a:lnTo>
                    <a:pt x="2726" y="1356"/>
                  </a:lnTo>
                  <a:lnTo>
                    <a:pt x="2737" y="1342"/>
                  </a:lnTo>
                  <a:lnTo>
                    <a:pt x="2750" y="1324"/>
                  </a:lnTo>
                  <a:lnTo>
                    <a:pt x="2730" y="1316"/>
                  </a:lnTo>
                  <a:lnTo>
                    <a:pt x="2712" y="1310"/>
                  </a:lnTo>
                  <a:lnTo>
                    <a:pt x="2695" y="1305"/>
                  </a:lnTo>
                  <a:lnTo>
                    <a:pt x="2679" y="1300"/>
                  </a:lnTo>
                  <a:lnTo>
                    <a:pt x="2662" y="1294"/>
                  </a:lnTo>
                  <a:lnTo>
                    <a:pt x="2647" y="1287"/>
                  </a:lnTo>
                  <a:lnTo>
                    <a:pt x="2639" y="1282"/>
                  </a:lnTo>
                  <a:lnTo>
                    <a:pt x="2632" y="1277"/>
                  </a:lnTo>
                  <a:lnTo>
                    <a:pt x="2624" y="1270"/>
                  </a:lnTo>
                  <a:lnTo>
                    <a:pt x="2617" y="1262"/>
                  </a:lnTo>
                  <a:lnTo>
                    <a:pt x="2626" y="1268"/>
                  </a:lnTo>
                  <a:lnTo>
                    <a:pt x="2640" y="1273"/>
                  </a:lnTo>
                  <a:lnTo>
                    <a:pt x="2657" y="1278"/>
                  </a:lnTo>
                  <a:lnTo>
                    <a:pt x="2675" y="1283"/>
                  </a:lnTo>
                  <a:lnTo>
                    <a:pt x="2715" y="1293"/>
                  </a:lnTo>
                  <a:lnTo>
                    <a:pt x="2750" y="1299"/>
                  </a:lnTo>
                  <a:lnTo>
                    <a:pt x="2749" y="1293"/>
                  </a:lnTo>
                  <a:lnTo>
                    <a:pt x="2746" y="1288"/>
                  </a:lnTo>
                  <a:lnTo>
                    <a:pt x="2742" y="1283"/>
                  </a:lnTo>
                  <a:lnTo>
                    <a:pt x="2737" y="1279"/>
                  </a:lnTo>
                  <a:lnTo>
                    <a:pt x="2725" y="1272"/>
                  </a:lnTo>
                  <a:lnTo>
                    <a:pt x="2709" y="1266"/>
                  </a:lnTo>
                  <a:lnTo>
                    <a:pt x="2695" y="1259"/>
                  </a:lnTo>
                  <a:lnTo>
                    <a:pt x="2682" y="1252"/>
                  </a:lnTo>
                  <a:lnTo>
                    <a:pt x="2678" y="1248"/>
                  </a:lnTo>
                  <a:lnTo>
                    <a:pt x="2673" y="1244"/>
                  </a:lnTo>
                  <a:lnTo>
                    <a:pt x="2671" y="1238"/>
                  </a:lnTo>
                  <a:lnTo>
                    <a:pt x="2670" y="1232"/>
                  </a:lnTo>
                  <a:lnTo>
                    <a:pt x="2669" y="1227"/>
                  </a:lnTo>
                  <a:lnTo>
                    <a:pt x="2668" y="1224"/>
                  </a:lnTo>
                  <a:lnTo>
                    <a:pt x="2666" y="1220"/>
                  </a:lnTo>
                  <a:lnTo>
                    <a:pt x="2662" y="1217"/>
                  </a:lnTo>
                  <a:lnTo>
                    <a:pt x="2656" y="1212"/>
                  </a:lnTo>
                  <a:lnTo>
                    <a:pt x="2650" y="1208"/>
                  </a:lnTo>
                  <a:lnTo>
                    <a:pt x="2626" y="1186"/>
                  </a:lnTo>
                  <a:lnTo>
                    <a:pt x="2581" y="1145"/>
                  </a:lnTo>
                  <a:lnTo>
                    <a:pt x="2557" y="1124"/>
                  </a:lnTo>
                  <a:lnTo>
                    <a:pt x="2537" y="1105"/>
                  </a:lnTo>
                  <a:lnTo>
                    <a:pt x="2523" y="1090"/>
                  </a:lnTo>
                  <a:lnTo>
                    <a:pt x="2517" y="1084"/>
                  </a:lnTo>
                  <a:lnTo>
                    <a:pt x="2517" y="1078"/>
                  </a:lnTo>
                  <a:lnTo>
                    <a:pt x="2520" y="1074"/>
                  </a:lnTo>
                  <a:lnTo>
                    <a:pt x="2522" y="1070"/>
                  </a:lnTo>
                  <a:lnTo>
                    <a:pt x="2525" y="1068"/>
                  </a:lnTo>
                  <a:lnTo>
                    <a:pt x="2528" y="1065"/>
                  </a:lnTo>
                  <a:lnTo>
                    <a:pt x="2532" y="1061"/>
                  </a:lnTo>
                  <a:lnTo>
                    <a:pt x="2534" y="1055"/>
                  </a:lnTo>
                  <a:lnTo>
                    <a:pt x="2537" y="1047"/>
                  </a:lnTo>
                  <a:lnTo>
                    <a:pt x="2535" y="1046"/>
                  </a:lnTo>
                  <a:lnTo>
                    <a:pt x="2530" y="1043"/>
                  </a:lnTo>
                  <a:lnTo>
                    <a:pt x="2528" y="1042"/>
                  </a:lnTo>
                  <a:lnTo>
                    <a:pt x="2526" y="1039"/>
                  </a:lnTo>
                  <a:lnTo>
                    <a:pt x="2524" y="1036"/>
                  </a:lnTo>
                  <a:lnTo>
                    <a:pt x="2524" y="1034"/>
                  </a:lnTo>
                  <a:lnTo>
                    <a:pt x="2557" y="1034"/>
                  </a:lnTo>
                  <a:lnTo>
                    <a:pt x="2558" y="1028"/>
                  </a:lnTo>
                  <a:lnTo>
                    <a:pt x="2559" y="1022"/>
                  </a:lnTo>
                  <a:lnTo>
                    <a:pt x="2561" y="1016"/>
                  </a:lnTo>
                  <a:lnTo>
                    <a:pt x="2565" y="1011"/>
                  </a:lnTo>
                  <a:lnTo>
                    <a:pt x="2569" y="1006"/>
                  </a:lnTo>
                  <a:lnTo>
                    <a:pt x="2573" y="1002"/>
                  </a:lnTo>
                  <a:lnTo>
                    <a:pt x="2578" y="997"/>
                  </a:lnTo>
                  <a:lnTo>
                    <a:pt x="2583" y="993"/>
                  </a:lnTo>
                  <a:lnTo>
                    <a:pt x="2607" y="977"/>
                  </a:lnTo>
                  <a:lnTo>
                    <a:pt x="2630" y="960"/>
                  </a:lnTo>
                  <a:lnTo>
                    <a:pt x="2617" y="958"/>
                  </a:lnTo>
                  <a:lnTo>
                    <a:pt x="2603" y="954"/>
                  </a:lnTo>
                  <a:lnTo>
                    <a:pt x="2590" y="949"/>
                  </a:lnTo>
                  <a:lnTo>
                    <a:pt x="2577" y="944"/>
                  </a:lnTo>
                  <a:lnTo>
                    <a:pt x="2563" y="938"/>
                  </a:lnTo>
                  <a:lnTo>
                    <a:pt x="2552" y="932"/>
                  </a:lnTo>
                  <a:lnTo>
                    <a:pt x="2544" y="924"/>
                  </a:lnTo>
                  <a:lnTo>
                    <a:pt x="2537" y="917"/>
                  </a:lnTo>
                  <a:lnTo>
                    <a:pt x="2498" y="917"/>
                  </a:lnTo>
                  <a:lnTo>
                    <a:pt x="2498" y="926"/>
                  </a:lnTo>
                  <a:lnTo>
                    <a:pt x="2498" y="938"/>
                  </a:lnTo>
                  <a:lnTo>
                    <a:pt x="2498" y="950"/>
                  </a:lnTo>
                  <a:lnTo>
                    <a:pt x="2498" y="967"/>
                  </a:lnTo>
                  <a:lnTo>
                    <a:pt x="2457" y="967"/>
                  </a:lnTo>
                  <a:lnTo>
                    <a:pt x="2453" y="962"/>
                  </a:lnTo>
                  <a:lnTo>
                    <a:pt x="2449" y="956"/>
                  </a:lnTo>
                  <a:lnTo>
                    <a:pt x="2447" y="949"/>
                  </a:lnTo>
                  <a:lnTo>
                    <a:pt x="2444" y="942"/>
                  </a:lnTo>
                  <a:lnTo>
                    <a:pt x="2442" y="936"/>
                  </a:lnTo>
                  <a:lnTo>
                    <a:pt x="2438" y="928"/>
                  </a:lnTo>
                  <a:lnTo>
                    <a:pt x="2435" y="922"/>
                  </a:lnTo>
                  <a:lnTo>
                    <a:pt x="2431" y="917"/>
                  </a:lnTo>
                  <a:lnTo>
                    <a:pt x="2426" y="914"/>
                  </a:lnTo>
                  <a:lnTo>
                    <a:pt x="2421" y="911"/>
                  </a:lnTo>
                  <a:lnTo>
                    <a:pt x="2413" y="909"/>
                  </a:lnTo>
                  <a:lnTo>
                    <a:pt x="2404" y="907"/>
                  </a:lnTo>
                  <a:lnTo>
                    <a:pt x="2387" y="903"/>
                  </a:lnTo>
                  <a:lnTo>
                    <a:pt x="2367" y="899"/>
                  </a:lnTo>
                  <a:lnTo>
                    <a:pt x="2357" y="897"/>
                  </a:lnTo>
                  <a:lnTo>
                    <a:pt x="2348" y="894"/>
                  </a:lnTo>
                  <a:lnTo>
                    <a:pt x="2339" y="890"/>
                  </a:lnTo>
                  <a:lnTo>
                    <a:pt x="2333" y="887"/>
                  </a:lnTo>
                  <a:lnTo>
                    <a:pt x="2326" y="882"/>
                  </a:lnTo>
                  <a:lnTo>
                    <a:pt x="2322" y="876"/>
                  </a:lnTo>
                  <a:lnTo>
                    <a:pt x="2320" y="872"/>
                  </a:lnTo>
                  <a:lnTo>
                    <a:pt x="2319" y="869"/>
                  </a:lnTo>
                  <a:lnTo>
                    <a:pt x="2319" y="866"/>
                  </a:lnTo>
                  <a:lnTo>
                    <a:pt x="2317" y="862"/>
                  </a:lnTo>
                  <a:lnTo>
                    <a:pt x="2319" y="858"/>
                  </a:lnTo>
                  <a:lnTo>
                    <a:pt x="2319" y="855"/>
                  </a:lnTo>
                  <a:lnTo>
                    <a:pt x="2321" y="853"/>
                  </a:lnTo>
                  <a:lnTo>
                    <a:pt x="2322" y="850"/>
                  </a:lnTo>
                  <a:lnTo>
                    <a:pt x="2327" y="846"/>
                  </a:lnTo>
                  <a:lnTo>
                    <a:pt x="2334" y="843"/>
                  </a:lnTo>
                  <a:lnTo>
                    <a:pt x="2341" y="840"/>
                  </a:lnTo>
                  <a:lnTo>
                    <a:pt x="2348" y="839"/>
                  </a:lnTo>
                  <a:lnTo>
                    <a:pt x="2357" y="838"/>
                  </a:lnTo>
                  <a:lnTo>
                    <a:pt x="2365" y="837"/>
                  </a:lnTo>
                  <a:lnTo>
                    <a:pt x="2368" y="836"/>
                  </a:lnTo>
                  <a:lnTo>
                    <a:pt x="2372" y="833"/>
                  </a:lnTo>
                  <a:lnTo>
                    <a:pt x="2378" y="828"/>
                  </a:lnTo>
                  <a:lnTo>
                    <a:pt x="2383" y="822"/>
                  </a:lnTo>
                  <a:lnTo>
                    <a:pt x="2393" y="811"/>
                  </a:lnTo>
                  <a:lnTo>
                    <a:pt x="2398" y="806"/>
                  </a:lnTo>
                  <a:lnTo>
                    <a:pt x="2410" y="798"/>
                  </a:lnTo>
                  <a:lnTo>
                    <a:pt x="2423" y="789"/>
                  </a:lnTo>
                  <a:lnTo>
                    <a:pt x="2428" y="783"/>
                  </a:lnTo>
                  <a:lnTo>
                    <a:pt x="2433" y="776"/>
                  </a:lnTo>
                  <a:lnTo>
                    <a:pt x="2435" y="773"/>
                  </a:lnTo>
                  <a:lnTo>
                    <a:pt x="2436" y="768"/>
                  </a:lnTo>
                  <a:lnTo>
                    <a:pt x="2437" y="763"/>
                  </a:lnTo>
                  <a:lnTo>
                    <a:pt x="2437" y="757"/>
                  </a:lnTo>
                  <a:lnTo>
                    <a:pt x="2438" y="758"/>
                  </a:lnTo>
                  <a:lnTo>
                    <a:pt x="2439" y="758"/>
                  </a:lnTo>
                  <a:lnTo>
                    <a:pt x="2442" y="757"/>
                  </a:lnTo>
                  <a:lnTo>
                    <a:pt x="2443" y="756"/>
                  </a:lnTo>
                  <a:lnTo>
                    <a:pt x="2445" y="752"/>
                  </a:lnTo>
                  <a:lnTo>
                    <a:pt x="2448" y="747"/>
                  </a:lnTo>
                  <a:lnTo>
                    <a:pt x="2451" y="742"/>
                  </a:lnTo>
                  <a:lnTo>
                    <a:pt x="2455" y="737"/>
                  </a:lnTo>
                  <a:lnTo>
                    <a:pt x="2457" y="735"/>
                  </a:lnTo>
                  <a:lnTo>
                    <a:pt x="2459" y="734"/>
                  </a:lnTo>
                  <a:lnTo>
                    <a:pt x="2461" y="733"/>
                  </a:lnTo>
                  <a:lnTo>
                    <a:pt x="2464" y="733"/>
                  </a:lnTo>
                  <a:lnTo>
                    <a:pt x="2471" y="733"/>
                  </a:lnTo>
                  <a:lnTo>
                    <a:pt x="2478" y="735"/>
                  </a:lnTo>
                  <a:lnTo>
                    <a:pt x="2484" y="737"/>
                  </a:lnTo>
                  <a:lnTo>
                    <a:pt x="2491" y="741"/>
                  </a:lnTo>
                  <a:lnTo>
                    <a:pt x="2503" y="751"/>
                  </a:lnTo>
                  <a:lnTo>
                    <a:pt x="2517" y="764"/>
                  </a:lnTo>
                  <a:lnTo>
                    <a:pt x="2511" y="769"/>
                  </a:lnTo>
                  <a:lnTo>
                    <a:pt x="2504" y="775"/>
                  </a:lnTo>
                  <a:lnTo>
                    <a:pt x="2496" y="780"/>
                  </a:lnTo>
                  <a:lnTo>
                    <a:pt x="2491" y="782"/>
                  </a:lnTo>
                  <a:lnTo>
                    <a:pt x="2493" y="789"/>
                  </a:lnTo>
                  <a:lnTo>
                    <a:pt x="2496" y="795"/>
                  </a:lnTo>
                  <a:lnTo>
                    <a:pt x="2501" y="800"/>
                  </a:lnTo>
                  <a:lnTo>
                    <a:pt x="2504" y="805"/>
                  </a:lnTo>
                  <a:lnTo>
                    <a:pt x="2510" y="809"/>
                  </a:lnTo>
                  <a:lnTo>
                    <a:pt x="2514" y="813"/>
                  </a:lnTo>
                  <a:lnTo>
                    <a:pt x="2518" y="816"/>
                  </a:lnTo>
                  <a:lnTo>
                    <a:pt x="2524" y="819"/>
                  </a:lnTo>
                  <a:lnTo>
                    <a:pt x="2524" y="837"/>
                  </a:lnTo>
                  <a:lnTo>
                    <a:pt x="2523" y="840"/>
                  </a:lnTo>
                  <a:lnTo>
                    <a:pt x="2523" y="842"/>
                  </a:lnTo>
                  <a:lnTo>
                    <a:pt x="2525" y="844"/>
                  </a:lnTo>
                  <a:lnTo>
                    <a:pt x="2527" y="847"/>
                  </a:lnTo>
                  <a:lnTo>
                    <a:pt x="2529" y="849"/>
                  </a:lnTo>
                  <a:lnTo>
                    <a:pt x="2532" y="851"/>
                  </a:lnTo>
                  <a:lnTo>
                    <a:pt x="2532" y="853"/>
                  </a:lnTo>
                  <a:lnTo>
                    <a:pt x="2530" y="856"/>
                  </a:lnTo>
                  <a:lnTo>
                    <a:pt x="2561" y="830"/>
                  </a:lnTo>
                  <a:lnTo>
                    <a:pt x="2585" y="810"/>
                  </a:lnTo>
                  <a:lnTo>
                    <a:pt x="2596" y="803"/>
                  </a:lnTo>
                  <a:lnTo>
                    <a:pt x="2605" y="797"/>
                  </a:lnTo>
                  <a:lnTo>
                    <a:pt x="2613" y="793"/>
                  </a:lnTo>
                  <a:lnTo>
                    <a:pt x="2621" y="790"/>
                  </a:lnTo>
                  <a:lnTo>
                    <a:pt x="2627" y="787"/>
                  </a:lnTo>
                  <a:lnTo>
                    <a:pt x="2633" y="786"/>
                  </a:lnTo>
                  <a:lnTo>
                    <a:pt x="2638" y="785"/>
                  </a:lnTo>
                  <a:lnTo>
                    <a:pt x="2645" y="785"/>
                  </a:lnTo>
                  <a:lnTo>
                    <a:pt x="2657" y="786"/>
                  </a:lnTo>
                  <a:lnTo>
                    <a:pt x="2670" y="788"/>
                  </a:lnTo>
                  <a:lnTo>
                    <a:pt x="2674" y="781"/>
                  </a:lnTo>
                  <a:lnTo>
                    <a:pt x="2679" y="774"/>
                  </a:lnTo>
                  <a:lnTo>
                    <a:pt x="2683" y="768"/>
                  </a:lnTo>
                  <a:lnTo>
                    <a:pt x="2689" y="763"/>
                  </a:lnTo>
                  <a:lnTo>
                    <a:pt x="2701" y="753"/>
                  </a:lnTo>
                  <a:lnTo>
                    <a:pt x="2713" y="745"/>
                  </a:lnTo>
                  <a:lnTo>
                    <a:pt x="2724" y="738"/>
                  </a:lnTo>
                  <a:lnTo>
                    <a:pt x="2735" y="730"/>
                  </a:lnTo>
                  <a:lnTo>
                    <a:pt x="2739" y="726"/>
                  </a:lnTo>
                  <a:lnTo>
                    <a:pt x="2743" y="721"/>
                  </a:lnTo>
                  <a:lnTo>
                    <a:pt x="2747" y="715"/>
                  </a:lnTo>
                  <a:lnTo>
                    <a:pt x="2750" y="708"/>
                  </a:lnTo>
                  <a:lnTo>
                    <a:pt x="2758" y="708"/>
                  </a:lnTo>
                  <a:lnTo>
                    <a:pt x="2765" y="706"/>
                  </a:lnTo>
                  <a:lnTo>
                    <a:pt x="2773" y="705"/>
                  </a:lnTo>
                  <a:lnTo>
                    <a:pt x="2780" y="704"/>
                  </a:lnTo>
                  <a:lnTo>
                    <a:pt x="2792" y="700"/>
                  </a:lnTo>
                  <a:lnTo>
                    <a:pt x="2803" y="694"/>
                  </a:lnTo>
                  <a:lnTo>
                    <a:pt x="2812" y="688"/>
                  </a:lnTo>
                  <a:lnTo>
                    <a:pt x="2820" y="681"/>
                  </a:lnTo>
                  <a:lnTo>
                    <a:pt x="2828" y="673"/>
                  </a:lnTo>
                  <a:lnTo>
                    <a:pt x="2836" y="665"/>
                  </a:lnTo>
                  <a:lnTo>
                    <a:pt x="2842" y="657"/>
                  </a:lnTo>
                  <a:lnTo>
                    <a:pt x="2850" y="649"/>
                  </a:lnTo>
                  <a:lnTo>
                    <a:pt x="2858" y="641"/>
                  </a:lnTo>
                  <a:lnTo>
                    <a:pt x="2866" y="635"/>
                  </a:lnTo>
                  <a:lnTo>
                    <a:pt x="2876" y="630"/>
                  </a:lnTo>
                  <a:lnTo>
                    <a:pt x="2887" y="625"/>
                  </a:lnTo>
                  <a:lnTo>
                    <a:pt x="2901" y="623"/>
                  </a:lnTo>
                  <a:lnTo>
                    <a:pt x="2916" y="622"/>
                  </a:lnTo>
                  <a:lnTo>
                    <a:pt x="2915" y="611"/>
                  </a:lnTo>
                  <a:lnTo>
                    <a:pt x="2914" y="602"/>
                  </a:lnTo>
                  <a:lnTo>
                    <a:pt x="2910" y="593"/>
                  </a:lnTo>
                  <a:lnTo>
                    <a:pt x="2906" y="586"/>
                  </a:lnTo>
                  <a:lnTo>
                    <a:pt x="2902" y="580"/>
                  </a:lnTo>
                  <a:lnTo>
                    <a:pt x="2897" y="574"/>
                  </a:lnTo>
                  <a:lnTo>
                    <a:pt x="2892" y="569"/>
                  </a:lnTo>
                  <a:lnTo>
                    <a:pt x="2886" y="564"/>
                  </a:lnTo>
                  <a:lnTo>
                    <a:pt x="2875" y="554"/>
                  </a:lnTo>
                  <a:lnTo>
                    <a:pt x="2865" y="543"/>
                  </a:lnTo>
                  <a:lnTo>
                    <a:pt x="2861" y="536"/>
                  </a:lnTo>
                  <a:lnTo>
                    <a:pt x="2859" y="529"/>
                  </a:lnTo>
                  <a:lnTo>
                    <a:pt x="2857" y="520"/>
                  </a:lnTo>
                  <a:lnTo>
                    <a:pt x="2855" y="511"/>
                  </a:lnTo>
                  <a:lnTo>
                    <a:pt x="2857" y="505"/>
                  </a:lnTo>
                  <a:lnTo>
                    <a:pt x="2860" y="499"/>
                  </a:lnTo>
                  <a:lnTo>
                    <a:pt x="2862" y="497"/>
                  </a:lnTo>
                  <a:lnTo>
                    <a:pt x="2864" y="495"/>
                  </a:lnTo>
                  <a:lnTo>
                    <a:pt x="2866" y="493"/>
                  </a:lnTo>
                  <a:lnTo>
                    <a:pt x="2870" y="493"/>
                  </a:lnTo>
                  <a:lnTo>
                    <a:pt x="2885" y="493"/>
                  </a:lnTo>
                  <a:lnTo>
                    <a:pt x="2903" y="495"/>
                  </a:lnTo>
                  <a:lnTo>
                    <a:pt x="2911" y="495"/>
                  </a:lnTo>
                  <a:lnTo>
                    <a:pt x="2919" y="495"/>
                  </a:lnTo>
                  <a:lnTo>
                    <a:pt x="2928" y="494"/>
                  </a:lnTo>
                  <a:lnTo>
                    <a:pt x="2936" y="493"/>
                  </a:lnTo>
                  <a:lnTo>
                    <a:pt x="2936" y="412"/>
                  </a:lnTo>
                  <a:lnTo>
                    <a:pt x="2930" y="407"/>
                  </a:lnTo>
                  <a:lnTo>
                    <a:pt x="2926" y="402"/>
                  </a:lnTo>
                  <a:lnTo>
                    <a:pt x="2921" y="396"/>
                  </a:lnTo>
                  <a:lnTo>
                    <a:pt x="2917" y="389"/>
                  </a:lnTo>
                  <a:lnTo>
                    <a:pt x="2914" y="382"/>
                  </a:lnTo>
                  <a:lnTo>
                    <a:pt x="2911" y="375"/>
                  </a:lnTo>
                  <a:lnTo>
                    <a:pt x="2909" y="365"/>
                  </a:lnTo>
                  <a:lnTo>
                    <a:pt x="2909" y="357"/>
                  </a:lnTo>
                  <a:lnTo>
                    <a:pt x="2909" y="348"/>
                  </a:lnTo>
                  <a:lnTo>
                    <a:pt x="2909" y="341"/>
                  </a:lnTo>
                  <a:lnTo>
                    <a:pt x="2909" y="332"/>
                  </a:lnTo>
                  <a:lnTo>
                    <a:pt x="2909" y="320"/>
                  </a:lnTo>
                  <a:lnTo>
                    <a:pt x="2904" y="316"/>
                  </a:lnTo>
                  <a:lnTo>
                    <a:pt x="2897" y="310"/>
                  </a:lnTo>
                  <a:lnTo>
                    <a:pt x="2893" y="307"/>
                  </a:lnTo>
                  <a:lnTo>
                    <a:pt x="2888" y="304"/>
                  </a:lnTo>
                  <a:lnTo>
                    <a:pt x="2883" y="302"/>
                  </a:lnTo>
                  <a:lnTo>
                    <a:pt x="2876" y="301"/>
                  </a:lnTo>
                  <a:lnTo>
                    <a:pt x="2866" y="302"/>
                  </a:lnTo>
                  <a:lnTo>
                    <a:pt x="2858" y="303"/>
                  </a:lnTo>
                  <a:lnTo>
                    <a:pt x="2849" y="305"/>
                  </a:lnTo>
                  <a:lnTo>
                    <a:pt x="2841" y="308"/>
                  </a:lnTo>
                  <a:lnTo>
                    <a:pt x="2827" y="314"/>
                  </a:lnTo>
                  <a:lnTo>
                    <a:pt x="2813" y="323"/>
                  </a:lnTo>
                  <a:lnTo>
                    <a:pt x="2798" y="331"/>
                  </a:lnTo>
                  <a:lnTo>
                    <a:pt x="2784" y="338"/>
                  </a:lnTo>
                  <a:lnTo>
                    <a:pt x="2776" y="341"/>
                  </a:lnTo>
                  <a:lnTo>
                    <a:pt x="2768" y="343"/>
                  </a:lnTo>
                  <a:lnTo>
                    <a:pt x="2759" y="344"/>
                  </a:lnTo>
                  <a:lnTo>
                    <a:pt x="2750" y="344"/>
                  </a:lnTo>
                  <a:lnTo>
                    <a:pt x="2735" y="343"/>
                  </a:lnTo>
                  <a:lnTo>
                    <a:pt x="2722" y="341"/>
                  </a:lnTo>
                  <a:lnTo>
                    <a:pt x="2708" y="336"/>
                  </a:lnTo>
                  <a:lnTo>
                    <a:pt x="2696" y="331"/>
                  </a:lnTo>
                  <a:lnTo>
                    <a:pt x="2684" y="324"/>
                  </a:lnTo>
                  <a:lnTo>
                    <a:pt x="2672" y="315"/>
                  </a:lnTo>
                  <a:lnTo>
                    <a:pt x="2661" y="307"/>
                  </a:lnTo>
                  <a:lnTo>
                    <a:pt x="2650" y="298"/>
                  </a:lnTo>
                  <a:lnTo>
                    <a:pt x="2627" y="280"/>
                  </a:lnTo>
                  <a:lnTo>
                    <a:pt x="2604" y="261"/>
                  </a:lnTo>
                  <a:lnTo>
                    <a:pt x="2592" y="253"/>
                  </a:lnTo>
                  <a:lnTo>
                    <a:pt x="2579" y="245"/>
                  </a:lnTo>
                  <a:lnTo>
                    <a:pt x="2565" y="239"/>
                  </a:lnTo>
                  <a:lnTo>
                    <a:pt x="2550" y="233"/>
                  </a:lnTo>
                  <a:lnTo>
                    <a:pt x="2525" y="227"/>
                  </a:lnTo>
                  <a:lnTo>
                    <a:pt x="2499" y="219"/>
                  </a:lnTo>
                  <a:lnTo>
                    <a:pt x="2487" y="215"/>
                  </a:lnTo>
                  <a:lnTo>
                    <a:pt x="2473" y="211"/>
                  </a:lnTo>
                  <a:lnTo>
                    <a:pt x="2461" y="205"/>
                  </a:lnTo>
                  <a:lnTo>
                    <a:pt x="2450" y="199"/>
                  </a:lnTo>
                  <a:lnTo>
                    <a:pt x="2438" y="193"/>
                  </a:lnTo>
                  <a:lnTo>
                    <a:pt x="2428" y="187"/>
                  </a:lnTo>
                  <a:lnTo>
                    <a:pt x="2418" y="179"/>
                  </a:lnTo>
                  <a:lnTo>
                    <a:pt x="2410" y="171"/>
                  </a:lnTo>
                  <a:lnTo>
                    <a:pt x="2401" y="162"/>
                  </a:lnTo>
                  <a:lnTo>
                    <a:pt x="2394" y="152"/>
                  </a:lnTo>
                  <a:lnTo>
                    <a:pt x="2389" y="141"/>
                  </a:lnTo>
                  <a:lnTo>
                    <a:pt x="2384" y="129"/>
                  </a:lnTo>
                  <a:lnTo>
                    <a:pt x="2370" y="128"/>
                  </a:lnTo>
                  <a:lnTo>
                    <a:pt x="2357" y="126"/>
                  </a:lnTo>
                  <a:lnTo>
                    <a:pt x="2346" y="122"/>
                  </a:lnTo>
                  <a:lnTo>
                    <a:pt x="2335" y="117"/>
                  </a:lnTo>
                  <a:lnTo>
                    <a:pt x="2325" y="111"/>
                  </a:lnTo>
                  <a:lnTo>
                    <a:pt x="2316" y="105"/>
                  </a:lnTo>
                  <a:lnTo>
                    <a:pt x="2308" y="98"/>
                  </a:lnTo>
                  <a:lnTo>
                    <a:pt x="2300" y="89"/>
                  </a:lnTo>
                  <a:lnTo>
                    <a:pt x="2283" y="74"/>
                  </a:lnTo>
                  <a:lnTo>
                    <a:pt x="2267" y="59"/>
                  </a:lnTo>
                  <a:lnTo>
                    <a:pt x="2257" y="52"/>
                  </a:lnTo>
                  <a:lnTo>
                    <a:pt x="2247" y="46"/>
                  </a:lnTo>
                  <a:lnTo>
                    <a:pt x="2236" y="41"/>
                  </a:lnTo>
                  <a:lnTo>
                    <a:pt x="2225" y="36"/>
                  </a:lnTo>
                  <a:lnTo>
                    <a:pt x="2190" y="25"/>
                  </a:lnTo>
                  <a:lnTo>
                    <a:pt x="2160" y="18"/>
                  </a:lnTo>
                  <a:lnTo>
                    <a:pt x="2131" y="10"/>
                  </a:lnTo>
                  <a:lnTo>
                    <a:pt x="2092" y="0"/>
                  </a:lnTo>
                  <a:lnTo>
                    <a:pt x="1973" y="18"/>
                  </a:lnTo>
                  <a:lnTo>
                    <a:pt x="1973" y="27"/>
                  </a:lnTo>
                  <a:lnTo>
                    <a:pt x="1973" y="36"/>
                  </a:lnTo>
                  <a:lnTo>
                    <a:pt x="1973" y="42"/>
                  </a:lnTo>
                  <a:lnTo>
                    <a:pt x="1975" y="46"/>
                  </a:lnTo>
                  <a:lnTo>
                    <a:pt x="1977" y="50"/>
                  </a:lnTo>
                  <a:lnTo>
                    <a:pt x="1980" y="53"/>
                  </a:lnTo>
                  <a:lnTo>
                    <a:pt x="1989" y="58"/>
                  </a:lnTo>
                  <a:lnTo>
                    <a:pt x="1999" y="62"/>
                  </a:lnTo>
                  <a:lnTo>
                    <a:pt x="2009" y="66"/>
                  </a:lnTo>
                  <a:lnTo>
                    <a:pt x="2018" y="72"/>
                  </a:lnTo>
                  <a:lnTo>
                    <a:pt x="2021" y="75"/>
                  </a:lnTo>
                  <a:lnTo>
                    <a:pt x="2023" y="80"/>
                  </a:lnTo>
                  <a:lnTo>
                    <a:pt x="2025" y="85"/>
                  </a:lnTo>
                  <a:lnTo>
                    <a:pt x="2025" y="91"/>
                  </a:lnTo>
                  <a:lnTo>
                    <a:pt x="2024" y="101"/>
                  </a:lnTo>
                  <a:lnTo>
                    <a:pt x="2022" y="108"/>
                  </a:lnTo>
                  <a:lnTo>
                    <a:pt x="2019" y="114"/>
                  </a:lnTo>
                  <a:lnTo>
                    <a:pt x="2016" y="120"/>
                  </a:lnTo>
                  <a:lnTo>
                    <a:pt x="2012" y="125"/>
                  </a:lnTo>
                  <a:lnTo>
                    <a:pt x="2009" y="131"/>
                  </a:lnTo>
                  <a:lnTo>
                    <a:pt x="2007" y="138"/>
                  </a:lnTo>
                  <a:lnTo>
                    <a:pt x="2006" y="147"/>
                  </a:lnTo>
                  <a:lnTo>
                    <a:pt x="2007" y="155"/>
                  </a:lnTo>
                  <a:lnTo>
                    <a:pt x="2009" y="161"/>
                  </a:lnTo>
                  <a:lnTo>
                    <a:pt x="2012" y="168"/>
                  </a:lnTo>
                  <a:lnTo>
                    <a:pt x="2018" y="174"/>
                  </a:lnTo>
                  <a:lnTo>
                    <a:pt x="2022" y="179"/>
                  </a:lnTo>
                  <a:lnTo>
                    <a:pt x="2028" y="184"/>
                  </a:lnTo>
                  <a:lnTo>
                    <a:pt x="2033" y="187"/>
                  </a:lnTo>
                  <a:lnTo>
                    <a:pt x="2039" y="190"/>
                  </a:lnTo>
                  <a:lnTo>
                    <a:pt x="2033" y="197"/>
                  </a:lnTo>
                  <a:lnTo>
                    <a:pt x="2025" y="204"/>
                  </a:lnTo>
                  <a:lnTo>
                    <a:pt x="2017" y="211"/>
                  </a:lnTo>
                  <a:lnTo>
                    <a:pt x="2008" y="216"/>
                  </a:lnTo>
                  <a:lnTo>
                    <a:pt x="1999" y="221"/>
                  </a:lnTo>
                  <a:lnTo>
                    <a:pt x="1989" y="224"/>
                  </a:lnTo>
                  <a:lnTo>
                    <a:pt x="1980" y="227"/>
                  </a:lnTo>
                  <a:lnTo>
                    <a:pt x="1973" y="227"/>
                  </a:lnTo>
                  <a:lnTo>
                    <a:pt x="1962" y="227"/>
                  </a:lnTo>
                  <a:lnTo>
                    <a:pt x="1952" y="227"/>
                  </a:lnTo>
                  <a:lnTo>
                    <a:pt x="1940" y="227"/>
                  </a:lnTo>
                  <a:lnTo>
                    <a:pt x="1925" y="227"/>
                  </a:lnTo>
                  <a:lnTo>
                    <a:pt x="1919" y="258"/>
                  </a:lnTo>
                  <a:lnTo>
                    <a:pt x="1924" y="278"/>
                  </a:lnTo>
                  <a:lnTo>
                    <a:pt x="1930" y="296"/>
                  </a:lnTo>
                  <a:lnTo>
                    <a:pt x="1933" y="304"/>
                  </a:lnTo>
                  <a:lnTo>
                    <a:pt x="1938" y="311"/>
                  </a:lnTo>
                  <a:lnTo>
                    <a:pt x="1942" y="319"/>
                  </a:lnTo>
                  <a:lnTo>
                    <a:pt x="1947" y="326"/>
                  </a:lnTo>
                  <a:lnTo>
                    <a:pt x="1953" y="331"/>
                  </a:lnTo>
                  <a:lnTo>
                    <a:pt x="1961" y="336"/>
                  </a:lnTo>
                  <a:lnTo>
                    <a:pt x="1968" y="340"/>
                  </a:lnTo>
                  <a:lnTo>
                    <a:pt x="1977" y="344"/>
                  </a:lnTo>
                  <a:lnTo>
                    <a:pt x="1987" y="347"/>
                  </a:lnTo>
                  <a:lnTo>
                    <a:pt x="1999" y="349"/>
                  </a:lnTo>
                  <a:lnTo>
                    <a:pt x="2011" y="350"/>
                  </a:lnTo>
                  <a:lnTo>
                    <a:pt x="2025" y="350"/>
                  </a:lnTo>
                  <a:lnTo>
                    <a:pt x="2036" y="350"/>
                  </a:lnTo>
                  <a:lnTo>
                    <a:pt x="2043" y="349"/>
                  </a:lnTo>
                  <a:lnTo>
                    <a:pt x="2048" y="347"/>
                  </a:lnTo>
                  <a:lnTo>
                    <a:pt x="2053" y="344"/>
                  </a:lnTo>
                  <a:lnTo>
                    <a:pt x="2057" y="342"/>
                  </a:lnTo>
                  <a:lnTo>
                    <a:pt x="2064" y="340"/>
                  </a:lnTo>
                  <a:lnTo>
                    <a:pt x="2073" y="339"/>
                  </a:lnTo>
                  <a:lnTo>
                    <a:pt x="2086" y="338"/>
                  </a:lnTo>
                  <a:lnTo>
                    <a:pt x="2092" y="339"/>
                  </a:lnTo>
                  <a:lnTo>
                    <a:pt x="2098" y="340"/>
                  </a:lnTo>
                  <a:lnTo>
                    <a:pt x="2103" y="341"/>
                  </a:lnTo>
                  <a:lnTo>
                    <a:pt x="2109" y="343"/>
                  </a:lnTo>
                  <a:lnTo>
                    <a:pt x="2122" y="349"/>
                  </a:lnTo>
                  <a:lnTo>
                    <a:pt x="2138" y="357"/>
                  </a:lnTo>
                  <a:lnTo>
                    <a:pt x="2140" y="361"/>
                  </a:lnTo>
                  <a:lnTo>
                    <a:pt x="2142" y="366"/>
                  </a:lnTo>
                  <a:lnTo>
                    <a:pt x="2146" y="370"/>
                  </a:lnTo>
                  <a:lnTo>
                    <a:pt x="2151" y="375"/>
                  </a:lnTo>
                  <a:lnTo>
                    <a:pt x="2157" y="379"/>
                  </a:lnTo>
                  <a:lnTo>
                    <a:pt x="2164" y="382"/>
                  </a:lnTo>
                  <a:lnTo>
                    <a:pt x="2170" y="385"/>
                  </a:lnTo>
                  <a:lnTo>
                    <a:pt x="2178" y="388"/>
                  </a:lnTo>
                  <a:lnTo>
                    <a:pt x="2175" y="393"/>
                  </a:lnTo>
                  <a:lnTo>
                    <a:pt x="2169" y="399"/>
                  </a:lnTo>
                  <a:lnTo>
                    <a:pt x="2160" y="405"/>
                  </a:lnTo>
                  <a:lnTo>
                    <a:pt x="2152" y="410"/>
                  </a:lnTo>
                  <a:lnTo>
                    <a:pt x="2141" y="416"/>
                  </a:lnTo>
                  <a:lnTo>
                    <a:pt x="2130" y="420"/>
                  </a:lnTo>
                  <a:lnTo>
                    <a:pt x="2118" y="423"/>
                  </a:lnTo>
                  <a:lnTo>
                    <a:pt x="2106" y="424"/>
                  </a:lnTo>
                  <a:lnTo>
                    <a:pt x="2098" y="426"/>
                  </a:lnTo>
                  <a:lnTo>
                    <a:pt x="2084" y="434"/>
                  </a:lnTo>
                  <a:lnTo>
                    <a:pt x="2064" y="443"/>
                  </a:lnTo>
                  <a:lnTo>
                    <a:pt x="2041" y="455"/>
                  </a:lnTo>
                  <a:lnTo>
                    <a:pt x="2019" y="467"/>
                  </a:lnTo>
                  <a:lnTo>
                    <a:pt x="1998" y="479"/>
                  </a:lnTo>
                  <a:lnTo>
                    <a:pt x="1989" y="485"/>
                  </a:lnTo>
                  <a:lnTo>
                    <a:pt x="1981" y="490"/>
                  </a:lnTo>
                  <a:lnTo>
                    <a:pt x="1976" y="495"/>
                  </a:lnTo>
                  <a:lnTo>
                    <a:pt x="1973" y="499"/>
                  </a:lnTo>
                  <a:lnTo>
                    <a:pt x="1860" y="499"/>
                  </a:lnTo>
                  <a:lnTo>
                    <a:pt x="1860" y="506"/>
                  </a:lnTo>
                  <a:lnTo>
                    <a:pt x="1861" y="513"/>
                  </a:lnTo>
                  <a:lnTo>
                    <a:pt x="1863" y="520"/>
                  </a:lnTo>
                  <a:lnTo>
                    <a:pt x="1864" y="525"/>
                  </a:lnTo>
                  <a:lnTo>
                    <a:pt x="1869" y="536"/>
                  </a:lnTo>
                  <a:lnTo>
                    <a:pt x="1876" y="546"/>
                  </a:lnTo>
                  <a:lnTo>
                    <a:pt x="1882" y="554"/>
                  </a:lnTo>
                  <a:lnTo>
                    <a:pt x="1887" y="562"/>
                  </a:lnTo>
                  <a:lnTo>
                    <a:pt x="1889" y="566"/>
                  </a:lnTo>
                  <a:lnTo>
                    <a:pt x="1891" y="570"/>
                  </a:lnTo>
                  <a:lnTo>
                    <a:pt x="1893" y="574"/>
                  </a:lnTo>
                  <a:lnTo>
                    <a:pt x="1893" y="578"/>
                  </a:lnTo>
                  <a:lnTo>
                    <a:pt x="1893" y="583"/>
                  </a:lnTo>
                  <a:lnTo>
                    <a:pt x="1890" y="588"/>
                  </a:lnTo>
                  <a:lnTo>
                    <a:pt x="1888" y="594"/>
                  </a:lnTo>
                  <a:lnTo>
                    <a:pt x="1885" y="601"/>
                  </a:lnTo>
                  <a:lnTo>
                    <a:pt x="1877" y="613"/>
                  </a:lnTo>
                  <a:lnTo>
                    <a:pt x="1867" y="625"/>
                  </a:lnTo>
                  <a:lnTo>
                    <a:pt x="1856" y="637"/>
                  </a:lnTo>
                  <a:lnTo>
                    <a:pt x="1845" y="647"/>
                  </a:lnTo>
                  <a:lnTo>
                    <a:pt x="1834" y="655"/>
                  </a:lnTo>
                  <a:lnTo>
                    <a:pt x="1827" y="659"/>
                  </a:lnTo>
                  <a:lnTo>
                    <a:pt x="1727" y="659"/>
                  </a:lnTo>
                  <a:lnTo>
                    <a:pt x="1699" y="674"/>
                  </a:lnTo>
                  <a:lnTo>
                    <a:pt x="1664" y="694"/>
                  </a:lnTo>
                  <a:lnTo>
                    <a:pt x="1647" y="704"/>
                  </a:lnTo>
                  <a:lnTo>
                    <a:pt x="1630" y="713"/>
                  </a:lnTo>
                  <a:lnTo>
                    <a:pt x="1624" y="716"/>
                  </a:lnTo>
                  <a:lnTo>
                    <a:pt x="1617" y="718"/>
                  </a:lnTo>
                  <a:lnTo>
                    <a:pt x="1611" y="720"/>
                  </a:lnTo>
                  <a:lnTo>
                    <a:pt x="1607" y="721"/>
                  </a:lnTo>
                  <a:lnTo>
                    <a:pt x="1598" y="720"/>
                  </a:lnTo>
                  <a:lnTo>
                    <a:pt x="1587" y="719"/>
                  </a:lnTo>
                  <a:lnTo>
                    <a:pt x="1574" y="717"/>
                  </a:lnTo>
                  <a:lnTo>
                    <a:pt x="1560" y="714"/>
                  </a:lnTo>
                  <a:lnTo>
                    <a:pt x="1527" y="705"/>
                  </a:lnTo>
                  <a:lnTo>
                    <a:pt x="1493" y="696"/>
                  </a:lnTo>
                  <a:lnTo>
                    <a:pt x="1460" y="686"/>
                  </a:lnTo>
                  <a:lnTo>
                    <a:pt x="1430" y="676"/>
                  </a:lnTo>
                  <a:lnTo>
                    <a:pt x="1418" y="671"/>
                  </a:lnTo>
                  <a:lnTo>
                    <a:pt x="1407" y="667"/>
                  </a:lnTo>
                  <a:lnTo>
                    <a:pt x="1400" y="663"/>
                  </a:lnTo>
                  <a:lnTo>
                    <a:pt x="1394" y="659"/>
                  </a:lnTo>
                  <a:lnTo>
                    <a:pt x="1228" y="659"/>
                  </a:lnTo>
                  <a:lnTo>
                    <a:pt x="1169" y="646"/>
                  </a:lnTo>
                  <a:lnTo>
                    <a:pt x="1160" y="646"/>
                  </a:lnTo>
                  <a:lnTo>
                    <a:pt x="1151" y="646"/>
                  </a:lnTo>
                  <a:lnTo>
                    <a:pt x="1143" y="644"/>
                  </a:lnTo>
                  <a:lnTo>
                    <a:pt x="1133" y="641"/>
                  </a:lnTo>
                  <a:lnTo>
                    <a:pt x="1123" y="638"/>
                  </a:lnTo>
                  <a:lnTo>
                    <a:pt x="1112" y="633"/>
                  </a:lnTo>
                  <a:lnTo>
                    <a:pt x="1102" y="628"/>
                  </a:lnTo>
                  <a:lnTo>
                    <a:pt x="1092" y="622"/>
                  </a:lnTo>
                  <a:lnTo>
                    <a:pt x="1082" y="615"/>
                  </a:lnTo>
                  <a:lnTo>
                    <a:pt x="1073" y="608"/>
                  </a:lnTo>
                  <a:lnTo>
                    <a:pt x="1065" y="601"/>
                  </a:lnTo>
                  <a:lnTo>
                    <a:pt x="1056" y="592"/>
                  </a:lnTo>
                  <a:lnTo>
                    <a:pt x="1049" y="584"/>
                  </a:lnTo>
                  <a:lnTo>
                    <a:pt x="1044" y="576"/>
                  </a:lnTo>
                  <a:lnTo>
                    <a:pt x="1038" y="568"/>
                  </a:lnTo>
                  <a:lnTo>
                    <a:pt x="1036" y="560"/>
                  </a:lnTo>
                  <a:lnTo>
                    <a:pt x="1022" y="560"/>
                  </a:lnTo>
                  <a:lnTo>
                    <a:pt x="1008" y="558"/>
                  </a:lnTo>
                  <a:lnTo>
                    <a:pt x="994" y="555"/>
                  </a:lnTo>
                  <a:lnTo>
                    <a:pt x="980" y="552"/>
                  </a:lnTo>
                  <a:lnTo>
                    <a:pt x="953" y="543"/>
                  </a:lnTo>
                  <a:lnTo>
                    <a:pt x="923" y="532"/>
                  </a:lnTo>
                  <a:lnTo>
                    <a:pt x="893" y="522"/>
                  </a:lnTo>
                  <a:lnTo>
                    <a:pt x="863" y="513"/>
                  </a:lnTo>
                  <a:lnTo>
                    <a:pt x="846" y="510"/>
                  </a:lnTo>
                  <a:lnTo>
                    <a:pt x="831" y="507"/>
                  </a:lnTo>
                  <a:lnTo>
                    <a:pt x="813" y="505"/>
                  </a:lnTo>
                  <a:lnTo>
                    <a:pt x="797" y="505"/>
                  </a:lnTo>
                  <a:lnTo>
                    <a:pt x="786" y="504"/>
                  </a:lnTo>
                  <a:lnTo>
                    <a:pt x="770" y="501"/>
                  </a:lnTo>
                  <a:lnTo>
                    <a:pt x="763" y="499"/>
                  </a:lnTo>
                  <a:lnTo>
                    <a:pt x="756" y="497"/>
                  </a:lnTo>
                  <a:lnTo>
                    <a:pt x="752" y="495"/>
                  </a:lnTo>
                  <a:lnTo>
                    <a:pt x="750" y="493"/>
                  </a:lnTo>
                  <a:lnTo>
                    <a:pt x="746" y="485"/>
                  </a:lnTo>
                  <a:lnTo>
                    <a:pt x="744" y="477"/>
                  </a:lnTo>
                  <a:lnTo>
                    <a:pt x="743" y="470"/>
                  </a:lnTo>
                  <a:lnTo>
                    <a:pt x="743" y="461"/>
                  </a:lnTo>
                  <a:lnTo>
                    <a:pt x="743" y="456"/>
                  </a:lnTo>
                  <a:lnTo>
                    <a:pt x="743" y="449"/>
                  </a:lnTo>
                  <a:lnTo>
                    <a:pt x="743" y="440"/>
                  </a:lnTo>
                  <a:lnTo>
                    <a:pt x="743" y="431"/>
                  </a:lnTo>
                  <a:lnTo>
                    <a:pt x="741" y="431"/>
                  </a:lnTo>
                  <a:lnTo>
                    <a:pt x="736" y="428"/>
                  </a:lnTo>
                  <a:lnTo>
                    <a:pt x="732" y="426"/>
                  </a:lnTo>
                  <a:lnTo>
                    <a:pt x="728" y="422"/>
                  </a:lnTo>
                  <a:lnTo>
                    <a:pt x="717" y="414"/>
                  </a:lnTo>
                  <a:lnTo>
                    <a:pt x="705" y="403"/>
                  </a:lnTo>
                  <a:lnTo>
                    <a:pt x="695" y="391"/>
                  </a:lnTo>
                  <a:lnTo>
                    <a:pt x="686" y="379"/>
                  </a:lnTo>
                  <a:lnTo>
                    <a:pt x="681" y="372"/>
                  </a:lnTo>
                  <a:lnTo>
                    <a:pt x="679" y="367"/>
                  </a:lnTo>
                  <a:lnTo>
                    <a:pt x="677" y="361"/>
                  </a:lnTo>
                  <a:lnTo>
                    <a:pt x="677" y="357"/>
                  </a:lnTo>
                  <a:lnTo>
                    <a:pt x="661" y="356"/>
                  </a:lnTo>
                  <a:lnTo>
                    <a:pt x="645" y="355"/>
                  </a:lnTo>
                  <a:lnTo>
                    <a:pt x="630" y="353"/>
                  </a:lnTo>
                  <a:lnTo>
                    <a:pt x="616" y="351"/>
                  </a:lnTo>
                  <a:lnTo>
                    <a:pt x="602" y="348"/>
                  </a:lnTo>
                  <a:lnTo>
                    <a:pt x="589" y="344"/>
                  </a:lnTo>
                  <a:lnTo>
                    <a:pt x="576" y="340"/>
                  </a:lnTo>
                  <a:lnTo>
                    <a:pt x="564" y="335"/>
                  </a:lnTo>
                  <a:lnTo>
                    <a:pt x="552" y="329"/>
                  </a:lnTo>
                  <a:lnTo>
                    <a:pt x="541" y="323"/>
                  </a:lnTo>
                  <a:lnTo>
                    <a:pt x="531" y="315"/>
                  </a:lnTo>
                  <a:lnTo>
                    <a:pt x="522" y="307"/>
                  </a:lnTo>
                  <a:lnTo>
                    <a:pt x="512" y="299"/>
                  </a:lnTo>
                  <a:lnTo>
                    <a:pt x="505" y="290"/>
                  </a:lnTo>
                  <a:lnTo>
                    <a:pt x="497" y="281"/>
                  </a:lnTo>
                  <a:lnTo>
                    <a:pt x="490" y="271"/>
                  </a:lnTo>
                  <a:lnTo>
                    <a:pt x="475" y="268"/>
                  </a:lnTo>
                  <a:lnTo>
                    <a:pt x="463" y="267"/>
                  </a:lnTo>
                  <a:lnTo>
                    <a:pt x="454" y="267"/>
                  </a:lnTo>
                  <a:lnTo>
                    <a:pt x="449" y="268"/>
                  </a:lnTo>
                  <a:lnTo>
                    <a:pt x="444" y="270"/>
                  </a:lnTo>
                  <a:lnTo>
                    <a:pt x="442" y="273"/>
                  </a:lnTo>
                  <a:lnTo>
                    <a:pt x="441" y="277"/>
                  </a:lnTo>
                  <a:lnTo>
                    <a:pt x="441" y="281"/>
                  </a:lnTo>
                  <a:lnTo>
                    <a:pt x="441" y="286"/>
                  </a:lnTo>
                  <a:lnTo>
                    <a:pt x="441" y="291"/>
                  </a:lnTo>
                  <a:lnTo>
                    <a:pt x="440" y="296"/>
                  </a:lnTo>
                  <a:lnTo>
                    <a:pt x="439" y="301"/>
                  </a:lnTo>
                  <a:lnTo>
                    <a:pt x="436" y="307"/>
                  </a:lnTo>
                  <a:lnTo>
                    <a:pt x="430" y="311"/>
                  </a:lnTo>
                  <a:lnTo>
                    <a:pt x="422" y="316"/>
                  </a:lnTo>
                  <a:lnTo>
                    <a:pt x="411" y="320"/>
                  </a:lnTo>
                  <a:lnTo>
                    <a:pt x="407" y="320"/>
                  </a:lnTo>
                  <a:lnTo>
                    <a:pt x="403" y="321"/>
                  </a:lnTo>
                  <a:lnTo>
                    <a:pt x="400" y="322"/>
                  </a:lnTo>
                  <a:lnTo>
                    <a:pt x="398" y="323"/>
                  </a:lnTo>
                  <a:lnTo>
                    <a:pt x="397" y="325"/>
                  </a:lnTo>
                  <a:lnTo>
                    <a:pt x="396" y="327"/>
                  </a:lnTo>
                  <a:lnTo>
                    <a:pt x="396" y="329"/>
                  </a:lnTo>
                  <a:lnTo>
                    <a:pt x="396" y="332"/>
                  </a:lnTo>
                  <a:lnTo>
                    <a:pt x="401" y="344"/>
                  </a:lnTo>
                  <a:lnTo>
                    <a:pt x="410" y="357"/>
                  </a:lnTo>
                  <a:lnTo>
                    <a:pt x="415" y="364"/>
                  </a:lnTo>
                  <a:lnTo>
                    <a:pt x="419" y="371"/>
                  </a:lnTo>
                  <a:lnTo>
                    <a:pt x="421" y="379"/>
                  </a:lnTo>
                  <a:lnTo>
                    <a:pt x="423" y="385"/>
                  </a:lnTo>
                  <a:lnTo>
                    <a:pt x="423" y="388"/>
                  </a:lnTo>
                  <a:lnTo>
                    <a:pt x="422" y="390"/>
                  </a:lnTo>
                  <a:lnTo>
                    <a:pt x="421" y="393"/>
                  </a:lnTo>
                  <a:lnTo>
                    <a:pt x="420" y="395"/>
                  </a:lnTo>
                  <a:lnTo>
                    <a:pt x="417" y="397"/>
                  </a:lnTo>
                  <a:lnTo>
                    <a:pt x="414" y="398"/>
                  </a:lnTo>
                  <a:lnTo>
                    <a:pt x="409" y="399"/>
                  </a:lnTo>
                  <a:lnTo>
                    <a:pt x="405" y="400"/>
                  </a:lnTo>
                  <a:lnTo>
                    <a:pt x="392" y="400"/>
                  </a:lnTo>
                  <a:lnTo>
                    <a:pt x="377" y="400"/>
                  </a:lnTo>
                  <a:lnTo>
                    <a:pt x="370" y="400"/>
                  </a:lnTo>
                  <a:lnTo>
                    <a:pt x="361" y="399"/>
                  </a:lnTo>
                  <a:lnTo>
                    <a:pt x="351" y="397"/>
                  </a:lnTo>
                  <a:lnTo>
                    <a:pt x="341" y="395"/>
                  </a:lnTo>
                  <a:lnTo>
                    <a:pt x="331" y="393"/>
                  </a:lnTo>
                  <a:lnTo>
                    <a:pt x="321" y="390"/>
                  </a:lnTo>
                  <a:lnTo>
                    <a:pt x="313" y="386"/>
                  </a:lnTo>
                  <a:lnTo>
                    <a:pt x="305" y="382"/>
                  </a:lnTo>
                  <a:lnTo>
                    <a:pt x="303" y="387"/>
                  </a:lnTo>
                  <a:lnTo>
                    <a:pt x="302" y="393"/>
                  </a:lnTo>
                  <a:lnTo>
                    <a:pt x="303" y="401"/>
                  </a:lnTo>
                  <a:lnTo>
                    <a:pt x="303" y="409"/>
                  </a:lnTo>
                  <a:lnTo>
                    <a:pt x="307" y="427"/>
                  </a:lnTo>
                  <a:lnTo>
                    <a:pt x="311" y="448"/>
                  </a:lnTo>
                  <a:lnTo>
                    <a:pt x="316" y="467"/>
                  </a:lnTo>
                  <a:lnTo>
                    <a:pt x="320" y="483"/>
                  </a:lnTo>
                  <a:lnTo>
                    <a:pt x="320" y="491"/>
                  </a:lnTo>
                  <a:lnTo>
                    <a:pt x="320" y="497"/>
                  </a:lnTo>
                  <a:lnTo>
                    <a:pt x="320" y="502"/>
                  </a:lnTo>
                  <a:lnTo>
                    <a:pt x="318" y="505"/>
                  </a:lnTo>
                  <a:lnTo>
                    <a:pt x="292" y="503"/>
                  </a:lnTo>
                  <a:lnTo>
                    <a:pt x="254" y="503"/>
                  </a:lnTo>
                  <a:lnTo>
                    <a:pt x="244" y="504"/>
                  </a:lnTo>
                  <a:lnTo>
                    <a:pt x="236" y="505"/>
                  </a:lnTo>
                  <a:lnTo>
                    <a:pt x="227" y="507"/>
                  </a:lnTo>
                  <a:lnTo>
                    <a:pt x="220" y="510"/>
                  </a:lnTo>
                  <a:lnTo>
                    <a:pt x="214" y="513"/>
                  </a:lnTo>
                  <a:lnTo>
                    <a:pt x="209" y="517"/>
                  </a:lnTo>
                  <a:lnTo>
                    <a:pt x="207" y="520"/>
                  </a:lnTo>
                  <a:lnTo>
                    <a:pt x="206" y="523"/>
                  </a:lnTo>
                  <a:lnTo>
                    <a:pt x="205" y="526"/>
                  </a:lnTo>
                  <a:lnTo>
                    <a:pt x="205" y="529"/>
                  </a:lnTo>
                  <a:lnTo>
                    <a:pt x="216" y="531"/>
                  </a:lnTo>
                  <a:lnTo>
                    <a:pt x="226" y="534"/>
                  </a:lnTo>
                  <a:lnTo>
                    <a:pt x="233" y="538"/>
                  </a:lnTo>
                  <a:lnTo>
                    <a:pt x="239" y="544"/>
                  </a:lnTo>
                  <a:lnTo>
                    <a:pt x="243" y="550"/>
                  </a:lnTo>
                  <a:lnTo>
                    <a:pt x="247" y="556"/>
                  </a:lnTo>
                  <a:lnTo>
                    <a:pt x="250" y="563"/>
                  </a:lnTo>
                  <a:lnTo>
                    <a:pt x="252" y="569"/>
                  </a:lnTo>
                  <a:lnTo>
                    <a:pt x="255" y="583"/>
                  </a:lnTo>
                  <a:lnTo>
                    <a:pt x="260" y="595"/>
                  </a:lnTo>
                  <a:lnTo>
                    <a:pt x="262" y="601"/>
                  </a:lnTo>
                  <a:lnTo>
                    <a:pt x="266" y="605"/>
                  </a:lnTo>
                  <a:lnTo>
                    <a:pt x="272" y="608"/>
                  </a:lnTo>
                  <a:lnTo>
                    <a:pt x="278" y="610"/>
                  </a:lnTo>
                  <a:lnTo>
                    <a:pt x="276" y="614"/>
                  </a:lnTo>
                  <a:lnTo>
                    <a:pt x="275" y="618"/>
                  </a:lnTo>
                  <a:lnTo>
                    <a:pt x="275" y="621"/>
                  </a:lnTo>
                  <a:lnTo>
                    <a:pt x="275" y="625"/>
                  </a:lnTo>
                  <a:lnTo>
                    <a:pt x="277" y="632"/>
                  </a:lnTo>
                  <a:lnTo>
                    <a:pt x="278" y="640"/>
                  </a:lnTo>
                  <a:lnTo>
                    <a:pt x="277" y="658"/>
                  </a:lnTo>
                  <a:lnTo>
                    <a:pt x="274" y="674"/>
                  </a:lnTo>
                  <a:lnTo>
                    <a:pt x="270" y="688"/>
                  </a:lnTo>
                  <a:lnTo>
                    <a:pt x="264" y="700"/>
                  </a:lnTo>
                  <a:lnTo>
                    <a:pt x="261" y="705"/>
                  </a:lnTo>
                  <a:lnTo>
                    <a:pt x="257" y="711"/>
                  </a:lnTo>
                  <a:lnTo>
                    <a:pt x="252" y="716"/>
                  </a:lnTo>
                  <a:lnTo>
                    <a:pt x="248" y="720"/>
                  </a:lnTo>
                  <a:lnTo>
                    <a:pt x="242" y="724"/>
                  </a:lnTo>
                  <a:lnTo>
                    <a:pt x="237" y="727"/>
                  </a:lnTo>
                  <a:lnTo>
                    <a:pt x="231" y="730"/>
                  </a:lnTo>
                  <a:lnTo>
                    <a:pt x="225" y="733"/>
                  </a:lnTo>
                  <a:lnTo>
                    <a:pt x="206" y="735"/>
                  </a:lnTo>
                  <a:lnTo>
                    <a:pt x="182" y="737"/>
                  </a:lnTo>
                  <a:lnTo>
                    <a:pt x="170" y="739"/>
                  </a:lnTo>
                  <a:lnTo>
                    <a:pt x="158" y="741"/>
                  </a:lnTo>
                  <a:lnTo>
                    <a:pt x="152" y="743"/>
                  </a:lnTo>
                  <a:lnTo>
                    <a:pt x="147" y="745"/>
                  </a:lnTo>
                  <a:lnTo>
                    <a:pt x="142" y="748"/>
                  </a:lnTo>
                  <a:lnTo>
                    <a:pt x="139" y="751"/>
                  </a:lnTo>
                  <a:lnTo>
                    <a:pt x="134" y="758"/>
                  </a:lnTo>
                  <a:lnTo>
                    <a:pt x="127" y="770"/>
                  </a:lnTo>
                  <a:lnTo>
                    <a:pt x="123" y="776"/>
                  </a:lnTo>
                  <a:lnTo>
                    <a:pt x="118" y="781"/>
                  </a:lnTo>
                  <a:lnTo>
                    <a:pt x="113" y="785"/>
                  </a:lnTo>
                  <a:lnTo>
                    <a:pt x="105" y="788"/>
                  </a:lnTo>
                  <a:lnTo>
                    <a:pt x="81" y="794"/>
                  </a:lnTo>
                  <a:lnTo>
                    <a:pt x="45" y="800"/>
                  </a:lnTo>
                  <a:lnTo>
                    <a:pt x="27" y="804"/>
                  </a:lnTo>
                  <a:lnTo>
                    <a:pt x="13" y="807"/>
                  </a:lnTo>
                  <a:lnTo>
                    <a:pt x="3" y="810"/>
                  </a:lnTo>
                  <a:lnTo>
                    <a:pt x="0" y="812"/>
                  </a:lnTo>
                  <a:lnTo>
                    <a:pt x="0" y="824"/>
                  </a:lnTo>
                  <a:lnTo>
                    <a:pt x="3" y="833"/>
                  </a:lnTo>
                  <a:lnTo>
                    <a:pt x="6" y="842"/>
                  </a:lnTo>
                  <a:lnTo>
                    <a:pt x="9" y="850"/>
                  </a:lnTo>
                  <a:lnTo>
                    <a:pt x="14" y="859"/>
                  </a:lnTo>
                  <a:lnTo>
                    <a:pt x="18" y="869"/>
                  </a:lnTo>
                  <a:lnTo>
                    <a:pt x="23" y="880"/>
                  </a:lnTo>
                  <a:lnTo>
                    <a:pt x="26" y="893"/>
                  </a:lnTo>
                  <a:lnTo>
                    <a:pt x="40" y="894"/>
                  </a:lnTo>
                  <a:lnTo>
                    <a:pt x="53" y="896"/>
                  </a:lnTo>
                  <a:lnTo>
                    <a:pt x="59" y="897"/>
                  </a:lnTo>
                  <a:lnTo>
                    <a:pt x="64" y="899"/>
                  </a:lnTo>
                  <a:lnTo>
                    <a:pt x="70" y="902"/>
                  </a:lnTo>
                  <a:lnTo>
                    <a:pt x="74" y="905"/>
                  </a:lnTo>
                  <a:lnTo>
                    <a:pt x="79" y="909"/>
                  </a:lnTo>
                  <a:lnTo>
                    <a:pt x="83" y="913"/>
                  </a:lnTo>
                  <a:lnTo>
                    <a:pt x="87" y="918"/>
                  </a:lnTo>
                  <a:lnTo>
                    <a:pt x="90" y="924"/>
                  </a:lnTo>
                  <a:lnTo>
                    <a:pt x="93" y="931"/>
                  </a:lnTo>
                  <a:lnTo>
                    <a:pt x="95" y="938"/>
                  </a:lnTo>
                  <a:lnTo>
                    <a:pt x="97" y="946"/>
                  </a:lnTo>
                  <a:lnTo>
                    <a:pt x="98" y="954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106" name="Freeform 15"/>
            <p:cNvSpPr>
              <a:spLocks/>
            </p:cNvSpPr>
            <p:nvPr>
              <p:custDataLst>
                <p:tags r:id="rId32"/>
              </p:custDataLst>
            </p:nvPr>
          </p:nvSpPr>
          <p:spPr bwMode="auto">
            <a:xfrm>
              <a:off x="6529141" y="2177710"/>
              <a:ext cx="220240" cy="273261"/>
            </a:xfrm>
            <a:custGeom>
              <a:avLst/>
              <a:gdLst>
                <a:gd name="T0" fmla="*/ 345 w 504"/>
                <a:gd name="T1" fmla="*/ 493 h 524"/>
                <a:gd name="T2" fmla="*/ 256 w 504"/>
                <a:gd name="T3" fmla="*/ 505 h 524"/>
                <a:gd name="T4" fmla="*/ 235 w 504"/>
                <a:gd name="T5" fmla="*/ 517 h 524"/>
                <a:gd name="T6" fmla="*/ 210 w 504"/>
                <a:gd name="T7" fmla="*/ 522 h 524"/>
                <a:gd name="T8" fmla="*/ 155 w 504"/>
                <a:gd name="T9" fmla="*/ 524 h 524"/>
                <a:gd name="T10" fmla="*/ 106 w 504"/>
                <a:gd name="T11" fmla="*/ 522 h 524"/>
                <a:gd name="T12" fmla="*/ 94 w 504"/>
                <a:gd name="T13" fmla="*/ 516 h 524"/>
                <a:gd name="T14" fmla="*/ 71 w 504"/>
                <a:gd name="T15" fmla="*/ 509 h 524"/>
                <a:gd name="T16" fmla="*/ 36 w 504"/>
                <a:gd name="T17" fmla="*/ 496 h 524"/>
                <a:gd name="T18" fmla="*/ 22 w 504"/>
                <a:gd name="T19" fmla="*/ 486 h 524"/>
                <a:gd name="T20" fmla="*/ 20 w 504"/>
                <a:gd name="T21" fmla="*/ 477 h 524"/>
                <a:gd name="T22" fmla="*/ 27 w 504"/>
                <a:gd name="T23" fmla="*/ 463 h 524"/>
                <a:gd name="T24" fmla="*/ 32 w 504"/>
                <a:gd name="T25" fmla="*/ 445 h 524"/>
                <a:gd name="T26" fmla="*/ 28 w 504"/>
                <a:gd name="T27" fmla="*/ 432 h 524"/>
                <a:gd name="T28" fmla="*/ 10 w 504"/>
                <a:gd name="T29" fmla="*/ 417 h 524"/>
                <a:gd name="T30" fmla="*/ 1 w 504"/>
                <a:gd name="T31" fmla="*/ 407 h 524"/>
                <a:gd name="T32" fmla="*/ 1 w 504"/>
                <a:gd name="T33" fmla="*/ 391 h 524"/>
                <a:gd name="T34" fmla="*/ 17 w 504"/>
                <a:gd name="T35" fmla="*/ 360 h 524"/>
                <a:gd name="T36" fmla="*/ 48 w 504"/>
                <a:gd name="T37" fmla="*/ 328 h 524"/>
                <a:gd name="T38" fmla="*/ 86 w 504"/>
                <a:gd name="T39" fmla="*/ 299 h 524"/>
                <a:gd name="T40" fmla="*/ 124 w 504"/>
                <a:gd name="T41" fmla="*/ 279 h 524"/>
                <a:gd name="T42" fmla="*/ 160 w 504"/>
                <a:gd name="T43" fmla="*/ 272 h 524"/>
                <a:gd name="T44" fmla="*/ 155 w 504"/>
                <a:gd name="T45" fmla="*/ 264 h 524"/>
                <a:gd name="T46" fmla="*/ 142 w 504"/>
                <a:gd name="T47" fmla="*/ 259 h 524"/>
                <a:gd name="T48" fmla="*/ 133 w 504"/>
                <a:gd name="T49" fmla="*/ 251 h 524"/>
                <a:gd name="T50" fmla="*/ 127 w 504"/>
                <a:gd name="T51" fmla="*/ 229 h 524"/>
                <a:gd name="T52" fmla="*/ 124 w 504"/>
                <a:gd name="T53" fmla="*/ 195 h 524"/>
                <a:gd name="T54" fmla="*/ 115 w 504"/>
                <a:gd name="T55" fmla="*/ 161 h 524"/>
                <a:gd name="T56" fmla="*/ 100 w 504"/>
                <a:gd name="T57" fmla="*/ 134 h 524"/>
                <a:gd name="T58" fmla="*/ 68 w 504"/>
                <a:gd name="T59" fmla="*/ 90 h 524"/>
                <a:gd name="T60" fmla="*/ 86 w 504"/>
                <a:gd name="T61" fmla="*/ 60 h 524"/>
                <a:gd name="T62" fmla="*/ 106 w 504"/>
                <a:gd name="T63" fmla="*/ 56 h 524"/>
                <a:gd name="T64" fmla="*/ 130 w 504"/>
                <a:gd name="T65" fmla="*/ 58 h 524"/>
                <a:gd name="T66" fmla="*/ 139 w 504"/>
                <a:gd name="T67" fmla="*/ 61 h 524"/>
                <a:gd name="T68" fmla="*/ 160 w 504"/>
                <a:gd name="T69" fmla="*/ 56 h 524"/>
                <a:gd name="T70" fmla="*/ 164 w 504"/>
                <a:gd name="T71" fmla="*/ 33 h 524"/>
                <a:gd name="T72" fmla="*/ 171 w 504"/>
                <a:gd name="T73" fmla="*/ 13 h 524"/>
                <a:gd name="T74" fmla="*/ 187 w 504"/>
                <a:gd name="T75" fmla="*/ 0 h 524"/>
                <a:gd name="T76" fmla="*/ 225 w 504"/>
                <a:gd name="T77" fmla="*/ 0 h 524"/>
                <a:gd name="T78" fmla="*/ 254 w 504"/>
                <a:gd name="T79" fmla="*/ 8 h 524"/>
                <a:gd name="T80" fmla="*/ 280 w 504"/>
                <a:gd name="T81" fmla="*/ 21 h 524"/>
                <a:gd name="T82" fmla="*/ 279 w 504"/>
                <a:gd name="T83" fmla="*/ 62 h 524"/>
                <a:gd name="T84" fmla="*/ 292 w 504"/>
                <a:gd name="T85" fmla="*/ 77 h 524"/>
                <a:gd name="T86" fmla="*/ 319 w 504"/>
                <a:gd name="T87" fmla="*/ 94 h 524"/>
                <a:gd name="T88" fmla="*/ 356 w 504"/>
                <a:gd name="T89" fmla="*/ 119 h 524"/>
                <a:gd name="T90" fmla="*/ 346 w 504"/>
                <a:gd name="T91" fmla="*/ 135 h 524"/>
                <a:gd name="T92" fmla="*/ 340 w 504"/>
                <a:gd name="T93" fmla="*/ 153 h 524"/>
                <a:gd name="T94" fmla="*/ 344 w 504"/>
                <a:gd name="T95" fmla="*/ 176 h 524"/>
                <a:gd name="T96" fmla="*/ 363 w 504"/>
                <a:gd name="T97" fmla="*/ 200 h 524"/>
                <a:gd name="T98" fmla="*/ 378 w 504"/>
                <a:gd name="T99" fmla="*/ 210 h 524"/>
                <a:gd name="T100" fmla="*/ 386 w 504"/>
                <a:gd name="T101" fmla="*/ 256 h 524"/>
                <a:gd name="T102" fmla="*/ 404 w 504"/>
                <a:gd name="T103" fmla="*/ 289 h 524"/>
                <a:gd name="T104" fmla="*/ 432 w 504"/>
                <a:gd name="T105" fmla="*/ 315 h 524"/>
                <a:gd name="T106" fmla="*/ 463 w 504"/>
                <a:gd name="T107" fmla="*/ 335 h 524"/>
                <a:gd name="T108" fmla="*/ 466 w 504"/>
                <a:gd name="T109" fmla="*/ 390 h 524"/>
                <a:gd name="T110" fmla="*/ 397 w 504"/>
                <a:gd name="T111" fmla="*/ 457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4" h="524">
                  <a:moveTo>
                    <a:pt x="365" y="493"/>
                  </a:moveTo>
                  <a:lnTo>
                    <a:pt x="355" y="493"/>
                  </a:lnTo>
                  <a:lnTo>
                    <a:pt x="345" y="493"/>
                  </a:lnTo>
                  <a:lnTo>
                    <a:pt x="266" y="493"/>
                  </a:lnTo>
                  <a:lnTo>
                    <a:pt x="262" y="500"/>
                  </a:lnTo>
                  <a:lnTo>
                    <a:pt x="256" y="505"/>
                  </a:lnTo>
                  <a:lnTo>
                    <a:pt x="250" y="510"/>
                  </a:lnTo>
                  <a:lnTo>
                    <a:pt x="243" y="513"/>
                  </a:lnTo>
                  <a:lnTo>
                    <a:pt x="235" y="517"/>
                  </a:lnTo>
                  <a:lnTo>
                    <a:pt x="228" y="519"/>
                  </a:lnTo>
                  <a:lnTo>
                    <a:pt x="219" y="521"/>
                  </a:lnTo>
                  <a:lnTo>
                    <a:pt x="210" y="522"/>
                  </a:lnTo>
                  <a:lnTo>
                    <a:pt x="191" y="524"/>
                  </a:lnTo>
                  <a:lnTo>
                    <a:pt x="173" y="524"/>
                  </a:lnTo>
                  <a:lnTo>
                    <a:pt x="155" y="524"/>
                  </a:lnTo>
                  <a:lnTo>
                    <a:pt x="140" y="524"/>
                  </a:lnTo>
                  <a:lnTo>
                    <a:pt x="121" y="523"/>
                  </a:lnTo>
                  <a:lnTo>
                    <a:pt x="106" y="522"/>
                  </a:lnTo>
                  <a:lnTo>
                    <a:pt x="100" y="521"/>
                  </a:lnTo>
                  <a:lnTo>
                    <a:pt x="96" y="519"/>
                  </a:lnTo>
                  <a:lnTo>
                    <a:pt x="94" y="516"/>
                  </a:lnTo>
                  <a:lnTo>
                    <a:pt x="93" y="512"/>
                  </a:lnTo>
                  <a:lnTo>
                    <a:pt x="82" y="511"/>
                  </a:lnTo>
                  <a:lnTo>
                    <a:pt x="71" y="509"/>
                  </a:lnTo>
                  <a:lnTo>
                    <a:pt x="59" y="505"/>
                  </a:lnTo>
                  <a:lnTo>
                    <a:pt x="47" y="501"/>
                  </a:lnTo>
                  <a:lnTo>
                    <a:pt x="36" y="496"/>
                  </a:lnTo>
                  <a:lnTo>
                    <a:pt x="28" y="491"/>
                  </a:lnTo>
                  <a:lnTo>
                    <a:pt x="25" y="489"/>
                  </a:lnTo>
                  <a:lnTo>
                    <a:pt x="22" y="486"/>
                  </a:lnTo>
                  <a:lnTo>
                    <a:pt x="20" y="484"/>
                  </a:lnTo>
                  <a:lnTo>
                    <a:pt x="20" y="481"/>
                  </a:lnTo>
                  <a:lnTo>
                    <a:pt x="20" y="477"/>
                  </a:lnTo>
                  <a:lnTo>
                    <a:pt x="22" y="472"/>
                  </a:lnTo>
                  <a:lnTo>
                    <a:pt x="25" y="467"/>
                  </a:lnTo>
                  <a:lnTo>
                    <a:pt x="27" y="463"/>
                  </a:lnTo>
                  <a:lnTo>
                    <a:pt x="31" y="456"/>
                  </a:lnTo>
                  <a:lnTo>
                    <a:pt x="33" y="450"/>
                  </a:lnTo>
                  <a:lnTo>
                    <a:pt x="32" y="445"/>
                  </a:lnTo>
                  <a:lnTo>
                    <a:pt x="31" y="440"/>
                  </a:lnTo>
                  <a:lnTo>
                    <a:pt x="30" y="436"/>
                  </a:lnTo>
                  <a:lnTo>
                    <a:pt x="28" y="432"/>
                  </a:lnTo>
                  <a:lnTo>
                    <a:pt x="22" y="426"/>
                  </a:lnTo>
                  <a:lnTo>
                    <a:pt x="17" y="421"/>
                  </a:lnTo>
                  <a:lnTo>
                    <a:pt x="10" y="417"/>
                  </a:lnTo>
                  <a:lnTo>
                    <a:pt x="5" y="412"/>
                  </a:lnTo>
                  <a:lnTo>
                    <a:pt x="3" y="409"/>
                  </a:lnTo>
                  <a:lnTo>
                    <a:pt x="1" y="407"/>
                  </a:lnTo>
                  <a:lnTo>
                    <a:pt x="0" y="404"/>
                  </a:lnTo>
                  <a:lnTo>
                    <a:pt x="0" y="401"/>
                  </a:lnTo>
                  <a:lnTo>
                    <a:pt x="1" y="391"/>
                  </a:lnTo>
                  <a:lnTo>
                    <a:pt x="5" y="381"/>
                  </a:lnTo>
                  <a:lnTo>
                    <a:pt x="10" y="371"/>
                  </a:lnTo>
                  <a:lnTo>
                    <a:pt x="17" y="360"/>
                  </a:lnTo>
                  <a:lnTo>
                    <a:pt x="26" y="349"/>
                  </a:lnTo>
                  <a:lnTo>
                    <a:pt x="37" y="338"/>
                  </a:lnTo>
                  <a:lnTo>
                    <a:pt x="48" y="328"/>
                  </a:lnTo>
                  <a:lnTo>
                    <a:pt x="60" y="318"/>
                  </a:lnTo>
                  <a:lnTo>
                    <a:pt x="73" y="309"/>
                  </a:lnTo>
                  <a:lnTo>
                    <a:pt x="86" y="299"/>
                  </a:lnTo>
                  <a:lnTo>
                    <a:pt x="99" y="291"/>
                  </a:lnTo>
                  <a:lnTo>
                    <a:pt x="112" y="285"/>
                  </a:lnTo>
                  <a:lnTo>
                    <a:pt x="124" y="279"/>
                  </a:lnTo>
                  <a:lnTo>
                    <a:pt x="138" y="275"/>
                  </a:lnTo>
                  <a:lnTo>
                    <a:pt x="149" y="272"/>
                  </a:lnTo>
                  <a:lnTo>
                    <a:pt x="160" y="272"/>
                  </a:lnTo>
                  <a:lnTo>
                    <a:pt x="166" y="266"/>
                  </a:lnTo>
                  <a:lnTo>
                    <a:pt x="160" y="265"/>
                  </a:lnTo>
                  <a:lnTo>
                    <a:pt x="155" y="264"/>
                  </a:lnTo>
                  <a:lnTo>
                    <a:pt x="150" y="263"/>
                  </a:lnTo>
                  <a:lnTo>
                    <a:pt x="145" y="261"/>
                  </a:lnTo>
                  <a:lnTo>
                    <a:pt x="142" y="259"/>
                  </a:lnTo>
                  <a:lnTo>
                    <a:pt x="139" y="257"/>
                  </a:lnTo>
                  <a:lnTo>
                    <a:pt x="135" y="254"/>
                  </a:lnTo>
                  <a:lnTo>
                    <a:pt x="133" y="251"/>
                  </a:lnTo>
                  <a:lnTo>
                    <a:pt x="130" y="244"/>
                  </a:lnTo>
                  <a:lnTo>
                    <a:pt x="128" y="236"/>
                  </a:lnTo>
                  <a:lnTo>
                    <a:pt x="127" y="229"/>
                  </a:lnTo>
                  <a:lnTo>
                    <a:pt x="127" y="222"/>
                  </a:lnTo>
                  <a:lnTo>
                    <a:pt x="126" y="208"/>
                  </a:lnTo>
                  <a:lnTo>
                    <a:pt x="124" y="195"/>
                  </a:lnTo>
                  <a:lnTo>
                    <a:pt x="121" y="182"/>
                  </a:lnTo>
                  <a:lnTo>
                    <a:pt x="119" y="171"/>
                  </a:lnTo>
                  <a:lnTo>
                    <a:pt x="115" y="161"/>
                  </a:lnTo>
                  <a:lnTo>
                    <a:pt x="110" y="152"/>
                  </a:lnTo>
                  <a:lnTo>
                    <a:pt x="106" y="143"/>
                  </a:lnTo>
                  <a:lnTo>
                    <a:pt x="100" y="134"/>
                  </a:lnTo>
                  <a:lnTo>
                    <a:pt x="89" y="119"/>
                  </a:lnTo>
                  <a:lnTo>
                    <a:pt x="78" y="104"/>
                  </a:lnTo>
                  <a:lnTo>
                    <a:pt x="68" y="90"/>
                  </a:lnTo>
                  <a:lnTo>
                    <a:pt x="60" y="74"/>
                  </a:lnTo>
                  <a:lnTo>
                    <a:pt x="74" y="66"/>
                  </a:lnTo>
                  <a:lnTo>
                    <a:pt x="86" y="60"/>
                  </a:lnTo>
                  <a:lnTo>
                    <a:pt x="93" y="58"/>
                  </a:lnTo>
                  <a:lnTo>
                    <a:pt x="99" y="57"/>
                  </a:lnTo>
                  <a:lnTo>
                    <a:pt x="106" y="56"/>
                  </a:lnTo>
                  <a:lnTo>
                    <a:pt x="112" y="56"/>
                  </a:lnTo>
                  <a:lnTo>
                    <a:pt x="123" y="56"/>
                  </a:lnTo>
                  <a:lnTo>
                    <a:pt x="130" y="58"/>
                  </a:lnTo>
                  <a:lnTo>
                    <a:pt x="133" y="59"/>
                  </a:lnTo>
                  <a:lnTo>
                    <a:pt x="137" y="60"/>
                  </a:lnTo>
                  <a:lnTo>
                    <a:pt x="139" y="61"/>
                  </a:lnTo>
                  <a:lnTo>
                    <a:pt x="143" y="61"/>
                  </a:lnTo>
                  <a:lnTo>
                    <a:pt x="149" y="59"/>
                  </a:lnTo>
                  <a:lnTo>
                    <a:pt x="160" y="56"/>
                  </a:lnTo>
                  <a:lnTo>
                    <a:pt x="160" y="47"/>
                  </a:lnTo>
                  <a:lnTo>
                    <a:pt x="162" y="40"/>
                  </a:lnTo>
                  <a:lnTo>
                    <a:pt x="164" y="33"/>
                  </a:lnTo>
                  <a:lnTo>
                    <a:pt x="166" y="25"/>
                  </a:lnTo>
                  <a:lnTo>
                    <a:pt x="168" y="19"/>
                  </a:lnTo>
                  <a:lnTo>
                    <a:pt x="171" y="13"/>
                  </a:lnTo>
                  <a:lnTo>
                    <a:pt x="172" y="7"/>
                  </a:lnTo>
                  <a:lnTo>
                    <a:pt x="173" y="0"/>
                  </a:lnTo>
                  <a:lnTo>
                    <a:pt x="187" y="0"/>
                  </a:lnTo>
                  <a:lnTo>
                    <a:pt x="201" y="0"/>
                  </a:lnTo>
                  <a:lnTo>
                    <a:pt x="214" y="0"/>
                  </a:lnTo>
                  <a:lnTo>
                    <a:pt x="225" y="0"/>
                  </a:lnTo>
                  <a:lnTo>
                    <a:pt x="235" y="1"/>
                  </a:lnTo>
                  <a:lnTo>
                    <a:pt x="244" y="4"/>
                  </a:lnTo>
                  <a:lnTo>
                    <a:pt x="254" y="8"/>
                  </a:lnTo>
                  <a:lnTo>
                    <a:pt x="263" y="12"/>
                  </a:lnTo>
                  <a:lnTo>
                    <a:pt x="270" y="17"/>
                  </a:lnTo>
                  <a:lnTo>
                    <a:pt x="280" y="21"/>
                  </a:lnTo>
                  <a:lnTo>
                    <a:pt x="289" y="24"/>
                  </a:lnTo>
                  <a:lnTo>
                    <a:pt x="299" y="25"/>
                  </a:lnTo>
                  <a:lnTo>
                    <a:pt x="279" y="62"/>
                  </a:lnTo>
                  <a:lnTo>
                    <a:pt x="283" y="67"/>
                  </a:lnTo>
                  <a:lnTo>
                    <a:pt x="287" y="72"/>
                  </a:lnTo>
                  <a:lnTo>
                    <a:pt x="292" y="77"/>
                  </a:lnTo>
                  <a:lnTo>
                    <a:pt x="297" y="82"/>
                  </a:lnTo>
                  <a:lnTo>
                    <a:pt x="308" y="88"/>
                  </a:lnTo>
                  <a:lnTo>
                    <a:pt x="319" y="94"/>
                  </a:lnTo>
                  <a:lnTo>
                    <a:pt x="341" y="103"/>
                  </a:lnTo>
                  <a:lnTo>
                    <a:pt x="358" y="111"/>
                  </a:lnTo>
                  <a:lnTo>
                    <a:pt x="356" y="119"/>
                  </a:lnTo>
                  <a:lnTo>
                    <a:pt x="353" y="126"/>
                  </a:lnTo>
                  <a:lnTo>
                    <a:pt x="350" y="131"/>
                  </a:lnTo>
                  <a:lnTo>
                    <a:pt x="346" y="135"/>
                  </a:lnTo>
                  <a:lnTo>
                    <a:pt x="343" y="141"/>
                  </a:lnTo>
                  <a:lnTo>
                    <a:pt x="341" y="146"/>
                  </a:lnTo>
                  <a:lnTo>
                    <a:pt x="340" y="153"/>
                  </a:lnTo>
                  <a:lnTo>
                    <a:pt x="339" y="161"/>
                  </a:lnTo>
                  <a:lnTo>
                    <a:pt x="340" y="168"/>
                  </a:lnTo>
                  <a:lnTo>
                    <a:pt x="344" y="176"/>
                  </a:lnTo>
                  <a:lnTo>
                    <a:pt x="350" y="184"/>
                  </a:lnTo>
                  <a:lnTo>
                    <a:pt x="356" y="193"/>
                  </a:lnTo>
                  <a:lnTo>
                    <a:pt x="363" y="200"/>
                  </a:lnTo>
                  <a:lnTo>
                    <a:pt x="369" y="205"/>
                  </a:lnTo>
                  <a:lnTo>
                    <a:pt x="375" y="209"/>
                  </a:lnTo>
                  <a:lnTo>
                    <a:pt x="378" y="210"/>
                  </a:lnTo>
                  <a:lnTo>
                    <a:pt x="379" y="226"/>
                  </a:lnTo>
                  <a:lnTo>
                    <a:pt x="381" y="241"/>
                  </a:lnTo>
                  <a:lnTo>
                    <a:pt x="386" y="256"/>
                  </a:lnTo>
                  <a:lnTo>
                    <a:pt x="391" y="268"/>
                  </a:lnTo>
                  <a:lnTo>
                    <a:pt x="397" y="279"/>
                  </a:lnTo>
                  <a:lnTo>
                    <a:pt x="404" y="289"/>
                  </a:lnTo>
                  <a:lnTo>
                    <a:pt x="413" y="298"/>
                  </a:lnTo>
                  <a:lnTo>
                    <a:pt x="422" y="307"/>
                  </a:lnTo>
                  <a:lnTo>
                    <a:pt x="432" y="315"/>
                  </a:lnTo>
                  <a:lnTo>
                    <a:pt x="442" y="322"/>
                  </a:lnTo>
                  <a:lnTo>
                    <a:pt x="452" y="329"/>
                  </a:lnTo>
                  <a:lnTo>
                    <a:pt x="463" y="335"/>
                  </a:lnTo>
                  <a:lnTo>
                    <a:pt x="485" y="346"/>
                  </a:lnTo>
                  <a:lnTo>
                    <a:pt x="504" y="357"/>
                  </a:lnTo>
                  <a:lnTo>
                    <a:pt x="466" y="390"/>
                  </a:lnTo>
                  <a:lnTo>
                    <a:pt x="430" y="424"/>
                  </a:lnTo>
                  <a:lnTo>
                    <a:pt x="413" y="440"/>
                  </a:lnTo>
                  <a:lnTo>
                    <a:pt x="397" y="457"/>
                  </a:lnTo>
                  <a:lnTo>
                    <a:pt x="380" y="476"/>
                  </a:lnTo>
                  <a:lnTo>
                    <a:pt x="36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648" name="Freeform 16"/>
            <p:cNvSpPr>
              <a:spLocks/>
            </p:cNvSpPr>
            <p:nvPr>
              <p:custDataLst>
                <p:tags r:id="rId33"/>
              </p:custDataLst>
            </p:nvPr>
          </p:nvSpPr>
          <p:spPr bwMode="auto">
            <a:xfrm>
              <a:off x="6264907" y="2596002"/>
              <a:ext cx="182562" cy="238125"/>
            </a:xfrm>
            <a:custGeom>
              <a:avLst/>
              <a:gdLst>
                <a:gd name="T0" fmla="*/ 2147483647 w 438"/>
                <a:gd name="T1" fmla="*/ 2147483647 h 451"/>
                <a:gd name="T2" fmla="*/ 2147483647 w 438"/>
                <a:gd name="T3" fmla="*/ 2147483647 h 451"/>
                <a:gd name="T4" fmla="*/ 2147483647 w 438"/>
                <a:gd name="T5" fmla="*/ 2147483647 h 451"/>
                <a:gd name="T6" fmla="*/ 2147483647 w 438"/>
                <a:gd name="T7" fmla="*/ 2147483647 h 451"/>
                <a:gd name="T8" fmla="*/ 2147483647 w 438"/>
                <a:gd name="T9" fmla="*/ 2147483647 h 451"/>
                <a:gd name="T10" fmla="*/ 2147483647 w 438"/>
                <a:gd name="T11" fmla="*/ 2147483647 h 451"/>
                <a:gd name="T12" fmla="*/ 2147483647 w 438"/>
                <a:gd name="T13" fmla="*/ 2147483647 h 451"/>
                <a:gd name="T14" fmla="*/ 2147483647 w 438"/>
                <a:gd name="T15" fmla="*/ 2147483647 h 451"/>
                <a:gd name="T16" fmla="*/ 2147483647 w 438"/>
                <a:gd name="T17" fmla="*/ 2147483647 h 451"/>
                <a:gd name="T18" fmla="*/ 2147483647 w 438"/>
                <a:gd name="T19" fmla="*/ 2147483647 h 451"/>
                <a:gd name="T20" fmla="*/ 2147483647 w 438"/>
                <a:gd name="T21" fmla="*/ 2147483647 h 451"/>
                <a:gd name="T22" fmla="*/ 2147483647 w 438"/>
                <a:gd name="T23" fmla="*/ 2147483647 h 451"/>
                <a:gd name="T24" fmla="*/ 2147483647 w 438"/>
                <a:gd name="T25" fmla="*/ 2147483647 h 451"/>
                <a:gd name="T26" fmla="*/ 2147483647 w 438"/>
                <a:gd name="T27" fmla="*/ 0 h 451"/>
                <a:gd name="T28" fmla="*/ 2147483647 w 438"/>
                <a:gd name="T29" fmla="*/ 2147483647 h 451"/>
                <a:gd name="T30" fmla="*/ 2147483647 w 438"/>
                <a:gd name="T31" fmla="*/ 2147483647 h 451"/>
                <a:gd name="T32" fmla="*/ 2147483647 w 438"/>
                <a:gd name="T33" fmla="*/ 2147483647 h 451"/>
                <a:gd name="T34" fmla="*/ 2147483647 w 438"/>
                <a:gd name="T35" fmla="*/ 2147483647 h 451"/>
                <a:gd name="T36" fmla="*/ 2147483647 w 438"/>
                <a:gd name="T37" fmla="*/ 2147483647 h 451"/>
                <a:gd name="T38" fmla="*/ 2147483647 w 438"/>
                <a:gd name="T39" fmla="*/ 2147483647 h 451"/>
                <a:gd name="T40" fmla="*/ 2147483647 w 438"/>
                <a:gd name="T41" fmla="*/ 2147483647 h 451"/>
                <a:gd name="T42" fmla="*/ 2147483647 w 438"/>
                <a:gd name="T43" fmla="*/ 2147483647 h 451"/>
                <a:gd name="T44" fmla="*/ 2147483647 w 438"/>
                <a:gd name="T45" fmla="*/ 2147483647 h 451"/>
                <a:gd name="T46" fmla="*/ 2147483647 w 438"/>
                <a:gd name="T47" fmla="*/ 2147483647 h 451"/>
                <a:gd name="T48" fmla="*/ 2147483647 w 438"/>
                <a:gd name="T49" fmla="*/ 2147483647 h 451"/>
                <a:gd name="T50" fmla="*/ 2147483647 w 438"/>
                <a:gd name="T51" fmla="*/ 2147483647 h 451"/>
                <a:gd name="T52" fmla="*/ 2147483647 w 438"/>
                <a:gd name="T53" fmla="*/ 2147483647 h 451"/>
                <a:gd name="T54" fmla="*/ 2147483647 w 438"/>
                <a:gd name="T55" fmla="*/ 2147483647 h 451"/>
                <a:gd name="T56" fmla="*/ 2147483647 w 438"/>
                <a:gd name="T57" fmla="*/ 2147483647 h 451"/>
                <a:gd name="T58" fmla="*/ 2147483647 w 438"/>
                <a:gd name="T59" fmla="*/ 2147483647 h 451"/>
                <a:gd name="T60" fmla="*/ 2147483647 w 438"/>
                <a:gd name="T61" fmla="*/ 2147483647 h 451"/>
                <a:gd name="T62" fmla="*/ 2147483647 w 438"/>
                <a:gd name="T63" fmla="*/ 2147483647 h 451"/>
                <a:gd name="T64" fmla="*/ 2147483647 w 438"/>
                <a:gd name="T65" fmla="*/ 2147483647 h 451"/>
                <a:gd name="T66" fmla="*/ 2147483647 w 438"/>
                <a:gd name="T67" fmla="*/ 2147483647 h 451"/>
                <a:gd name="T68" fmla="*/ 2147483647 w 438"/>
                <a:gd name="T69" fmla="*/ 2147483647 h 451"/>
                <a:gd name="T70" fmla="*/ 2147483647 w 438"/>
                <a:gd name="T71" fmla="*/ 2147483647 h 451"/>
                <a:gd name="T72" fmla="*/ 2147483647 w 438"/>
                <a:gd name="T73" fmla="*/ 2147483647 h 451"/>
                <a:gd name="T74" fmla="*/ 2147483647 w 438"/>
                <a:gd name="T75" fmla="*/ 2147483647 h 451"/>
                <a:gd name="T76" fmla="*/ 2147483647 w 438"/>
                <a:gd name="T77" fmla="*/ 2147483647 h 451"/>
                <a:gd name="T78" fmla="*/ 2147483647 w 438"/>
                <a:gd name="T79" fmla="*/ 2147483647 h 451"/>
                <a:gd name="T80" fmla="*/ 2147483647 w 438"/>
                <a:gd name="T81" fmla="*/ 2147483647 h 451"/>
                <a:gd name="T82" fmla="*/ 2147483647 w 438"/>
                <a:gd name="T83" fmla="*/ 2147483647 h 451"/>
                <a:gd name="T84" fmla="*/ 2147483647 w 438"/>
                <a:gd name="T85" fmla="*/ 2147483647 h 451"/>
                <a:gd name="T86" fmla="*/ 2147483647 w 438"/>
                <a:gd name="T87" fmla="*/ 2147483647 h 451"/>
                <a:gd name="T88" fmla="*/ 2147483647 w 438"/>
                <a:gd name="T89" fmla="*/ 2147483647 h 451"/>
                <a:gd name="T90" fmla="*/ 2147483647 w 438"/>
                <a:gd name="T91" fmla="*/ 2147483647 h 451"/>
                <a:gd name="T92" fmla="*/ 2147483647 w 438"/>
                <a:gd name="T93" fmla="*/ 2147483647 h 451"/>
                <a:gd name="T94" fmla="*/ 2147483647 w 438"/>
                <a:gd name="T95" fmla="*/ 2147483647 h 451"/>
                <a:gd name="T96" fmla="*/ 2147483647 w 438"/>
                <a:gd name="T97" fmla="*/ 2147483647 h 451"/>
                <a:gd name="T98" fmla="*/ 2147483647 w 438"/>
                <a:gd name="T99" fmla="*/ 2147483647 h 451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438" h="451">
                  <a:moveTo>
                    <a:pt x="438" y="235"/>
                  </a:moveTo>
                  <a:lnTo>
                    <a:pt x="431" y="212"/>
                  </a:lnTo>
                  <a:lnTo>
                    <a:pt x="426" y="190"/>
                  </a:lnTo>
                  <a:lnTo>
                    <a:pt x="420" y="169"/>
                  </a:lnTo>
                  <a:lnTo>
                    <a:pt x="415" y="148"/>
                  </a:lnTo>
                  <a:lnTo>
                    <a:pt x="408" y="128"/>
                  </a:lnTo>
                  <a:lnTo>
                    <a:pt x="398" y="106"/>
                  </a:lnTo>
                  <a:lnTo>
                    <a:pt x="393" y="95"/>
                  </a:lnTo>
                  <a:lnTo>
                    <a:pt x="387" y="85"/>
                  </a:lnTo>
                  <a:lnTo>
                    <a:pt x="380" y="74"/>
                  </a:lnTo>
                  <a:lnTo>
                    <a:pt x="372" y="62"/>
                  </a:lnTo>
                  <a:lnTo>
                    <a:pt x="367" y="62"/>
                  </a:lnTo>
                  <a:lnTo>
                    <a:pt x="363" y="61"/>
                  </a:lnTo>
                  <a:lnTo>
                    <a:pt x="359" y="60"/>
                  </a:lnTo>
                  <a:lnTo>
                    <a:pt x="356" y="58"/>
                  </a:lnTo>
                  <a:lnTo>
                    <a:pt x="349" y="54"/>
                  </a:lnTo>
                  <a:lnTo>
                    <a:pt x="342" y="49"/>
                  </a:lnTo>
                  <a:lnTo>
                    <a:pt x="335" y="45"/>
                  </a:lnTo>
                  <a:lnTo>
                    <a:pt x="326" y="41"/>
                  </a:lnTo>
                  <a:lnTo>
                    <a:pt x="320" y="40"/>
                  </a:lnTo>
                  <a:lnTo>
                    <a:pt x="314" y="38"/>
                  </a:lnTo>
                  <a:lnTo>
                    <a:pt x="307" y="38"/>
                  </a:lnTo>
                  <a:lnTo>
                    <a:pt x="298" y="37"/>
                  </a:lnTo>
                  <a:lnTo>
                    <a:pt x="293" y="38"/>
                  </a:lnTo>
                  <a:lnTo>
                    <a:pt x="287" y="39"/>
                  </a:lnTo>
                  <a:lnTo>
                    <a:pt x="282" y="40"/>
                  </a:lnTo>
                  <a:lnTo>
                    <a:pt x="276" y="42"/>
                  </a:lnTo>
                  <a:lnTo>
                    <a:pt x="268" y="47"/>
                  </a:lnTo>
                  <a:lnTo>
                    <a:pt x="260" y="52"/>
                  </a:lnTo>
                  <a:lnTo>
                    <a:pt x="251" y="58"/>
                  </a:lnTo>
                  <a:lnTo>
                    <a:pt x="244" y="64"/>
                  </a:lnTo>
                  <a:lnTo>
                    <a:pt x="239" y="66"/>
                  </a:lnTo>
                  <a:lnTo>
                    <a:pt x="235" y="67"/>
                  </a:lnTo>
                  <a:lnTo>
                    <a:pt x="230" y="68"/>
                  </a:lnTo>
                  <a:lnTo>
                    <a:pt x="226" y="69"/>
                  </a:lnTo>
                  <a:lnTo>
                    <a:pt x="217" y="66"/>
                  </a:lnTo>
                  <a:lnTo>
                    <a:pt x="205" y="58"/>
                  </a:lnTo>
                  <a:lnTo>
                    <a:pt x="190" y="48"/>
                  </a:lnTo>
                  <a:lnTo>
                    <a:pt x="174" y="37"/>
                  </a:lnTo>
                  <a:lnTo>
                    <a:pt x="145" y="16"/>
                  </a:lnTo>
                  <a:lnTo>
                    <a:pt x="133" y="7"/>
                  </a:lnTo>
                  <a:lnTo>
                    <a:pt x="113" y="0"/>
                  </a:lnTo>
                  <a:lnTo>
                    <a:pt x="104" y="9"/>
                  </a:lnTo>
                  <a:lnTo>
                    <a:pt x="98" y="18"/>
                  </a:lnTo>
                  <a:lnTo>
                    <a:pt x="95" y="23"/>
                  </a:lnTo>
                  <a:lnTo>
                    <a:pt x="94" y="28"/>
                  </a:lnTo>
                  <a:lnTo>
                    <a:pt x="93" y="35"/>
                  </a:lnTo>
                  <a:lnTo>
                    <a:pt x="93" y="43"/>
                  </a:lnTo>
                  <a:lnTo>
                    <a:pt x="93" y="46"/>
                  </a:lnTo>
                  <a:lnTo>
                    <a:pt x="95" y="49"/>
                  </a:lnTo>
                  <a:lnTo>
                    <a:pt x="98" y="52"/>
                  </a:lnTo>
                  <a:lnTo>
                    <a:pt x="101" y="55"/>
                  </a:lnTo>
                  <a:lnTo>
                    <a:pt x="110" y="63"/>
                  </a:lnTo>
                  <a:lnTo>
                    <a:pt x="119" y="69"/>
                  </a:lnTo>
                  <a:lnTo>
                    <a:pt x="112" y="69"/>
                  </a:lnTo>
                  <a:lnTo>
                    <a:pt x="105" y="71"/>
                  </a:lnTo>
                  <a:lnTo>
                    <a:pt x="99" y="73"/>
                  </a:lnTo>
                  <a:lnTo>
                    <a:pt x="93" y="76"/>
                  </a:lnTo>
                  <a:lnTo>
                    <a:pt x="80" y="84"/>
                  </a:lnTo>
                  <a:lnTo>
                    <a:pt x="66" y="93"/>
                  </a:lnTo>
                  <a:lnTo>
                    <a:pt x="63" y="103"/>
                  </a:lnTo>
                  <a:lnTo>
                    <a:pt x="61" y="112"/>
                  </a:lnTo>
                  <a:lnTo>
                    <a:pt x="58" y="119"/>
                  </a:lnTo>
                  <a:lnTo>
                    <a:pt x="56" y="125"/>
                  </a:lnTo>
                  <a:lnTo>
                    <a:pt x="49" y="133"/>
                  </a:lnTo>
                  <a:lnTo>
                    <a:pt x="45" y="138"/>
                  </a:lnTo>
                  <a:lnTo>
                    <a:pt x="39" y="144"/>
                  </a:lnTo>
                  <a:lnTo>
                    <a:pt x="36" y="151"/>
                  </a:lnTo>
                  <a:lnTo>
                    <a:pt x="35" y="156"/>
                  </a:lnTo>
                  <a:lnTo>
                    <a:pt x="34" y="162"/>
                  </a:lnTo>
                  <a:lnTo>
                    <a:pt x="33" y="169"/>
                  </a:lnTo>
                  <a:lnTo>
                    <a:pt x="33" y="179"/>
                  </a:lnTo>
                  <a:lnTo>
                    <a:pt x="0" y="235"/>
                  </a:lnTo>
                  <a:lnTo>
                    <a:pt x="4" y="236"/>
                  </a:lnTo>
                  <a:lnTo>
                    <a:pt x="7" y="238"/>
                  </a:lnTo>
                  <a:lnTo>
                    <a:pt x="11" y="240"/>
                  </a:lnTo>
                  <a:lnTo>
                    <a:pt x="13" y="243"/>
                  </a:lnTo>
                  <a:lnTo>
                    <a:pt x="15" y="246"/>
                  </a:lnTo>
                  <a:lnTo>
                    <a:pt x="18" y="248"/>
                  </a:lnTo>
                  <a:lnTo>
                    <a:pt x="22" y="248"/>
                  </a:lnTo>
                  <a:lnTo>
                    <a:pt x="26" y="247"/>
                  </a:lnTo>
                  <a:lnTo>
                    <a:pt x="39" y="277"/>
                  </a:lnTo>
                  <a:lnTo>
                    <a:pt x="33" y="308"/>
                  </a:lnTo>
                  <a:lnTo>
                    <a:pt x="33" y="346"/>
                  </a:lnTo>
                  <a:lnTo>
                    <a:pt x="53" y="347"/>
                  </a:lnTo>
                  <a:lnTo>
                    <a:pt x="72" y="350"/>
                  </a:lnTo>
                  <a:lnTo>
                    <a:pt x="93" y="353"/>
                  </a:lnTo>
                  <a:lnTo>
                    <a:pt x="113" y="358"/>
                  </a:lnTo>
                  <a:lnTo>
                    <a:pt x="107" y="366"/>
                  </a:lnTo>
                  <a:lnTo>
                    <a:pt x="104" y="376"/>
                  </a:lnTo>
                  <a:lnTo>
                    <a:pt x="100" y="387"/>
                  </a:lnTo>
                  <a:lnTo>
                    <a:pt x="96" y="400"/>
                  </a:lnTo>
                  <a:lnTo>
                    <a:pt x="89" y="425"/>
                  </a:lnTo>
                  <a:lnTo>
                    <a:pt x="79" y="451"/>
                  </a:lnTo>
                  <a:lnTo>
                    <a:pt x="94" y="449"/>
                  </a:lnTo>
                  <a:lnTo>
                    <a:pt x="109" y="447"/>
                  </a:lnTo>
                  <a:lnTo>
                    <a:pt x="123" y="447"/>
                  </a:lnTo>
                  <a:lnTo>
                    <a:pt x="137" y="447"/>
                  </a:lnTo>
                  <a:lnTo>
                    <a:pt x="152" y="447"/>
                  </a:lnTo>
                  <a:lnTo>
                    <a:pt x="169" y="446"/>
                  </a:lnTo>
                  <a:lnTo>
                    <a:pt x="186" y="445"/>
                  </a:lnTo>
                  <a:lnTo>
                    <a:pt x="205" y="444"/>
                  </a:lnTo>
                  <a:lnTo>
                    <a:pt x="228" y="445"/>
                  </a:lnTo>
                  <a:lnTo>
                    <a:pt x="252" y="446"/>
                  </a:lnTo>
                  <a:lnTo>
                    <a:pt x="276" y="446"/>
                  </a:lnTo>
                  <a:lnTo>
                    <a:pt x="300" y="445"/>
                  </a:lnTo>
                  <a:lnTo>
                    <a:pt x="322" y="444"/>
                  </a:lnTo>
                  <a:lnTo>
                    <a:pt x="343" y="442"/>
                  </a:lnTo>
                  <a:lnTo>
                    <a:pt x="362" y="440"/>
                  </a:lnTo>
                  <a:lnTo>
                    <a:pt x="379" y="438"/>
                  </a:lnTo>
                  <a:lnTo>
                    <a:pt x="372" y="432"/>
                  </a:lnTo>
                  <a:lnTo>
                    <a:pt x="365" y="425"/>
                  </a:lnTo>
                  <a:lnTo>
                    <a:pt x="361" y="419"/>
                  </a:lnTo>
                  <a:lnTo>
                    <a:pt x="359" y="413"/>
                  </a:lnTo>
                  <a:lnTo>
                    <a:pt x="363" y="411"/>
                  </a:lnTo>
                  <a:lnTo>
                    <a:pt x="367" y="407"/>
                  </a:lnTo>
                  <a:lnTo>
                    <a:pt x="369" y="403"/>
                  </a:lnTo>
                  <a:lnTo>
                    <a:pt x="370" y="398"/>
                  </a:lnTo>
                  <a:lnTo>
                    <a:pt x="372" y="389"/>
                  </a:lnTo>
                  <a:lnTo>
                    <a:pt x="372" y="382"/>
                  </a:lnTo>
                  <a:lnTo>
                    <a:pt x="385" y="379"/>
                  </a:lnTo>
                  <a:lnTo>
                    <a:pt x="398" y="376"/>
                  </a:lnTo>
                  <a:lnTo>
                    <a:pt x="380" y="367"/>
                  </a:lnTo>
                  <a:lnTo>
                    <a:pt x="365" y="359"/>
                  </a:lnTo>
                  <a:lnTo>
                    <a:pt x="353" y="351"/>
                  </a:lnTo>
                  <a:lnTo>
                    <a:pt x="343" y="344"/>
                  </a:lnTo>
                  <a:lnTo>
                    <a:pt x="336" y="336"/>
                  </a:lnTo>
                  <a:lnTo>
                    <a:pt x="330" y="329"/>
                  </a:lnTo>
                  <a:lnTo>
                    <a:pt x="325" y="323"/>
                  </a:lnTo>
                  <a:lnTo>
                    <a:pt x="322" y="317"/>
                  </a:lnTo>
                  <a:lnTo>
                    <a:pt x="316" y="305"/>
                  </a:lnTo>
                  <a:lnTo>
                    <a:pt x="311" y="294"/>
                  </a:lnTo>
                  <a:lnTo>
                    <a:pt x="306" y="289"/>
                  </a:lnTo>
                  <a:lnTo>
                    <a:pt x="301" y="283"/>
                  </a:lnTo>
                  <a:lnTo>
                    <a:pt x="294" y="277"/>
                  </a:lnTo>
                  <a:lnTo>
                    <a:pt x="285" y="271"/>
                  </a:lnTo>
                  <a:lnTo>
                    <a:pt x="301" y="274"/>
                  </a:lnTo>
                  <a:lnTo>
                    <a:pt x="314" y="275"/>
                  </a:lnTo>
                  <a:lnTo>
                    <a:pt x="326" y="275"/>
                  </a:lnTo>
                  <a:lnTo>
                    <a:pt x="336" y="273"/>
                  </a:lnTo>
                  <a:lnTo>
                    <a:pt x="346" y="271"/>
                  </a:lnTo>
                  <a:lnTo>
                    <a:pt x="354" y="268"/>
                  </a:lnTo>
                  <a:lnTo>
                    <a:pt x="362" y="264"/>
                  </a:lnTo>
                  <a:lnTo>
                    <a:pt x="369" y="260"/>
                  </a:lnTo>
                  <a:lnTo>
                    <a:pt x="383" y="251"/>
                  </a:lnTo>
                  <a:lnTo>
                    <a:pt x="398" y="243"/>
                  </a:lnTo>
                  <a:lnTo>
                    <a:pt x="407" y="240"/>
                  </a:lnTo>
                  <a:lnTo>
                    <a:pt x="416" y="237"/>
                  </a:lnTo>
                  <a:lnTo>
                    <a:pt x="427" y="236"/>
                  </a:lnTo>
                  <a:lnTo>
                    <a:pt x="438" y="235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49" name="Freeform 17"/>
            <p:cNvSpPr>
              <a:spLocks/>
            </p:cNvSpPr>
            <p:nvPr>
              <p:custDataLst>
                <p:tags r:id="rId34"/>
              </p:custDataLst>
            </p:nvPr>
          </p:nvSpPr>
          <p:spPr bwMode="auto">
            <a:xfrm>
              <a:off x="6290307" y="2853177"/>
              <a:ext cx="250825" cy="274637"/>
            </a:xfrm>
            <a:custGeom>
              <a:avLst/>
              <a:gdLst>
                <a:gd name="T0" fmla="*/ 2147483647 w 578"/>
                <a:gd name="T1" fmla="*/ 2147483647 h 524"/>
                <a:gd name="T2" fmla="*/ 2147483647 w 578"/>
                <a:gd name="T3" fmla="*/ 2147483647 h 524"/>
                <a:gd name="T4" fmla="*/ 2147483647 w 578"/>
                <a:gd name="T5" fmla="*/ 2147483647 h 524"/>
                <a:gd name="T6" fmla="*/ 2147483647 w 578"/>
                <a:gd name="T7" fmla="*/ 2147483647 h 524"/>
                <a:gd name="T8" fmla="*/ 2147483647 w 578"/>
                <a:gd name="T9" fmla="*/ 2147483647 h 524"/>
                <a:gd name="T10" fmla="*/ 2147483647 w 578"/>
                <a:gd name="T11" fmla="*/ 2147483647 h 524"/>
                <a:gd name="T12" fmla="*/ 2147483647 w 578"/>
                <a:gd name="T13" fmla="*/ 2147483647 h 524"/>
                <a:gd name="T14" fmla="*/ 2147483647 w 578"/>
                <a:gd name="T15" fmla="*/ 2147483647 h 524"/>
                <a:gd name="T16" fmla="*/ 2147483647 w 578"/>
                <a:gd name="T17" fmla="*/ 2147483647 h 524"/>
                <a:gd name="T18" fmla="*/ 2147483647 w 578"/>
                <a:gd name="T19" fmla="*/ 2147483647 h 524"/>
                <a:gd name="T20" fmla="*/ 2147483647 w 578"/>
                <a:gd name="T21" fmla="*/ 2147483647 h 524"/>
                <a:gd name="T22" fmla="*/ 2147483647 w 578"/>
                <a:gd name="T23" fmla="*/ 2147483647 h 524"/>
                <a:gd name="T24" fmla="*/ 2147483647 w 578"/>
                <a:gd name="T25" fmla="*/ 2147483647 h 524"/>
                <a:gd name="T26" fmla="*/ 2147483647 w 578"/>
                <a:gd name="T27" fmla="*/ 2147483647 h 524"/>
                <a:gd name="T28" fmla="*/ 2147483647 w 578"/>
                <a:gd name="T29" fmla="*/ 2147483647 h 524"/>
                <a:gd name="T30" fmla="*/ 2147483647 w 578"/>
                <a:gd name="T31" fmla="*/ 2147483647 h 524"/>
                <a:gd name="T32" fmla="*/ 2147483647 w 578"/>
                <a:gd name="T33" fmla="*/ 2147483647 h 524"/>
                <a:gd name="T34" fmla="*/ 2147483647 w 578"/>
                <a:gd name="T35" fmla="*/ 2147483647 h 524"/>
                <a:gd name="T36" fmla="*/ 2147483647 w 578"/>
                <a:gd name="T37" fmla="*/ 2147483647 h 524"/>
                <a:gd name="T38" fmla="*/ 2147483647 w 578"/>
                <a:gd name="T39" fmla="*/ 2147483647 h 524"/>
                <a:gd name="T40" fmla="*/ 2147483647 w 578"/>
                <a:gd name="T41" fmla="*/ 2147483647 h 524"/>
                <a:gd name="T42" fmla="*/ 2147483647 w 578"/>
                <a:gd name="T43" fmla="*/ 2147483647 h 524"/>
                <a:gd name="T44" fmla="*/ 2147483647 w 578"/>
                <a:gd name="T45" fmla="*/ 2147483647 h 524"/>
                <a:gd name="T46" fmla="*/ 2147483647 w 578"/>
                <a:gd name="T47" fmla="*/ 2147483647 h 524"/>
                <a:gd name="T48" fmla="*/ 2147483647 w 578"/>
                <a:gd name="T49" fmla="*/ 2147483647 h 524"/>
                <a:gd name="T50" fmla="*/ 2147483647 w 578"/>
                <a:gd name="T51" fmla="*/ 2147483647 h 524"/>
                <a:gd name="T52" fmla="*/ 2147483647 w 578"/>
                <a:gd name="T53" fmla="*/ 2147483647 h 524"/>
                <a:gd name="T54" fmla="*/ 2147483647 w 578"/>
                <a:gd name="T55" fmla="*/ 2147483647 h 524"/>
                <a:gd name="T56" fmla="*/ 2147483647 w 578"/>
                <a:gd name="T57" fmla="*/ 2147483647 h 524"/>
                <a:gd name="T58" fmla="*/ 2147483647 w 578"/>
                <a:gd name="T59" fmla="*/ 2147483647 h 524"/>
                <a:gd name="T60" fmla="*/ 2147483647 w 578"/>
                <a:gd name="T61" fmla="*/ 2147483647 h 524"/>
                <a:gd name="T62" fmla="*/ 2147483647 w 578"/>
                <a:gd name="T63" fmla="*/ 2147483647 h 524"/>
                <a:gd name="T64" fmla="*/ 2147483647 w 578"/>
                <a:gd name="T65" fmla="*/ 2147483647 h 524"/>
                <a:gd name="T66" fmla="*/ 2147483647 w 578"/>
                <a:gd name="T67" fmla="*/ 2147483647 h 524"/>
                <a:gd name="T68" fmla="*/ 2147483647 w 578"/>
                <a:gd name="T69" fmla="*/ 2147483647 h 524"/>
                <a:gd name="T70" fmla="*/ 2147483647 w 578"/>
                <a:gd name="T71" fmla="*/ 2147483647 h 524"/>
                <a:gd name="T72" fmla="*/ 2147483647 w 578"/>
                <a:gd name="T73" fmla="*/ 2147483647 h 524"/>
                <a:gd name="T74" fmla="*/ 2147483647 w 578"/>
                <a:gd name="T75" fmla="*/ 2147483647 h 524"/>
                <a:gd name="T76" fmla="*/ 2147483647 w 578"/>
                <a:gd name="T77" fmla="*/ 2147483647 h 524"/>
                <a:gd name="T78" fmla="*/ 2147483647 w 578"/>
                <a:gd name="T79" fmla="*/ 2147483647 h 524"/>
                <a:gd name="T80" fmla="*/ 2147483647 w 578"/>
                <a:gd name="T81" fmla="*/ 2147483647 h 524"/>
                <a:gd name="T82" fmla="*/ 2147483647 w 578"/>
                <a:gd name="T83" fmla="*/ 2147483647 h 524"/>
                <a:gd name="T84" fmla="*/ 2147483647 w 578"/>
                <a:gd name="T85" fmla="*/ 2147483647 h 524"/>
                <a:gd name="T86" fmla="*/ 2147483647 w 578"/>
                <a:gd name="T87" fmla="*/ 2147483647 h 524"/>
                <a:gd name="T88" fmla="*/ 2147483647 w 578"/>
                <a:gd name="T89" fmla="*/ 2147483647 h 524"/>
                <a:gd name="T90" fmla="*/ 2147483647 w 578"/>
                <a:gd name="T91" fmla="*/ 2147483647 h 524"/>
                <a:gd name="T92" fmla="*/ 2147483647 w 578"/>
                <a:gd name="T93" fmla="*/ 2147483647 h 524"/>
                <a:gd name="T94" fmla="*/ 2147483647 w 578"/>
                <a:gd name="T95" fmla="*/ 2147483647 h 524"/>
                <a:gd name="T96" fmla="*/ 2147483647 w 578"/>
                <a:gd name="T97" fmla="*/ 0 h 524"/>
                <a:gd name="T98" fmla="*/ 2147483647 w 578"/>
                <a:gd name="T99" fmla="*/ 2147483647 h 524"/>
                <a:gd name="T100" fmla="*/ 2147483647 w 578"/>
                <a:gd name="T101" fmla="*/ 2147483647 h 524"/>
                <a:gd name="T102" fmla="*/ 2147483647 w 578"/>
                <a:gd name="T103" fmla="*/ 2147483647 h 524"/>
                <a:gd name="T104" fmla="*/ 2147483647 w 578"/>
                <a:gd name="T105" fmla="*/ 2147483647 h 52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78" h="524">
                  <a:moveTo>
                    <a:pt x="332" y="99"/>
                  </a:moveTo>
                  <a:lnTo>
                    <a:pt x="331" y="94"/>
                  </a:lnTo>
                  <a:lnTo>
                    <a:pt x="329" y="90"/>
                  </a:lnTo>
                  <a:lnTo>
                    <a:pt x="327" y="88"/>
                  </a:lnTo>
                  <a:lnTo>
                    <a:pt x="325" y="86"/>
                  </a:lnTo>
                  <a:lnTo>
                    <a:pt x="320" y="85"/>
                  </a:lnTo>
                  <a:lnTo>
                    <a:pt x="315" y="85"/>
                  </a:lnTo>
                  <a:lnTo>
                    <a:pt x="312" y="85"/>
                  </a:lnTo>
                  <a:lnTo>
                    <a:pt x="309" y="85"/>
                  </a:lnTo>
                  <a:lnTo>
                    <a:pt x="306" y="84"/>
                  </a:lnTo>
                  <a:lnTo>
                    <a:pt x="304" y="82"/>
                  </a:lnTo>
                  <a:lnTo>
                    <a:pt x="301" y="79"/>
                  </a:lnTo>
                  <a:lnTo>
                    <a:pt x="297" y="75"/>
                  </a:lnTo>
                  <a:lnTo>
                    <a:pt x="295" y="69"/>
                  </a:lnTo>
                  <a:lnTo>
                    <a:pt x="293" y="61"/>
                  </a:lnTo>
                  <a:lnTo>
                    <a:pt x="275" y="66"/>
                  </a:lnTo>
                  <a:lnTo>
                    <a:pt x="263" y="70"/>
                  </a:lnTo>
                  <a:lnTo>
                    <a:pt x="258" y="73"/>
                  </a:lnTo>
                  <a:lnTo>
                    <a:pt x="254" y="76"/>
                  </a:lnTo>
                  <a:lnTo>
                    <a:pt x="251" y="78"/>
                  </a:lnTo>
                  <a:lnTo>
                    <a:pt x="249" y="81"/>
                  </a:lnTo>
                  <a:lnTo>
                    <a:pt x="247" y="87"/>
                  </a:lnTo>
                  <a:lnTo>
                    <a:pt x="246" y="95"/>
                  </a:lnTo>
                  <a:lnTo>
                    <a:pt x="246" y="105"/>
                  </a:lnTo>
                  <a:lnTo>
                    <a:pt x="246" y="117"/>
                  </a:lnTo>
                  <a:lnTo>
                    <a:pt x="247" y="131"/>
                  </a:lnTo>
                  <a:lnTo>
                    <a:pt x="249" y="143"/>
                  </a:lnTo>
                  <a:lnTo>
                    <a:pt x="253" y="153"/>
                  </a:lnTo>
                  <a:lnTo>
                    <a:pt x="259" y="162"/>
                  </a:lnTo>
                  <a:lnTo>
                    <a:pt x="262" y="166"/>
                  </a:lnTo>
                  <a:lnTo>
                    <a:pt x="266" y="169"/>
                  </a:lnTo>
                  <a:lnTo>
                    <a:pt x="270" y="172"/>
                  </a:lnTo>
                  <a:lnTo>
                    <a:pt x="274" y="174"/>
                  </a:lnTo>
                  <a:lnTo>
                    <a:pt x="279" y="176"/>
                  </a:lnTo>
                  <a:lnTo>
                    <a:pt x="283" y="177"/>
                  </a:lnTo>
                  <a:lnTo>
                    <a:pt x="287" y="178"/>
                  </a:lnTo>
                  <a:lnTo>
                    <a:pt x="293" y="178"/>
                  </a:lnTo>
                  <a:lnTo>
                    <a:pt x="293" y="182"/>
                  </a:lnTo>
                  <a:lnTo>
                    <a:pt x="295" y="187"/>
                  </a:lnTo>
                  <a:lnTo>
                    <a:pt x="298" y="191"/>
                  </a:lnTo>
                  <a:lnTo>
                    <a:pt x="303" y="195"/>
                  </a:lnTo>
                  <a:lnTo>
                    <a:pt x="314" y="203"/>
                  </a:lnTo>
                  <a:lnTo>
                    <a:pt x="327" y="211"/>
                  </a:lnTo>
                  <a:lnTo>
                    <a:pt x="351" y="225"/>
                  </a:lnTo>
                  <a:lnTo>
                    <a:pt x="365" y="234"/>
                  </a:lnTo>
                  <a:lnTo>
                    <a:pt x="439" y="296"/>
                  </a:lnTo>
                  <a:lnTo>
                    <a:pt x="443" y="303"/>
                  </a:lnTo>
                  <a:lnTo>
                    <a:pt x="449" y="309"/>
                  </a:lnTo>
                  <a:lnTo>
                    <a:pt x="454" y="314"/>
                  </a:lnTo>
                  <a:lnTo>
                    <a:pt x="461" y="318"/>
                  </a:lnTo>
                  <a:lnTo>
                    <a:pt x="469" y="320"/>
                  </a:lnTo>
                  <a:lnTo>
                    <a:pt x="477" y="322"/>
                  </a:lnTo>
                  <a:lnTo>
                    <a:pt x="487" y="322"/>
                  </a:lnTo>
                  <a:lnTo>
                    <a:pt x="498" y="321"/>
                  </a:lnTo>
                  <a:lnTo>
                    <a:pt x="500" y="324"/>
                  </a:lnTo>
                  <a:lnTo>
                    <a:pt x="504" y="328"/>
                  </a:lnTo>
                  <a:lnTo>
                    <a:pt x="507" y="332"/>
                  </a:lnTo>
                  <a:lnTo>
                    <a:pt x="511" y="337"/>
                  </a:lnTo>
                  <a:lnTo>
                    <a:pt x="523" y="346"/>
                  </a:lnTo>
                  <a:lnTo>
                    <a:pt x="536" y="356"/>
                  </a:lnTo>
                  <a:lnTo>
                    <a:pt x="549" y="364"/>
                  </a:lnTo>
                  <a:lnTo>
                    <a:pt x="561" y="370"/>
                  </a:lnTo>
                  <a:lnTo>
                    <a:pt x="571" y="374"/>
                  </a:lnTo>
                  <a:lnTo>
                    <a:pt x="578" y="376"/>
                  </a:lnTo>
                  <a:lnTo>
                    <a:pt x="577" y="383"/>
                  </a:lnTo>
                  <a:lnTo>
                    <a:pt x="574" y="391"/>
                  </a:lnTo>
                  <a:lnTo>
                    <a:pt x="570" y="400"/>
                  </a:lnTo>
                  <a:lnTo>
                    <a:pt x="565" y="407"/>
                  </a:lnTo>
                  <a:lnTo>
                    <a:pt x="552" y="388"/>
                  </a:lnTo>
                  <a:lnTo>
                    <a:pt x="541" y="387"/>
                  </a:lnTo>
                  <a:lnTo>
                    <a:pt x="530" y="384"/>
                  </a:lnTo>
                  <a:lnTo>
                    <a:pt x="526" y="383"/>
                  </a:lnTo>
                  <a:lnTo>
                    <a:pt x="521" y="381"/>
                  </a:lnTo>
                  <a:lnTo>
                    <a:pt x="519" y="378"/>
                  </a:lnTo>
                  <a:lnTo>
                    <a:pt x="518" y="376"/>
                  </a:lnTo>
                  <a:lnTo>
                    <a:pt x="508" y="376"/>
                  </a:lnTo>
                  <a:lnTo>
                    <a:pt x="498" y="376"/>
                  </a:lnTo>
                  <a:lnTo>
                    <a:pt x="498" y="382"/>
                  </a:lnTo>
                  <a:lnTo>
                    <a:pt x="498" y="389"/>
                  </a:lnTo>
                  <a:lnTo>
                    <a:pt x="498" y="397"/>
                  </a:lnTo>
                  <a:lnTo>
                    <a:pt x="498" y="407"/>
                  </a:lnTo>
                  <a:lnTo>
                    <a:pt x="499" y="414"/>
                  </a:lnTo>
                  <a:lnTo>
                    <a:pt x="504" y="422"/>
                  </a:lnTo>
                  <a:lnTo>
                    <a:pt x="506" y="426"/>
                  </a:lnTo>
                  <a:lnTo>
                    <a:pt x="509" y="429"/>
                  </a:lnTo>
                  <a:lnTo>
                    <a:pt x="514" y="431"/>
                  </a:lnTo>
                  <a:lnTo>
                    <a:pt x="518" y="432"/>
                  </a:lnTo>
                  <a:lnTo>
                    <a:pt x="514" y="442"/>
                  </a:lnTo>
                  <a:lnTo>
                    <a:pt x="508" y="454"/>
                  </a:lnTo>
                  <a:lnTo>
                    <a:pt x="506" y="460"/>
                  </a:lnTo>
                  <a:lnTo>
                    <a:pt x="504" y="465"/>
                  </a:lnTo>
                  <a:lnTo>
                    <a:pt x="500" y="468"/>
                  </a:lnTo>
                  <a:lnTo>
                    <a:pt x="498" y="469"/>
                  </a:lnTo>
                  <a:lnTo>
                    <a:pt x="493" y="485"/>
                  </a:lnTo>
                  <a:lnTo>
                    <a:pt x="486" y="498"/>
                  </a:lnTo>
                  <a:lnTo>
                    <a:pt x="483" y="505"/>
                  </a:lnTo>
                  <a:lnTo>
                    <a:pt x="481" y="511"/>
                  </a:lnTo>
                  <a:lnTo>
                    <a:pt x="480" y="518"/>
                  </a:lnTo>
                  <a:lnTo>
                    <a:pt x="478" y="524"/>
                  </a:lnTo>
                  <a:lnTo>
                    <a:pt x="465" y="522"/>
                  </a:lnTo>
                  <a:lnTo>
                    <a:pt x="450" y="518"/>
                  </a:lnTo>
                  <a:lnTo>
                    <a:pt x="438" y="513"/>
                  </a:lnTo>
                  <a:lnTo>
                    <a:pt x="432" y="511"/>
                  </a:lnTo>
                  <a:lnTo>
                    <a:pt x="436" y="505"/>
                  </a:lnTo>
                  <a:lnTo>
                    <a:pt x="440" y="499"/>
                  </a:lnTo>
                  <a:lnTo>
                    <a:pt x="445" y="494"/>
                  </a:lnTo>
                  <a:lnTo>
                    <a:pt x="451" y="489"/>
                  </a:lnTo>
                  <a:lnTo>
                    <a:pt x="456" y="484"/>
                  </a:lnTo>
                  <a:lnTo>
                    <a:pt x="461" y="478"/>
                  </a:lnTo>
                  <a:lnTo>
                    <a:pt x="463" y="475"/>
                  </a:lnTo>
                  <a:lnTo>
                    <a:pt x="464" y="471"/>
                  </a:lnTo>
                  <a:lnTo>
                    <a:pt x="465" y="467"/>
                  </a:lnTo>
                  <a:lnTo>
                    <a:pt x="465" y="463"/>
                  </a:lnTo>
                  <a:lnTo>
                    <a:pt x="464" y="455"/>
                  </a:lnTo>
                  <a:lnTo>
                    <a:pt x="463" y="448"/>
                  </a:lnTo>
                  <a:lnTo>
                    <a:pt x="461" y="441"/>
                  </a:lnTo>
                  <a:lnTo>
                    <a:pt x="458" y="434"/>
                  </a:lnTo>
                  <a:lnTo>
                    <a:pt x="449" y="420"/>
                  </a:lnTo>
                  <a:lnTo>
                    <a:pt x="439" y="407"/>
                  </a:lnTo>
                  <a:lnTo>
                    <a:pt x="427" y="395"/>
                  </a:lnTo>
                  <a:lnTo>
                    <a:pt x="415" y="384"/>
                  </a:lnTo>
                  <a:lnTo>
                    <a:pt x="403" y="376"/>
                  </a:lnTo>
                  <a:lnTo>
                    <a:pt x="392" y="370"/>
                  </a:lnTo>
                  <a:lnTo>
                    <a:pt x="385" y="369"/>
                  </a:lnTo>
                  <a:lnTo>
                    <a:pt x="378" y="367"/>
                  </a:lnTo>
                  <a:lnTo>
                    <a:pt x="372" y="364"/>
                  </a:lnTo>
                  <a:lnTo>
                    <a:pt x="366" y="362"/>
                  </a:lnTo>
                  <a:lnTo>
                    <a:pt x="355" y="356"/>
                  </a:lnTo>
                  <a:lnTo>
                    <a:pt x="348" y="349"/>
                  </a:lnTo>
                  <a:lnTo>
                    <a:pt x="336" y="338"/>
                  </a:lnTo>
                  <a:lnTo>
                    <a:pt x="332" y="333"/>
                  </a:lnTo>
                  <a:lnTo>
                    <a:pt x="318" y="330"/>
                  </a:lnTo>
                  <a:lnTo>
                    <a:pt x="305" y="327"/>
                  </a:lnTo>
                  <a:lnTo>
                    <a:pt x="292" y="323"/>
                  </a:lnTo>
                  <a:lnTo>
                    <a:pt x="280" y="319"/>
                  </a:lnTo>
                  <a:lnTo>
                    <a:pt x="268" y="315"/>
                  </a:lnTo>
                  <a:lnTo>
                    <a:pt x="257" y="310"/>
                  </a:lnTo>
                  <a:lnTo>
                    <a:pt x="247" y="304"/>
                  </a:lnTo>
                  <a:lnTo>
                    <a:pt x="237" y="299"/>
                  </a:lnTo>
                  <a:lnTo>
                    <a:pt x="218" y="285"/>
                  </a:lnTo>
                  <a:lnTo>
                    <a:pt x="202" y="272"/>
                  </a:lnTo>
                  <a:lnTo>
                    <a:pt x="186" y="258"/>
                  </a:lnTo>
                  <a:lnTo>
                    <a:pt x="173" y="244"/>
                  </a:lnTo>
                  <a:lnTo>
                    <a:pt x="162" y="229"/>
                  </a:lnTo>
                  <a:lnTo>
                    <a:pt x="152" y="215"/>
                  </a:lnTo>
                  <a:lnTo>
                    <a:pt x="144" y="202"/>
                  </a:lnTo>
                  <a:lnTo>
                    <a:pt x="137" y="189"/>
                  </a:lnTo>
                  <a:lnTo>
                    <a:pt x="126" y="168"/>
                  </a:lnTo>
                  <a:lnTo>
                    <a:pt x="119" y="154"/>
                  </a:lnTo>
                  <a:lnTo>
                    <a:pt x="102" y="154"/>
                  </a:lnTo>
                  <a:lnTo>
                    <a:pt x="89" y="154"/>
                  </a:lnTo>
                  <a:lnTo>
                    <a:pt x="77" y="154"/>
                  </a:lnTo>
                  <a:lnTo>
                    <a:pt x="67" y="154"/>
                  </a:lnTo>
                  <a:lnTo>
                    <a:pt x="61" y="155"/>
                  </a:lnTo>
                  <a:lnTo>
                    <a:pt x="57" y="155"/>
                  </a:lnTo>
                  <a:lnTo>
                    <a:pt x="51" y="157"/>
                  </a:lnTo>
                  <a:lnTo>
                    <a:pt x="46" y="159"/>
                  </a:lnTo>
                  <a:lnTo>
                    <a:pt x="34" y="164"/>
                  </a:lnTo>
                  <a:lnTo>
                    <a:pt x="21" y="172"/>
                  </a:lnTo>
                  <a:lnTo>
                    <a:pt x="15" y="165"/>
                  </a:lnTo>
                  <a:lnTo>
                    <a:pt x="12" y="158"/>
                  </a:lnTo>
                  <a:lnTo>
                    <a:pt x="7" y="150"/>
                  </a:lnTo>
                  <a:lnTo>
                    <a:pt x="5" y="141"/>
                  </a:lnTo>
                  <a:lnTo>
                    <a:pt x="3" y="133"/>
                  </a:lnTo>
                  <a:lnTo>
                    <a:pt x="1" y="123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1" y="93"/>
                  </a:lnTo>
                  <a:lnTo>
                    <a:pt x="3" y="83"/>
                  </a:lnTo>
                  <a:lnTo>
                    <a:pt x="5" y="71"/>
                  </a:lnTo>
                  <a:lnTo>
                    <a:pt x="6" y="55"/>
                  </a:lnTo>
                  <a:lnTo>
                    <a:pt x="6" y="49"/>
                  </a:lnTo>
                  <a:lnTo>
                    <a:pt x="27" y="49"/>
                  </a:lnTo>
                  <a:lnTo>
                    <a:pt x="34" y="47"/>
                  </a:lnTo>
                  <a:lnTo>
                    <a:pt x="39" y="44"/>
                  </a:lnTo>
                  <a:lnTo>
                    <a:pt x="45" y="41"/>
                  </a:lnTo>
                  <a:lnTo>
                    <a:pt x="49" y="37"/>
                  </a:lnTo>
                  <a:lnTo>
                    <a:pt x="58" y="31"/>
                  </a:lnTo>
                  <a:lnTo>
                    <a:pt x="67" y="25"/>
                  </a:lnTo>
                  <a:lnTo>
                    <a:pt x="68" y="33"/>
                  </a:lnTo>
                  <a:lnTo>
                    <a:pt x="70" y="39"/>
                  </a:lnTo>
                  <a:lnTo>
                    <a:pt x="73" y="44"/>
                  </a:lnTo>
                  <a:lnTo>
                    <a:pt x="78" y="46"/>
                  </a:lnTo>
                  <a:lnTo>
                    <a:pt x="83" y="48"/>
                  </a:lnTo>
                  <a:lnTo>
                    <a:pt x="89" y="49"/>
                  </a:lnTo>
                  <a:lnTo>
                    <a:pt x="94" y="49"/>
                  </a:lnTo>
                  <a:lnTo>
                    <a:pt x="100" y="49"/>
                  </a:lnTo>
                  <a:lnTo>
                    <a:pt x="104" y="44"/>
                  </a:lnTo>
                  <a:lnTo>
                    <a:pt x="113" y="38"/>
                  </a:lnTo>
                  <a:lnTo>
                    <a:pt x="124" y="31"/>
                  </a:lnTo>
                  <a:lnTo>
                    <a:pt x="136" y="24"/>
                  </a:lnTo>
                  <a:lnTo>
                    <a:pt x="149" y="16"/>
                  </a:lnTo>
                  <a:lnTo>
                    <a:pt x="160" y="11"/>
                  </a:lnTo>
                  <a:lnTo>
                    <a:pt x="168" y="7"/>
                  </a:lnTo>
                  <a:lnTo>
                    <a:pt x="173" y="6"/>
                  </a:lnTo>
                  <a:lnTo>
                    <a:pt x="239" y="0"/>
                  </a:lnTo>
                  <a:lnTo>
                    <a:pt x="243" y="4"/>
                  </a:lnTo>
                  <a:lnTo>
                    <a:pt x="248" y="8"/>
                  </a:lnTo>
                  <a:lnTo>
                    <a:pt x="252" y="11"/>
                  </a:lnTo>
                  <a:lnTo>
                    <a:pt x="257" y="13"/>
                  </a:lnTo>
                  <a:lnTo>
                    <a:pt x="266" y="16"/>
                  </a:lnTo>
                  <a:lnTo>
                    <a:pt x="279" y="19"/>
                  </a:lnTo>
                  <a:lnTo>
                    <a:pt x="304" y="20"/>
                  </a:lnTo>
                  <a:lnTo>
                    <a:pt x="332" y="19"/>
                  </a:lnTo>
                  <a:lnTo>
                    <a:pt x="331" y="34"/>
                  </a:lnTo>
                  <a:lnTo>
                    <a:pt x="329" y="46"/>
                  </a:lnTo>
                  <a:lnTo>
                    <a:pt x="325" y="56"/>
                  </a:lnTo>
                  <a:lnTo>
                    <a:pt x="322" y="65"/>
                  </a:lnTo>
                  <a:lnTo>
                    <a:pt x="320" y="74"/>
                  </a:lnTo>
                  <a:lnTo>
                    <a:pt x="321" y="82"/>
                  </a:lnTo>
                  <a:lnTo>
                    <a:pt x="322" y="86"/>
                  </a:lnTo>
                  <a:lnTo>
                    <a:pt x="325" y="90"/>
                  </a:lnTo>
                  <a:lnTo>
                    <a:pt x="328" y="94"/>
                  </a:lnTo>
                  <a:lnTo>
                    <a:pt x="332" y="99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50" name="Freeform 18"/>
            <p:cNvSpPr>
              <a:spLocks/>
            </p:cNvSpPr>
            <p:nvPr>
              <p:custDataLst>
                <p:tags r:id="rId35"/>
              </p:custDataLst>
            </p:nvPr>
          </p:nvSpPr>
          <p:spPr bwMode="auto">
            <a:xfrm>
              <a:off x="6307769" y="3021452"/>
              <a:ext cx="33338" cy="82550"/>
            </a:xfrm>
            <a:custGeom>
              <a:avLst/>
              <a:gdLst>
                <a:gd name="T0" fmla="*/ 0 w 79"/>
                <a:gd name="T1" fmla="*/ 2147483647 h 160"/>
                <a:gd name="T2" fmla="*/ 2147483647 w 79"/>
                <a:gd name="T3" fmla="*/ 2147483647 h 160"/>
                <a:gd name="T4" fmla="*/ 2147483647 w 79"/>
                <a:gd name="T5" fmla="*/ 2147483647 h 160"/>
                <a:gd name="T6" fmla="*/ 2147483647 w 79"/>
                <a:gd name="T7" fmla="*/ 2147483647 h 160"/>
                <a:gd name="T8" fmla="*/ 2147483647 w 79"/>
                <a:gd name="T9" fmla="*/ 2147483647 h 160"/>
                <a:gd name="T10" fmla="*/ 2147483647 w 79"/>
                <a:gd name="T11" fmla="*/ 2147483647 h 160"/>
                <a:gd name="T12" fmla="*/ 2147483647 w 79"/>
                <a:gd name="T13" fmla="*/ 2147483647 h 160"/>
                <a:gd name="T14" fmla="*/ 2147483647 w 79"/>
                <a:gd name="T15" fmla="*/ 2147483647 h 160"/>
                <a:gd name="T16" fmla="*/ 2147483647 w 79"/>
                <a:gd name="T17" fmla="*/ 2147483647 h 160"/>
                <a:gd name="T18" fmla="*/ 2147483647 w 79"/>
                <a:gd name="T19" fmla="*/ 2147483647 h 160"/>
                <a:gd name="T20" fmla="*/ 2147483647 w 79"/>
                <a:gd name="T21" fmla="*/ 0 h 160"/>
                <a:gd name="T22" fmla="*/ 2147483647 w 79"/>
                <a:gd name="T23" fmla="*/ 2147483647 h 160"/>
                <a:gd name="T24" fmla="*/ 2147483647 w 79"/>
                <a:gd name="T25" fmla="*/ 2147483647 h 160"/>
                <a:gd name="T26" fmla="*/ 2147483647 w 79"/>
                <a:gd name="T27" fmla="*/ 2147483647 h 160"/>
                <a:gd name="T28" fmla="*/ 2147483647 w 79"/>
                <a:gd name="T29" fmla="*/ 2147483647 h 160"/>
                <a:gd name="T30" fmla="*/ 2147483647 w 79"/>
                <a:gd name="T31" fmla="*/ 2147483647 h 160"/>
                <a:gd name="T32" fmla="*/ 2147483647 w 79"/>
                <a:gd name="T33" fmla="*/ 2147483647 h 160"/>
                <a:gd name="T34" fmla="*/ 2147483647 w 79"/>
                <a:gd name="T35" fmla="*/ 2147483647 h 160"/>
                <a:gd name="T36" fmla="*/ 2147483647 w 79"/>
                <a:gd name="T37" fmla="*/ 2147483647 h 160"/>
                <a:gd name="T38" fmla="*/ 2147483647 w 79"/>
                <a:gd name="T39" fmla="*/ 2147483647 h 160"/>
                <a:gd name="T40" fmla="*/ 2147483647 w 79"/>
                <a:gd name="T41" fmla="*/ 2147483647 h 160"/>
                <a:gd name="T42" fmla="*/ 2147483647 w 79"/>
                <a:gd name="T43" fmla="*/ 2147483647 h 160"/>
                <a:gd name="T44" fmla="*/ 2147483647 w 79"/>
                <a:gd name="T45" fmla="*/ 2147483647 h 160"/>
                <a:gd name="T46" fmla="*/ 2147483647 w 79"/>
                <a:gd name="T47" fmla="*/ 2147483647 h 160"/>
                <a:gd name="T48" fmla="*/ 2147483647 w 79"/>
                <a:gd name="T49" fmla="*/ 2147483647 h 160"/>
                <a:gd name="T50" fmla="*/ 2147483647 w 79"/>
                <a:gd name="T51" fmla="*/ 2147483647 h 160"/>
                <a:gd name="T52" fmla="*/ 2147483647 w 79"/>
                <a:gd name="T53" fmla="*/ 2147483647 h 160"/>
                <a:gd name="T54" fmla="*/ 2147483647 w 79"/>
                <a:gd name="T55" fmla="*/ 2147483647 h 160"/>
                <a:gd name="T56" fmla="*/ 2147483647 w 79"/>
                <a:gd name="T57" fmla="*/ 2147483647 h 160"/>
                <a:gd name="T58" fmla="*/ 2147483647 w 79"/>
                <a:gd name="T59" fmla="*/ 2147483647 h 160"/>
                <a:gd name="T60" fmla="*/ 2147483647 w 79"/>
                <a:gd name="T61" fmla="*/ 2147483647 h 160"/>
                <a:gd name="T62" fmla="*/ 2147483647 w 79"/>
                <a:gd name="T63" fmla="*/ 2147483647 h 160"/>
                <a:gd name="T64" fmla="*/ 2147483647 w 79"/>
                <a:gd name="T65" fmla="*/ 2147483647 h 160"/>
                <a:gd name="T66" fmla="*/ 2147483647 w 79"/>
                <a:gd name="T67" fmla="*/ 2147483647 h 160"/>
                <a:gd name="T68" fmla="*/ 2147483647 w 79"/>
                <a:gd name="T69" fmla="*/ 2147483647 h 160"/>
                <a:gd name="T70" fmla="*/ 2147483647 w 79"/>
                <a:gd name="T71" fmla="*/ 2147483647 h 160"/>
                <a:gd name="T72" fmla="*/ 2147483647 w 79"/>
                <a:gd name="T73" fmla="*/ 2147483647 h 160"/>
                <a:gd name="T74" fmla="*/ 2147483647 w 79"/>
                <a:gd name="T75" fmla="*/ 2147483647 h 160"/>
                <a:gd name="T76" fmla="*/ 0 w 79"/>
                <a:gd name="T77" fmla="*/ 2147483647 h 160"/>
                <a:gd name="T78" fmla="*/ 0 w 79"/>
                <a:gd name="T79" fmla="*/ 2147483647 h 16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79" h="160">
                  <a:moveTo>
                    <a:pt x="0" y="37"/>
                  </a:moveTo>
                  <a:lnTo>
                    <a:pt x="6" y="37"/>
                  </a:lnTo>
                  <a:lnTo>
                    <a:pt x="11" y="36"/>
                  </a:lnTo>
                  <a:lnTo>
                    <a:pt x="16" y="35"/>
                  </a:lnTo>
                  <a:lnTo>
                    <a:pt x="19" y="33"/>
                  </a:lnTo>
                  <a:lnTo>
                    <a:pt x="26" y="28"/>
                  </a:lnTo>
                  <a:lnTo>
                    <a:pt x="31" y="22"/>
                  </a:lnTo>
                  <a:lnTo>
                    <a:pt x="37" y="16"/>
                  </a:lnTo>
                  <a:lnTo>
                    <a:pt x="41" y="10"/>
                  </a:lnTo>
                  <a:lnTo>
                    <a:pt x="46" y="5"/>
                  </a:lnTo>
                  <a:lnTo>
                    <a:pt x="53" y="0"/>
                  </a:lnTo>
                  <a:lnTo>
                    <a:pt x="57" y="3"/>
                  </a:lnTo>
                  <a:lnTo>
                    <a:pt x="62" y="7"/>
                  </a:lnTo>
                  <a:lnTo>
                    <a:pt x="64" y="10"/>
                  </a:lnTo>
                  <a:lnTo>
                    <a:pt x="66" y="14"/>
                  </a:lnTo>
                  <a:lnTo>
                    <a:pt x="69" y="22"/>
                  </a:lnTo>
                  <a:lnTo>
                    <a:pt x="72" y="32"/>
                  </a:lnTo>
                  <a:lnTo>
                    <a:pt x="73" y="40"/>
                  </a:lnTo>
                  <a:lnTo>
                    <a:pt x="74" y="49"/>
                  </a:lnTo>
                  <a:lnTo>
                    <a:pt x="76" y="58"/>
                  </a:lnTo>
                  <a:lnTo>
                    <a:pt x="79" y="67"/>
                  </a:lnTo>
                  <a:lnTo>
                    <a:pt x="79" y="98"/>
                  </a:lnTo>
                  <a:lnTo>
                    <a:pt x="68" y="115"/>
                  </a:lnTo>
                  <a:lnTo>
                    <a:pt x="59" y="129"/>
                  </a:lnTo>
                  <a:lnTo>
                    <a:pt x="53" y="136"/>
                  </a:lnTo>
                  <a:lnTo>
                    <a:pt x="50" y="144"/>
                  </a:lnTo>
                  <a:lnTo>
                    <a:pt x="48" y="151"/>
                  </a:lnTo>
                  <a:lnTo>
                    <a:pt x="46" y="160"/>
                  </a:lnTo>
                  <a:lnTo>
                    <a:pt x="40" y="155"/>
                  </a:lnTo>
                  <a:lnTo>
                    <a:pt x="33" y="150"/>
                  </a:lnTo>
                  <a:lnTo>
                    <a:pt x="28" y="144"/>
                  </a:lnTo>
                  <a:lnTo>
                    <a:pt x="22" y="137"/>
                  </a:lnTo>
                  <a:lnTo>
                    <a:pt x="18" y="130"/>
                  </a:lnTo>
                  <a:lnTo>
                    <a:pt x="15" y="123"/>
                  </a:lnTo>
                  <a:lnTo>
                    <a:pt x="11" y="115"/>
                  </a:lnTo>
                  <a:lnTo>
                    <a:pt x="8" y="108"/>
                  </a:lnTo>
                  <a:lnTo>
                    <a:pt x="4" y="91"/>
                  </a:lnTo>
                  <a:lnTo>
                    <a:pt x="1" y="73"/>
                  </a:lnTo>
                  <a:lnTo>
                    <a:pt x="0" y="55"/>
                  </a:lnTo>
                  <a:lnTo>
                    <a:pt x="0" y="37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1110" name="Group 19"/>
            <p:cNvGrpSpPr>
              <a:grpSpLocks/>
            </p:cNvGrpSpPr>
            <p:nvPr>
              <p:custDataLst>
                <p:tags r:id="rId36"/>
              </p:custDataLst>
            </p:nvPr>
          </p:nvGrpSpPr>
          <p:grpSpPr bwMode="auto">
            <a:xfrm>
              <a:off x="8627107" y="4081902"/>
              <a:ext cx="473075" cy="212725"/>
              <a:chOff x="4488" y="2394"/>
              <a:chExt cx="358" cy="124"/>
            </a:xfrm>
            <a:solidFill>
              <a:srgbClr val="FF0000"/>
            </a:solidFill>
          </p:grpSpPr>
          <p:sp>
            <p:nvSpPr>
              <p:cNvPr id="1615" name="Freeform 20"/>
              <p:cNvSpPr>
                <a:spLocks/>
              </p:cNvSpPr>
              <p:nvPr/>
            </p:nvSpPr>
            <p:spPr bwMode="auto">
              <a:xfrm>
                <a:off x="4675" y="2394"/>
                <a:ext cx="171" cy="124"/>
              </a:xfrm>
              <a:custGeom>
                <a:avLst/>
                <a:gdLst>
                  <a:gd name="T0" fmla="*/ 424 w 512"/>
                  <a:gd name="T1" fmla="*/ 198 h 408"/>
                  <a:gd name="T2" fmla="*/ 387 w 512"/>
                  <a:gd name="T3" fmla="*/ 193 h 408"/>
                  <a:gd name="T4" fmla="*/ 367 w 512"/>
                  <a:gd name="T5" fmla="*/ 203 h 408"/>
                  <a:gd name="T6" fmla="*/ 354 w 512"/>
                  <a:gd name="T7" fmla="*/ 217 h 408"/>
                  <a:gd name="T8" fmla="*/ 347 w 512"/>
                  <a:gd name="T9" fmla="*/ 254 h 408"/>
                  <a:gd name="T10" fmla="*/ 327 w 512"/>
                  <a:gd name="T11" fmla="*/ 306 h 408"/>
                  <a:gd name="T12" fmla="*/ 305 w 512"/>
                  <a:gd name="T13" fmla="*/ 335 h 408"/>
                  <a:gd name="T14" fmla="*/ 289 w 512"/>
                  <a:gd name="T15" fmla="*/ 350 h 408"/>
                  <a:gd name="T16" fmla="*/ 271 w 512"/>
                  <a:gd name="T17" fmla="*/ 359 h 408"/>
                  <a:gd name="T18" fmla="*/ 256 w 512"/>
                  <a:gd name="T19" fmla="*/ 368 h 408"/>
                  <a:gd name="T20" fmla="*/ 253 w 512"/>
                  <a:gd name="T21" fmla="*/ 376 h 408"/>
                  <a:gd name="T22" fmla="*/ 215 w 512"/>
                  <a:gd name="T23" fmla="*/ 370 h 408"/>
                  <a:gd name="T24" fmla="*/ 183 w 512"/>
                  <a:gd name="T25" fmla="*/ 367 h 408"/>
                  <a:gd name="T26" fmla="*/ 155 w 512"/>
                  <a:gd name="T27" fmla="*/ 373 h 408"/>
                  <a:gd name="T28" fmla="*/ 138 w 512"/>
                  <a:gd name="T29" fmla="*/ 388 h 408"/>
                  <a:gd name="T30" fmla="*/ 97 w 512"/>
                  <a:gd name="T31" fmla="*/ 405 h 408"/>
                  <a:gd name="T32" fmla="*/ 62 w 512"/>
                  <a:gd name="T33" fmla="*/ 407 h 408"/>
                  <a:gd name="T34" fmla="*/ 45 w 512"/>
                  <a:gd name="T35" fmla="*/ 400 h 408"/>
                  <a:gd name="T36" fmla="*/ 15 w 512"/>
                  <a:gd name="T37" fmla="*/ 368 h 408"/>
                  <a:gd name="T38" fmla="*/ 2 w 512"/>
                  <a:gd name="T39" fmla="*/ 344 h 408"/>
                  <a:gd name="T40" fmla="*/ 8 w 512"/>
                  <a:gd name="T41" fmla="*/ 335 h 408"/>
                  <a:gd name="T42" fmla="*/ 34 w 512"/>
                  <a:gd name="T43" fmla="*/ 344 h 408"/>
                  <a:gd name="T44" fmla="*/ 53 w 512"/>
                  <a:gd name="T45" fmla="*/ 336 h 408"/>
                  <a:gd name="T46" fmla="*/ 56 w 512"/>
                  <a:gd name="T47" fmla="*/ 314 h 408"/>
                  <a:gd name="T48" fmla="*/ 71 w 512"/>
                  <a:gd name="T49" fmla="*/ 300 h 408"/>
                  <a:gd name="T50" fmla="*/ 82 w 512"/>
                  <a:gd name="T51" fmla="*/ 286 h 408"/>
                  <a:gd name="T52" fmla="*/ 89 w 512"/>
                  <a:gd name="T53" fmla="*/ 272 h 408"/>
                  <a:gd name="T54" fmla="*/ 101 w 512"/>
                  <a:gd name="T55" fmla="*/ 262 h 408"/>
                  <a:gd name="T56" fmla="*/ 137 w 512"/>
                  <a:gd name="T57" fmla="*/ 246 h 408"/>
                  <a:gd name="T58" fmla="*/ 175 w 512"/>
                  <a:gd name="T59" fmla="*/ 232 h 408"/>
                  <a:gd name="T60" fmla="*/ 202 w 512"/>
                  <a:gd name="T61" fmla="*/ 217 h 408"/>
                  <a:gd name="T62" fmla="*/ 213 w 512"/>
                  <a:gd name="T63" fmla="*/ 205 h 408"/>
                  <a:gd name="T64" fmla="*/ 219 w 512"/>
                  <a:gd name="T65" fmla="*/ 191 h 408"/>
                  <a:gd name="T66" fmla="*/ 227 w 512"/>
                  <a:gd name="T67" fmla="*/ 161 h 408"/>
                  <a:gd name="T68" fmla="*/ 229 w 512"/>
                  <a:gd name="T69" fmla="*/ 149 h 408"/>
                  <a:gd name="T70" fmla="*/ 231 w 512"/>
                  <a:gd name="T71" fmla="*/ 152 h 408"/>
                  <a:gd name="T72" fmla="*/ 239 w 512"/>
                  <a:gd name="T73" fmla="*/ 143 h 408"/>
                  <a:gd name="T74" fmla="*/ 237 w 512"/>
                  <a:gd name="T75" fmla="*/ 155 h 408"/>
                  <a:gd name="T76" fmla="*/ 240 w 512"/>
                  <a:gd name="T77" fmla="*/ 174 h 408"/>
                  <a:gd name="T78" fmla="*/ 251 w 512"/>
                  <a:gd name="T79" fmla="*/ 193 h 408"/>
                  <a:gd name="T80" fmla="*/ 272 w 512"/>
                  <a:gd name="T81" fmla="*/ 205 h 408"/>
                  <a:gd name="T82" fmla="*/ 306 w 512"/>
                  <a:gd name="T83" fmla="*/ 204 h 408"/>
                  <a:gd name="T84" fmla="*/ 320 w 512"/>
                  <a:gd name="T85" fmla="*/ 205 h 408"/>
                  <a:gd name="T86" fmla="*/ 327 w 512"/>
                  <a:gd name="T87" fmla="*/ 198 h 408"/>
                  <a:gd name="T88" fmla="*/ 324 w 512"/>
                  <a:gd name="T89" fmla="*/ 176 h 408"/>
                  <a:gd name="T90" fmla="*/ 299 w 512"/>
                  <a:gd name="T91" fmla="*/ 130 h 408"/>
                  <a:gd name="T92" fmla="*/ 319 w 512"/>
                  <a:gd name="T93" fmla="*/ 109 h 408"/>
                  <a:gd name="T94" fmla="*/ 344 w 512"/>
                  <a:gd name="T95" fmla="*/ 66 h 408"/>
                  <a:gd name="T96" fmla="*/ 374 w 512"/>
                  <a:gd name="T97" fmla="*/ 22 h 408"/>
                  <a:gd name="T98" fmla="*/ 399 w 512"/>
                  <a:gd name="T99" fmla="*/ 0 h 408"/>
                  <a:gd name="T100" fmla="*/ 401 w 512"/>
                  <a:gd name="T101" fmla="*/ 23 h 408"/>
                  <a:gd name="T102" fmla="*/ 413 w 512"/>
                  <a:gd name="T103" fmla="*/ 50 h 408"/>
                  <a:gd name="T104" fmla="*/ 439 w 512"/>
                  <a:gd name="T105" fmla="*/ 75 h 408"/>
                  <a:gd name="T106" fmla="*/ 486 w 512"/>
                  <a:gd name="T107" fmla="*/ 106 h 408"/>
                  <a:gd name="T108" fmla="*/ 508 w 512"/>
                  <a:gd name="T109" fmla="*/ 132 h 408"/>
                  <a:gd name="T110" fmla="*/ 499 w 512"/>
                  <a:gd name="T111" fmla="*/ 149 h 408"/>
                  <a:gd name="T112" fmla="*/ 478 w 512"/>
                  <a:gd name="T113" fmla="*/ 152 h 408"/>
                  <a:gd name="T114" fmla="*/ 458 w 512"/>
                  <a:gd name="T115" fmla="*/ 18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512" h="408">
                    <a:moveTo>
                      <a:pt x="452" y="204"/>
                    </a:moveTo>
                    <a:lnTo>
                      <a:pt x="442" y="202"/>
                    </a:lnTo>
                    <a:lnTo>
                      <a:pt x="424" y="198"/>
                    </a:lnTo>
                    <a:lnTo>
                      <a:pt x="407" y="194"/>
                    </a:lnTo>
                    <a:lnTo>
                      <a:pt x="392" y="192"/>
                    </a:lnTo>
                    <a:lnTo>
                      <a:pt x="387" y="193"/>
                    </a:lnTo>
                    <a:lnTo>
                      <a:pt x="380" y="195"/>
                    </a:lnTo>
                    <a:lnTo>
                      <a:pt x="374" y="198"/>
                    </a:lnTo>
                    <a:lnTo>
                      <a:pt x="367" y="203"/>
                    </a:lnTo>
                    <a:lnTo>
                      <a:pt x="362" y="207"/>
                    </a:lnTo>
                    <a:lnTo>
                      <a:pt x="356" y="212"/>
                    </a:lnTo>
                    <a:lnTo>
                      <a:pt x="354" y="217"/>
                    </a:lnTo>
                    <a:lnTo>
                      <a:pt x="353" y="222"/>
                    </a:lnTo>
                    <a:lnTo>
                      <a:pt x="351" y="238"/>
                    </a:lnTo>
                    <a:lnTo>
                      <a:pt x="347" y="254"/>
                    </a:lnTo>
                    <a:lnTo>
                      <a:pt x="342" y="271"/>
                    </a:lnTo>
                    <a:lnTo>
                      <a:pt x="335" y="289"/>
                    </a:lnTo>
                    <a:lnTo>
                      <a:pt x="327" y="306"/>
                    </a:lnTo>
                    <a:lnTo>
                      <a:pt x="316" y="321"/>
                    </a:lnTo>
                    <a:lnTo>
                      <a:pt x="310" y="328"/>
                    </a:lnTo>
                    <a:lnTo>
                      <a:pt x="305" y="335"/>
                    </a:lnTo>
                    <a:lnTo>
                      <a:pt x="299" y="341"/>
                    </a:lnTo>
                    <a:lnTo>
                      <a:pt x="293" y="346"/>
                    </a:lnTo>
                    <a:lnTo>
                      <a:pt x="289" y="350"/>
                    </a:lnTo>
                    <a:lnTo>
                      <a:pt x="284" y="354"/>
                    </a:lnTo>
                    <a:lnTo>
                      <a:pt x="277" y="356"/>
                    </a:lnTo>
                    <a:lnTo>
                      <a:pt x="271" y="359"/>
                    </a:lnTo>
                    <a:lnTo>
                      <a:pt x="264" y="362"/>
                    </a:lnTo>
                    <a:lnTo>
                      <a:pt x="258" y="366"/>
                    </a:lnTo>
                    <a:lnTo>
                      <a:pt x="256" y="368"/>
                    </a:lnTo>
                    <a:lnTo>
                      <a:pt x="254" y="370"/>
                    </a:lnTo>
                    <a:lnTo>
                      <a:pt x="253" y="373"/>
                    </a:lnTo>
                    <a:lnTo>
                      <a:pt x="253" y="376"/>
                    </a:lnTo>
                    <a:lnTo>
                      <a:pt x="227" y="376"/>
                    </a:lnTo>
                    <a:lnTo>
                      <a:pt x="221" y="373"/>
                    </a:lnTo>
                    <a:lnTo>
                      <a:pt x="215" y="370"/>
                    </a:lnTo>
                    <a:lnTo>
                      <a:pt x="208" y="369"/>
                    </a:lnTo>
                    <a:lnTo>
                      <a:pt x="200" y="368"/>
                    </a:lnTo>
                    <a:lnTo>
                      <a:pt x="183" y="367"/>
                    </a:lnTo>
                    <a:lnTo>
                      <a:pt x="160" y="364"/>
                    </a:lnTo>
                    <a:lnTo>
                      <a:pt x="157" y="369"/>
                    </a:lnTo>
                    <a:lnTo>
                      <a:pt x="155" y="373"/>
                    </a:lnTo>
                    <a:lnTo>
                      <a:pt x="152" y="377"/>
                    </a:lnTo>
                    <a:lnTo>
                      <a:pt x="148" y="381"/>
                    </a:lnTo>
                    <a:lnTo>
                      <a:pt x="138" y="388"/>
                    </a:lnTo>
                    <a:lnTo>
                      <a:pt x="126" y="396"/>
                    </a:lnTo>
                    <a:lnTo>
                      <a:pt x="111" y="401"/>
                    </a:lnTo>
                    <a:lnTo>
                      <a:pt x="97" y="405"/>
                    </a:lnTo>
                    <a:lnTo>
                      <a:pt x="82" y="407"/>
                    </a:lnTo>
                    <a:lnTo>
                      <a:pt x="66" y="408"/>
                    </a:lnTo>
                    <a:lnTo>
                      <a:pt x="62" y="407"/>
                    </a:lnTo>
                    <a:lnTo>
                      <a:pt x="56" y="406"/>
                    </a:lnTo>
                    <a:lnTo>
                      <a:pt x="51" y="403"/>
                    </a:lnTo>
                    <a:lnTo>
                      <a:pt x="45" y="400"/>
                    </a:lnTo>
                    <a:lnTo>
                      <a:pt x="34" y="390"/>
                    </a:lnTo>
                    <a:lnTo>
                      <a:pt x="24" y="379"/>
                    </a:lnTo>
                    <a:lnTo>
                      <a:pt x="15" y="368"/>
                    </a:lnTo>
                    <a:lnTo>
                      <a:pt x="7" y="356"/>
                    </a:lnTo>
                    <a:lnTo>
                      <a:pt x="4" y="350"/>
                    </a:lnTo>
                    <a:lnTo>
                      <a:pt x="2" y="344"/>
                    </a:lnTo>
                    <a:lnTo>
                      <a:pt x="0" y="338"/>
                    </a:lnTo>
                    <a:lnTo>
                      <a:pt x="0" y="333"/>
                    </a:lnTo>
                    <a:lnTo>
                      <a:pt x="8" y="335"/>
                    </a:lnTo>
                    <a:lnTo>
                      <a:pt x="19" y="340"/>
                    </a:lnTo>
                    <a:lnTo>
                      <a:pt x="27" y="342"/>
                    </a:lnTo>
                    <a:lnTo>
                      <a:pt x="34" y="344"/>
                    </a:lnTo>
                    <a:lnTo>
                      <a:pt x="43" y="346"/>
                    </a:lnTo>
                    <a:lnTo>
                      <a:pt x="53" y="346"/>
                    </a:lnTo>
                    <a:lnTo>
                      <a:pt x="53" y="336"/>
                    </a:lnTo>
                    <a:lnTo>
                      <a:pt x="54" y="328"/>
                    </a:lnTo>
                    <a:lnTo>
                      <a:pt x="54" y="321"/>
                    </a:lnTo>
                    <a:lnTo>
                      <a:pt x="56" y="314"/>
                    </a:lnTo>
                    <a:lnTo>
                      <a:pt x="60" y="308"/>
                    </a:lnTo>
                    <a:lnTo>
                      <a:pt x="64" y="303"/>
                    </a:lnTo>
                    <a:lnTo>
                      <a:pt x="71" y="300"/>
                    </a:lnTo>
                    <a:lnTo>
                      <a:pt x="80" y="297"/>
                    </a:lnTo>
                    <a:lnTo>
                      <a:pt x="81" y="291"/>
                    </a:lnTo>
                    <a:lnTo>
                      <a:pt x="82" y="286"/>
                    </a:lnTo>
                    <a:lnTo>
                      <a:pt x="84" y="281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3" y="268"/>
                    </a:lnTo>
                    <a:lnTo>
                      <a:pt x="97" y="265"/>
                    </a:lnTo>
                    <a:lnTo>
                      <a:pt x="101" y="262"/>
                    </a:lnTo>
                    <a:lnTo>
                      <a:pt x="112" y="256"/>
                    </a:lnTo>
                    <a:lnTo>
                      <a:pt x="125" y="251"/>
                    </a:lnTo>
                    <a:lnTo>
                      <a:pt x="137" y="246"/>
                    </a:lnTo>
                    <a:lnTo>
                      <a:pt x="150" y="241"/>
                    </a:lnTo>
                    <a:lnTo>
                      <a:pt x="163" y="237"/>
                    </a:lnTo>
                    <a:lnTo>
                      <a:pt x="175" y="232"/>
                    </a:lnTo>
                    <a:lnTo>
                      <a:pt x="187" y="226"/>
                    </a:lnTo>
                    <a:lnTo>
                      <a:pt x="198" y="220"/>
                    </a:lnTo>
                    <a:lnTo>
                      <a:pt x="202" y="217"/>
                    </a:lnTo>
                    <a:lnTo>
                      <a:pt x="207" y="213"/>
                    </a:lnTo>
                    <a:lnTo>
                      <a:pt x="210" y="210"/>
                    </a:lnTo>
                    <a:lnTo>
                      <a:pt x="213" y="205"/>
                    </a:lnTo>
                    <a:lnTo>
                      <a:pt x="216" y="201"/>
                    </a:lnTo>
                    <a:lnTo>
                      <a:pt x="218" y="196"/>
                    </a:lnTo>
                    <a:lnTo>
                      <a:pt x="219" y="191"/>
                    </a:lnTo>
                    <a:lnTo>
                      <a:pt x="219" y="186"/>
                    </a:lnTo>
                    <a:lnTo>
                      <a:pt x="221" y="175"/>
                    </a:lnTo>
                    <a:lnTo>
                      <a:pt x="227" y="161"/>
                    </a:lnTo>
                    <a:lnTo>
                      <a:pt x="231" y="150"/>
                    </a:lnTo>
                    <a:lnTo>
                      <a:pt x="233" y="143"/>
                    </a:lnTo>
                    <a:lnTo>
                      <a:pt x="229" y="149"/>
                    </a:lnTo>
                    <a:lnTo>
                      <a:pt x="228" y="153"/>
                    </a:lnTo>
                    <a:lnTo>
                      <a:pt x="229" y="153"/>
                    </a:lnTo>
                    <a:lnTo>
                      <a:pt x="231" y="152"/>
                    </a:lnTo>
                    <a:lnTo>
                      <a:pt x="237" y="146"/>
                    </a:lnTo>
                    <a:lnTo>
                      <a:pt x="240" y="143"/>
                    </a:lnTo>
                    <a:lnTo>
                      <a:pt x="239" y="143"/>
                    </a:lnTo>
                    <a:lnTo>
                      <a:pt x="238" y="146"/>
                    </a:lnTo>
                    <a:lnTo>
                      <a:pt x="237" y="150"/>
                    </a:lnTo>
                    <a:lnTo>
                      <a:pt x="237" y="155"/>
                    </a:lnTo>
                    <a:lnTo>
                      <a:pt x="238" y="160"/>
                    </a:lnTo>
                    <a:lnTo>
                      <a:pt x="239" y="166"/>
                    </a:lnTo>
                    <a:lnTo>
                      <a:pt x="240" y="174"/>
                    </a:lnTo>
                    <a:lnTo>
                      <a:pt x="243" y="181"/>
                    </a:lnTo>
                    <a:lnTo>
                      <a:pt x="246" y="187"/>
                    </a:lnTo>
                    <a:lnTo>
                      <a:pt x="251" y="193"/>
                    </a:lnTo>
                    <a:lnTo>
                      <a:pt x="256" y="198"/>
                    </a:lnTo>
                    <a:lnTo>
                      <a:pt x="264" y="202"/>
                    </a:lnTo>
                    <a:lnTo>
                      <a:pt x="272" y="205"/>
                    </a:lnTo>
                    <a:lnTo>
                      <a:pt x="282" y="207"/>
                    </a:lnTo>
                    <a:lnTo>
                      <a:pt x="293" y="206"/>
                    </a:lnTo>
                    <a:lnTo>
                      <a:pt x="306" y="204"/>
                    </a:lnTo>
                    <a:lnTo>
                      <a:pt x="311" y="206"/>
                    </a:lnTo>
                    <a:lnTo>
                      <a:pt x="317" y="206"/>
                    </a:lnTo>
                    <a:lnTo>
                      <a:pt x="320" y="205"/>
                    </a:lnTo>
                    <a:lnTo>
                      <a:pt x="323" y="204"/>
                    </a:lnTo>
                    <a:lnTo>
                      <a:pt x="325" y="201"/>
                    </a:lnTo>
                    <a:lnTo>
                      <a:pt x="327" y="198"/>
                    </a:lnTo>
                    <a:lnTo>
                      <a:pt x="328" y="193"/>
                    </a:lnTo>
                    <a:lnTo>
                      <a:pt x="328" y="188"/>
                    </a:lnTo>
                    <a:lnTo>
                      <a:pt x="324" y="176"/>
                    </a:lnTo>
                    <a:lnTo>
                      <a:pt x="319" y="161"/>
                    </a:lnTo>
                    <a:lnTo>
                      <a:pt x="310" y="146"/>
                    </a:lnTo>
                    <a:lnTo>
                      <a:pt x="299" y="130"/>
                    </a:lnTo>
                    <a:lnTo>
                      <a:pt x="307" y="124"/>
                    </a:lnTo>
                    <a:lnTo>
                      <a:pt x="312" y="118"/>
                    </a:lnTo>
                    <a:lnTo>
                      <a:pt x="319" y="109"/>
                    </a:lnTo>
                    <a:lnTo>
                      <a:pt x="324" y="101"/>
                    </a:lnTo>
                    <a:lnTo>
                      <a:pt x="334" y="84"/>
                    </a:lnTo>
                    <a:lnTo>
                      <a:pt x="344" y="66"/>
                    </a:lnTo>
                    <a:lnTo>
                      <a:pt x="354" y="47"/>
                    </a:lnTo>
                    <a:lnTo>
                      <a:pt x="366" y="30"/>
                    </a:lnTo>
                    <a:lnTo>
                      <a:pt x="374" y="22"/>
                    </a:lnTo>
                    <a:lnTo>
                      <a:pt x="381" y="14"/>
                    </a:lnTo>
                    <a:lnTo>
                      <a:pt x="389" y="7"/>
                    </a:lnTo>
                    <a:lnTo>
                      <a:pt x="399" y="0"/>
                    </a:lnTo>
                    <a:lnTo>
                      <a:pt x="399" y="9"/>
                    </a:lnTo>
                    <a:lnTo>
                      <a:pt x="400" y="16"/>
                    </a:lnTo>
                    <a:lnTo>
                      <a:pt x="401" y="23"/>
                    </a:lnTo>
                    <a:lnTo>
                      <a:pt x="403" y="29"/>
                    </a:lnTo>
                    <a:lnTo>
                      <a:pt x="408" y="41"/>
                    </a:lnTo>
                    <a:lnTo>
                      <a:pt x="413" y="50"/>
                    </a:lnTo>
                    <a:lnTo>
                      <a:pt x="421" y="59"/>
                    </a:lnTo>
                    <a:lnTo>
                      <a:pt x="430" y="68"/>
                    </a:lnTo>
                    <a:lnTo>
                      <a:pt x="439" y="75"/>
                    </a:lnTo>
                    <a:lnTo>
                      <a:pt x="447" y="81"/>
                    </a:lnTo>
                    <a:lnTo>
                      <a:pt x="467" y="93"/>
                    </a:lnTo>
                    <a:lnTo>
                      <a:pt x="486" y="106"/>
                    </a:lnTo>
                    <a:lnTo>
                      <a:pt x="493" y="113"/>
                    </a:lnTo>
                    <a:lnTo>
                      <a:pt x="501" y="123"/>
                    </a:lnTo>
                    <a:lnTo>
                      <a:pt x="508" y="132"/>
                    </a:lnTo>
                    <a:lnTo>
                      <a:pt x="512" y="143"/>
                    </a:lnTo>
                    <a:lnTo>
                      <a:pt x="504" y="146"/>
                    </a:lnTo>
                    <a:lnTo>
                      <a:pt x="499" y="149"/>
                    </a:lnTo>
                    <a:lnTo>
                      <a:pt x="493" y="150"/>
                    </a:lnTo>
                    <a:lnTo>
                      <a:pt x="489" y="151"/>
                    </a:lnTo>
                    <a:lnTo>
                      <a:pt x="478" y="152"/>
                    </a:lnTo>
                    <a:lnTo>
                      <a:pt x="465" y="155"/>
                    </a:lnTo>
                    <a:lnTo>
                      <a:pt x="463" y="166"/>
                    </a:lnTo>
                    <a:lnTo>
                      <a:pt x="458" y="180"/>
                    </a:lnTo>
                    <a:lnTo>
                      <a:pt x="454" y="193"/>
                    </a:lnTo>
                    <a:lnTo>
                      <a:pt x="452" y="20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616" name="Freeform 21"/>
              <p:cNvSpPr>
                <a:spLocks/>
              </p:cNvSpPr>
              <p:nvPr/>
            </p:nvSpPr>
            <p:spPr bwMode="auto">
              <a:xfrm>
                <a:off x="4488" y="2420"/>
                <a:ext cx="77" cy="89"/>
              </a:xfrm>
              <a:custGeom>
                <a:avLst/>
                <a:gdLst>
                  <a:gd name="T0" fmla="*/ 151 w 232"/>
                  <a:gd name="T1" fmla="*/ 24 h 289"/>
                  <a:gd name="T2" fmla="*/ 165 w 232"/>
                  <a:gd name="T3" fmla="*/ 48 h 289"/>
                  <a:gd name="T4" fmla="*/ 174 w 232"/>
                  <a:gd name="T5" fmla="*/ 56 h 289"/>
                  <a:gd name="T6" fmla="*/ 181 w 232"/>
                  <a:gd name="T7" fmla="*/ 60 h 289"/>
                  <a:gd name="T8" fmla="*/ 186 w 232"/>
                  <a:gd name="T9" fmla="*/ 166 h 289"/>
                  <a:gd name="T10" fmla="*/ 189 w 232"/>
                  <a:gd name="T11" fmla="*/ 196 h 289"/>
                  <a:gd name="T12" fmla="*/ 193 w 232"/>
                  <a:gd name="T13" fmla="*/ 207 h 289"/>
                  <a:gd name="T14" fmla="*/ 199 w 232"/>
                  <a:gd name="T15" fmla="*/ 216 h 289"/>
                  <a:gd name="T16" fmla="*/ 232 w 232"/>
                  <a:gd name="T17" fmla="*/ 246 h 289"/>
                  <a:gd name="T18" fmla="*/ 219 w 232"/>
                  <a:gd name="T19" fmla="*/ 288 h 289"/>
                  <a:gd name="T20" fmla="*/ 186 w 232"/>
                  <a:gd name="T21" fmla="*/ 282 h 289"/>
                  <a:gd name="T22" fmla="*/ 151 w 232"/>
                  <a:gd name="T23" fmla="*/ 264 h 289"/>
                  <a:gd name="T24" fmla="*/ 113 w 232"/>
                  <a:gd name="T25" fmla="*/ 235 h 289"/>
                  <a:gd name="T26" fmla="*/ 81 w 232"/>
                  <a:gd name="T27" fmla="*/ 207 h 289"/>
                  <a:gd name="T28" fmla="*/ 56 w 232"/>
                  <a:gd name="T29" fmla="*/ 176 h 289"/>
                  <a:gd name="T30" fmla="*/ 31 w 232"/>
                  <a:gd name="T31" fmla="*/ 145 h 289"/>
                  <a:gd name="T32" fmla="*/ 9 w 232"/>
                  <a:gd name="T33" fmla="*/ 126 h 289"/>
                  <a:gd name="T34" fmla="*/ 2 w 232"/>
                  <a:gd name="T35" fmla="*/ 117 h 289"/>
                  <a:gd name="T36" fmla="*/ 0 w 232"/>
                  <a:gd name="T37" fmla="*/ 109 h 289"/>
                  <a:gd name="T38" fmla="*/ 0 w 232"/>
                  <a:gd name="T39" fmla="*/ 100 h 289"/>
                  <a:gd name="T40" fmla="*/ 3 w 232"/>
                  <a:gd name="T41" fmla="*/ 92 h 289"/>
                  <a:gd name="T42" fmla="*/ 11 w 232"/>
                  <a:gd name="T43" fmla="*/ 79 h 289"/>
                  <a:gd name="T44" fmla="*/ 12 w 232"/>
                  <a:gd name="T45" fmla="*/ 52 h 289"/>
                  <a:gd name="T46" fmla="*/ 7 w 232"/>
                  <a:gd name="T47" fmla="*/ 15 h 289"/>
                  <a:gd name="T48" fmla="*/ 13 w 232"/>
                  <a:gd name="T49" fmla="*/ 0 h 289"/>
                  <a:gd name="T50" fmla="*/ 26 w 232"/>
                  <a:gd name="T51" fmla="*/ 3 h 289"/>
                  <a:gd name="T52" fmla="*/ 42 w 232"/>
                  <a:gd name="T53" fmla="*/ 10 h 289"/>
                  <a:gd name="T54" fmla="*/ 59 w 232"/>
                  <a:gd name="T55" fmla="*/ 21 h 289"/>
                  <a:gd name="T56" fmla="*/ 73 w 232"/>
                  <a:gd name="T57" fmla="*/ 28 h 289"/>
                  <a:gd name="T58" fmla="*/ 81 w 232"/>
                  <a:gd name="T59" fmla="*/ 31 h 289"/>
                  <a:gd name="T60" fmla="*/ 91 w 232"/>
                  <a:gd name="T61" fmla="*/ 31 h 289"/>
                  <a:gd name="T62" fmla="*/ 105 w 232"/>
                  <a:gd name="T63" fmla="*/ 26 h 289"/>
                  <a:gd name="T64" fmla="*/ 120 w 232"/>
                  <a:gd name="T65" fmla="*/ 19 h 289"/>
                  <a:gd name="T66" fmla="*/ 133 w 232"/>
                  <a:gd name="T67" fmla="*/ 11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2" h="289">
                    <a:moveTo>
                      <a:pt x="140" y="6"/>
                    </a:moveTo>
                    <a:lnTo>
                      <a:pt x="151" y="24"/>
                    </a:lnTo>
                    <a:lnTo>
                      <a:pt x="159" y="41"/>
                    </a:lnTo>
                    <a:lnTo>
                      <a:pt x="165" y="48"/>
                    </a:lnTo>
                    <a:lnTo>
                      <a:pt x="170" y="54"/>
                    </a:lnTo>
                    <a:lnTo>
                      <a:pt x="174" y="56"/>
                    </a:lnTo>
                    <a:lnTo>
                      <a:pt x="177" y="59"/>
                    </a:lnTo>
                    <a:lnTo>
                      <a:pt x="181" y="60"/>
                    </a:lnTo>
                    <a:lnTo>
                      <a:pt x="186" y="62"/>
                    </a:lnTo>
                    <a:lnTo>
                      <a:pt x="186" y="166"/>
                    </a:lnTo>
                    <a:lnTo>
                      <a:pt x="187" y="183"/>
                    </a:lnTo>
                    <a:lnTo>
                      <a:pt x="189" y="196"/>
                    </a:lnTo>
                    <a:lnTo>
                      <a:pt x="191" y="202"/>
                    </a:lnTo>
                    <a:lnTo>
                      <a:pt x="193" y="207"/>
                    </a:lnTo>
                    <a:lnTo>
                      <a:pt x="196" y="212"/>
                    </a:lnTo>
                    <a:lnTo>
                      <a:pt x="199" y="216"/>
                    </a:lnTo>
                    <a:lnTo>
                      <a:pt x="213" y="230"/>
                    </a:lnTo>
                    <a:lnTo>
                      <a:pt x="232" y="246"/>
                    </a:lnTo>
                    <a:lnTo>
                      <a:pt x="232" y="289"/>
                    </a:lnTo>
                    <a:lnTo>
                      <a:pt x="219" y="288"/>
                    </a:lnTo>
                    <a:lnTo>
                      <a:pt x="202" y="286"/>
                    </a:lnTo>
                    <a:lnTo>
                      <a:pt x="186" y="282"/>
                    </a:lnTo>
                    <a:lnTo>
                      <a:pt x="172" y="277"/>
                    </a:lnTo>
                    <a:lnTo>
                      <a:pt x="151" y="264"/>
                    </a:lnTo>
                    <a:lnTo>
                      <a:pt x="131" y="249"/>
                    </a:lnTo>
                    <a:lnTo>
                      <a:pt x="113" y="235"/>
                    </a:lnTo>
                    <a:lnTo>
                      <a:pt x="97" y="221"/>
                    </a:lnTo>
                    <a:lnTo>
                      <a:pt x="81" y="207"/>
                    </a:lnTo>
                    <a:lnTo>
                      <a:pt x="68" y="191"/>
                    </a:lnTo>
                    <a:lnTo>
                      <a:pt x="56" y="176"/>
                    </a:lnTo>
                    <a:lnTo>
                      <a:pt x="46" y="160"/>
                    </a:lnTo>
                    <a:lnTo>
                      <a:pt x="31" y="145"/>
                    </a:lnTo>
                    <a:lnTo>
                      <a:pt x="15" y="132"/>
                    </a:lnTo>
                    <a:lnTo>
                      <a:pt x="9" y="126"/>
                    </a:lnTo>
                    <a:lnTo>
                      <a:pt x="4" y="120"/>
                    </a:lnTo>
                    <a:lnTo>
                      <a:pt x="2" y="117"/>
                    </a:lnTo>
                    <a:lnTo>
                      <a:pt x="1" y="113"/>
                    </a:lnTo>
                    <a:lnTo>
                      <a:pt x="0" y="109"/>
                    </a:lnTo>
                    <a:lnTo>
                      <a:pt x="0" y="105"/>
                    </a:lnTo>
                    <a:lnTo>
                      <a:pt x="0" y="100"/>
                    </a:lnTo>
                    <a:lnTo>
                      <a:pt x="1" y="96"/>
                    </a:lnTo>
                    <a:lnTo>
                      <a:pt x="3" y="92"/>
                    </a:lnTo>
                    <a:lnTo>
                      <a:pt x="7" y="88"/>
                    </a:lnTo>
                    <a:lnTo>
                      <a:pt x="11" y="79"/>
                    </a:lnTo>
                    <a:lnTo>
                      <a:pt x="13" y="74"/>
                    </a:lnTo>
                    <a:lnTo>
                      <a:pt x="12" y="52"/>
                    </a:lnTo>
                    <a:lnTo>
                      <a:pt x="10" y="33"/>
                    </a:lnTo>
                    <a:lnTo>
                      <a:pt x="7" y="15"/>
                    </a:lnTo>
                    <a:lnTo>
                      <a:pt x="7" y="0"/>
                    </a:lnTo>
                    <a:lnTo>
                      <a:pt x="13" y="0"/>
                    </a:lnTo>
                    <a:lnTo>
                      <a:pt x="20" y="1"/>
                    </a:lnTo>
                    <a:lnTo>
                      <a:pt x="26" y="3"/>
                    </a:lnTo>
                    <a:lnTo>
                      <a:pt x="32" y="5"/>
                    </a:lnTo>
                    <a:lnTo>
                      <a:pt x="42" y="10"/>
                    </a:lnTo>
                    <a:lnTo>
                      <a:pt x="51" y="15"/>
                    </a:lnTo>
                    <a:lnTo>
                      <a:pt x="59" y="21"/>
                    </a:lnTo>
                    <a:lnTo>
                      <a:pt x="68" y="26"/>
                    </a:lnTo>
                    <a:lnTo>
                      <a:pt x="73" y="28"/>
                    </a:lnTo>
                    <a:lnTo>
                      <a:pt x="77" y="29"/>
                    </a:lnTo>
                    <a:lnTo>
                      <a:pt x="81" y="31"/>
                    </a:lnTo>
                    <a:lnTo>
                      <a:pt x="86" y="31"/>
                    </a:lnTo>
                    <a:lnTo>
                      <a:pt x="91" y="31"/>
                    </a:lnTo>
                    <a:lnTo>
                      <a:pt x="98" y="28"/>
                    </a:lnTo>
                    <a:lnTo>
                      <a:pt x="105" y="26"/>
                    </a:lnTo>
                    <a:lnTo>
                      <a:pt x="112" y="23"/>
                    </a:lnTo>
                    <a:lnTo>
                      <a:pt x="120" y="19"/>
                    </a:lnTo>
                    <a:lnTo>
                      <a:pt x="127" y="15"/>
                    </a:lnTo>
                    <a:lnTo>
                      <a:pt x="133" y="11"/>
                    </a:lnTo>
                    <a:lnTo>
                      <a:pt x="14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</p:grpSp>
        <p:sp>
          <p:nvSpPr>
            <p:cNvPr id="25652" name="Freeform 22"/>
            <p:cNvSpPr>
              <a:spLocks/>
            </p:cNvSpPr>
            <p:nvPr>
              <p:custDataLst>
                <p:tags r:id="rId37"/>
              </p:custDataLst>
            </p:nvPr>
          </p:nvSpPr>
          <p:spPr bwMode="auto">
            <a:xfrm>
              <a:off x="6649082" y="1957827"/>
              <a:ext cx="3065462" cy="1074737"/>
            </a:xfrm>
            <a:custGeom>
              <a:avLst/>
              <a:gdLst>
                <a:gd name="T0" fmla="*/ 2147483647 w 7049"/>
                <a:gd name="T1" fmla="*/ 2147483647 h 2048"/>
                <a:gd name="T2" fmla="*/ 2147483647 w 7049"/>
                <a:gd name="T3" fmla="*/ 2147483647 h 2048"/>
                <a:gd name="T4" fmla="*/ 2147483647 w 7049"/>
                <a:gd name="T5" fmla="*/ 2147483647 h 2048"/>
                <a:gd name="T6" fmla="*/ 2147483647 w 7049"/>
                <a:gd name="T7" fmla="*/ 2147483647 h 2048"/>
                <a:gd name="T8" fmla="*/ 2147483647 w 7049"/>
                <a:gd name="T9" fmla="*/ 2147483647 h 2048"/>
                <a:gd name="T10" fmla="*/ 2147483647 w 7049"/>
                <a:gd name="T11" fmla="*/ 2147483647 h 2048"/>
                <a:gd name="T12" fmla="*/ 2147483647 w 7049"/>
                <a:gd name="T13" fmla="*/ 2147483647 h 2048"/>
                <a:gd name="T14" fmla="*/ 2147483647 w 7049"/>
                <a:gd name="T15" fmla="*/ 2147483647 h 2048"/>
                <a:gd name="T16" fmla="*/ 2147483647 w 7049"/>
                <a:gd name="T17" fmla="*/ 2147483647 h 2048"/>
                <a:gd name="T18" fmla="*/ 2147483647 w 7049"/>
                <a:gd name="T19" fmla="*/ 2147483647 h 2048"/>
                <a:gd name="T20" fmla="*/ 2147483647 w 7049"/>
                <a:gd name="T21" fmla="*/ 2147483647 h 2048"/>
                <a:gd name="T22" fmla="*/ 2147483647 w 7049"/>
                <a:gd name="T23" fmla="*/ 2147483647 h 2048"/>
                <a:gd name="T24" fmla="*/ 2147483647 w 7049"/>
                <a:gd name="T25" fmla="*/ 2147483647 h 2048"/>
                <a:gd name="T26" fmla="*/ 2147483647 w 7049"/>
                <a:gd name="T27" fmla="*/ 2147483647 h 2048"/>
                <a:gd name="T28" fmla="*/ 2147483647 w 7049"/>
                <a:gd name="T29" fmla="*/ 2147483647 h 2048"/>
                <a:gd name="T30" fmla="*/ 2147483647 w 7049"/>
                <a:gd name="T31" fmla="*/ 2147483647 h 2048"/>
                <a:gd name="T32" fmla="*/ 2147483647 w 7049"/>
                <a:gd name="T33" fmla="*/ 2147483647 h 2048"/>
                <a:gd name="T34" fmla="*/ 2147483647 w 7049"/>
                <a:gd name="T35" fmla="*/ 2147483647 h 2048"/>
                <a:gd name="T36" fmla="*/ 2147483647 w 7049"/>
                <a:gd name="T37" fmla="*/ 2147483647 h 2048"/>
                <a:gd name="T38" fmla="*/ 2147483647 w 7049"/>
                <a:gd name="T39" fmla="*/ 2147483647 h 2048"/>
                <a:gd name="T40" fmla="*/ 2147483647 w 7049"/>
                <a:gd name="T41" fmla="*/ 2147483647 h 2048"/>
                <a:gd name="T42" fmla="*/ 2147483647 w 7049"/>
                <a:gd name="T43" fmla="*/ 2147483647 h 2048"/>
                <a:gd name="T44" fmla="*/ 2147483647 w 7049"/>
                <a:gd name="T45" fmla="*/ 2147483647 h 2048"/>
                <a:gd name="T46" fmla="*/ 2147483647 w 7049"/>
                <a:gd name="T47" fmla="*/ 2147483647 h 2048"/>
                <a:gd name="T48" fmla="*/ 2147483647 w 7049"/>
                <a:gd name="T49" fmla="*/ 2147483647 h 2048"/>
                <a:gd name="T50" fmla="*/ 2147483647 w 7049"/>
                <a:gd name="T51" fmla="*/ 2147483647 h 2048"/>
                <a:gd name="T52" fmla="*/ 2147483647 w 7049"/>
                <a:gd name="T53" fmla="*/ 2147483647 h 2048"/>
                <a:gd name="T54" fmla="*/ 2147483647 w 7049"/>
                <a:gd name="T55" fmla="*/ 2147483647 h 2048"/>
                <a:gd name="T56" fmla="*/ 2147483647 w 7049"/>
                <a:gd name="T57" fmla="*/ 2147483647 h 2048"/>
                <a:gd name="T58" fmla="*/ 2147483647 w 7049"/>
                <a:gd name="T59" fmla="*/ 2147483647 h 2048"/>
                <a:gd name="T60" fmla="*/ 2147483647 w 7049"/>
                <a:gd name="T61" fmla="*/ 2147483647 h 2048"/>
                <a:gd name="T62" fmla="*/ 2147483647 w 7049"/>
                <a:gd name="T63" fmla="*/ 2147483647 h 2048"/>
                <a:gd name="T64" fmla="*/ 2147483647 w 7049"/>
                <a:gd name="T65" fmla="*/ 2147483647 h 2048"/>
                <a:gd name="T66" fmla="*/ 2147483647 w 7049"/>
                <a:gd name="T67" fmla="*/ 2147483647 h 2048"/>
                <a:gd name="T68" fmla="*/ 2147483647 w 7049"/>
                <a:gd name="T69" fmla="*/ 2147483647 h 2048"/>
                <a:gd name="T70" fmla="*/ 2147483647 w 7049"/>
                <a:gd name="T71" fmla="*/ 2147483647 h 2048"/>
                <a:gd name="T72" fmla="*/ 2147483647 w 7049"/>
                <a:gd name="T73" fmla="*/ 2147483647 h 2048"/>
                <a:gd name="T74" fmla="*/ 2147483647 w 7049"/>
                <a:gd name="T75" fmla="*/ 2147483647 h 2048"/>
                <a:gd name="T76" fmla="*/ 2147483647 w 7049"/>
                <a:gd name="T77" fmla="*/ 2147483647 h 2048"/>
                <a:gd name="T78" fmla="*/ 2147483647 w 7049"/>
                <a:gd name="T79" fmla="*/ 2147483647 h 2048"/>
                <a:gd name="T80" fmla="*/ 2147483647 w 7049"/>
                <a:gd name="T81" fmla="*/ 2147483647 h 2048"/>
                <a:gd name="T82" fmla="*/ 2147483647 w 7049"/>
                <a:gd name="T83" fmla="*/ 2147483647 h 2048"/>
                <a:gd name="T84" fmla="*/ 2147483647 w 7049"/>
                <a:gd name="T85" fmla="*/ 2147483647 h 2048"/>
                <a:gd name="T86" fmla="*/ 2147483647 w 7049"/>
                <a:gd name="T87" fmla="*/ 2147483647 h 2048"/>
                <a:gd name="T88" fmla="*/ 2147483647 w 7049"/>
                <a:gd name="T89" fmla="*/ 2147483647 h 2048"/>
                <a:gd name="T90" fmla="*/ 2147483647 w 7049"/>
                <a:gd name="T91" fmla="*/ 2147483647 h 2048"/>
                <a:gd name="T92" fmla="*/ 2147483647 w 7049"/>
                <a:gd name="T93" fmla="*/ 2147483647 h 2048"/>
                <a:gd name="T94" fmla="*/ 2147483647 w 7049"/>
                <a:gd name="T95" fmla="*/ 2147483647 h 2048"/>
                <a:gd name="T96" fmla="*/ 2147483647 w 7049"/>
                <a:gd name="T97" fmla="*/ 2147483647 h 2048"/>
                <a:gd name="T98" fmla="*/ 2147483647 w 7049"/>
                <a:gd name="T99" fmla="*/ 2147483647 h 2048"/>
                <a:gd name="T100" fmla="*/ 2147483647 w 7049"/>
                <a:gd name="T101" fmla="*/ 2147483647 h 2048"/>
                <a:gd name="T102" fmla="*/ 2147483647 w 7049"/>
                <a:gd name="T103" fmla="*/ 2147483647 h 2048"/>
                <a:gd name="T104" fmla="*/ 2147483647 w 7049"/>
                <a:gd name="T105" fmla="*/ 2147483647 h 2048"/>
                <a:gd name="T106" fmla="*/ 2147483647 w 7049"/>
                <a:gd name="T107" fmla="*/ 2147483647 h 2048"/>
                <a:gd name="T108" fmla="*/ 2147483647 w 7049"/>
                <a:gd name="T109" fmla="*/ 2147483647 h 2048"/>
                <a:gd name="T110" fmla="*/ 2147483647 w 7049"/>
                <a:gd name="T111" fmla="*/ 2147483647 h 2048"/>
                <a:gd name="T112" fmla="*/ 2147483647 w 7049"/>
                <a:gd name="T113" fmla="*/ 2147483647 h 2048"/>
                <a:gd name="T114" fmla="*/ 2147483647 w 7049"/>
                <a:gd name="T115" fmla="*/ 2147483647 h 2048"/>
                <a:gd name="T116" fmla="*/ 2147483647 w 7049"/>
                <a:gd name="T117" fmla="*/ 2147483647 h 2048"/>
                <a:gd name="T118" fmla="*/ 2147483647 w 7049"/>
                <a:gd name="T119" fmla="*/ 2147483647 h 2048"/>
                <a:gd name="T120" fmla="*/ 2147483647 w 7049"/>
                <a:gd name="T121" fmla="*/ 2147483647 h 2048"/>
                <a:gd name="T122" fmla="*/ 2147483647 w 7049"/>
                <a:gd name="T123" fmla="*/ 2147483647 h 204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7049" h="2048">
                  <a:moveTo>
                    <a:pt x="365" y="1401"/>
                  </a:moveTo>
                  <a:lnTo>
                    <a:pt x="373" y="1401"/>
                  </a:lnTo>
                  <a:lnTo>
                    <a:pt x="405" y="1401"/>
                  </a:lnTo>
                  <a:lnTo>
                    <a:pt x="425" y="1388"/>
                  </a:lnTo>
                  <a:lnTo>
                    <a:pt x="471" y="1388"/>
                  </a:lnTo>
                  <a:lnTo>
                    <a:pt x="491" y="1401"/>
                  </a:lnTo>
                  <a:lnTo>
                    <a:pt x="519" y="1426"/>
                  </a:lnTo>
                  <a:lnTo>
                    <a:pt x="505" y="1451"/>
                  </a:lnTo>
                  <a:lnTo>
                    <a:pt x="558" y="1451"/>
                  </a:lnTo>
                  <a:lnTo>
                    <a:pt x="578" y="1499"/>
                  </a:lnTo>
                  <a:lnTo>
                    <a:pt x="604" y="1493"/>
                  </a:lnTo>
                  <a:lnTo>
                    <a:pt x="632" y="1512"/>
                  </a:lnTo>
                  <a:lnTo>
                    <a:pt x="665" y="1499"/>
                  </a:lnTo>
                  <a:lnTo>
                    <a:pt x="698" y="1524"/>
                  </a:lnTo>
                  <a:lnTo>
                    <a:pt x="737" y="1524"/>
                  </a:lnTo>
                  <a:lnTo>
                    <a:pt x="778" y="1543"/>
                  </a:lnTo>
                  <a:lnTo>
                    <a:pt x="817" y="1555"/>
                  </a:lnTo>
                  <a:lnTo>
                    <a:pt x="811" y="1586"/>
                  </a:lnTo>
                  <a:lnTo>
                    <a:pt x="804" y="1623"/>
                  </a:lnTo>
                  <a:lnTo>
                    <a:pt x="817" y="1647"/>
                  </a:lnTo>
                  <a:lnTo>
                    <a:pt x="784" y="1647"/>
                  </a:lnTo>
                  <a:lnTo>
                    <a:pt x="744" y="1660"/>
                  </a:lnTo>
                  <a:lnTo>
                    <a:pt x="737" y="1691"/>
                  </a:lnTo>
                  <a:lnTo>
                    <a:pt x="743" y="1690"/>
                  </a:lnTo>
                  <a:lnTo>
                    <a:pt x="757" y="1685"/>
                  </a:lnTo>
                  <a:lnTo>
                    <a:pt x="752" y="1691"/>
                  </a:lnTo>
                  <a:lnTo>
                    <a:pt x="747" y="1696"/>
                  </a:lnTo>
                  <a:lnTo>
                    <a:pt x="743" y="1701"/>
                  </a:lnTo>
                  <a:lnTo>
                    <a:pt x="737" y="1705"/>
                  </a:lnTo>
                  <a:lnTo>
                    <a:pt x="725" y="1713"/>
                  </a:lnTo>
                  <a:lnTo>
                    <a:pt x="711" y="1721"/>
                  </a:lnTo>
                  <a:lnTo>
                    <a:pt x="712" y="1724"/>
                  </a:lnTo>
                  <a:lnTo>
                    <a:pt x="715" y="1728"/>
                  </a:lnTo>
                  <a:lnTo>
                    <a:pt x="719" y="1731"/>
                  </a:lnTo>
                  <a:lnTo>
                    <a:pt x="725" y="1733"/>
                  </a:lnTo>
                  <a:lnTo>
                    <a:pt x="736" y="1738"/>
                  </a:lnTo>
                  <a:lnTo>
                    <a:pt x="744" y="1740"/>
                  </a:lnTo>
                  <a:lnTo>
                    <a:pt x="741" y="1749"/>
                  </a:lnTo>
                  <a:lnTo>
                    <a:pt x="738" y="1756"/>
                  </a:lnTo>
                  <a:lnTo>
                    <a:pt x="734" y="1763"/>
                  </a:lnTo>
                  <a:lnTo>
                    <a:pt x="728" y="1769"/>
                  </a:lnTo>
                  <a:lnTo>
                    <a:pt x="722" y="1774"/>
                  </a:lnTo>
                  <a:lnTo>
                    <a:pt x="715" y="1779"/>
                  </a:lnTo>
                  <a:lnTo>
                    <a:pt x="707" y="1785"/>
                  </a:lnTo>
                  <a:lnTo>
                    <a:pt x="698" y="1790"/>
                  </a:lnTo>
                  <a:lnTo>
                    <a:pt x="696" y="1796"/>
                  </a:lnTo>
                  <a:lnTo>
                    <a:pt x="698" y="1801"/>
                  </a:lnTo>
                  <a:lnTo>
                    <a:pt x="700" y="1806"/>
                  </a:lnTo>
                  <a:lnTo>
                    <a:pt x="702" y="1809"/>
                  </a:lnTo>
                  <a:lnTo>
                    <a:pt x="706" y="1812"/>
                  </a:lnTo>
                  <a:lnTo>
                    <a:pt x="711" y="1815"/>
                  </a:lnTo>
                  <a:lnTo>
                    <a:pt x="716" y="1817"/>
                  </a:lnTo>
                  <a:lnTo>
                    <a:pt x="722" y="1819"/>
                  </a:lnTo>
                  <a:lnTo>
                    <a:pt x="734" y="1823"/>
                  </a:lnTo>
                  <a:lnTo>
                    <a:pt x="747" y="1828"/>
                  </a:lnTo>
                  <a:lnTo>
                    <a:pt x="754" y="1831"/>
                  </a:lnTo>
                  <a:lnTo>
                    <a:pt x="759" y="1835"/>
                  </a:lnTo>
                  <a:lnTo>
                    <a:pt x="766" y="1840"/>
                  </a:lnTo>
                  <a:lnTo>
                    <a:pt x="771" y="1845"/>
                  </a:lnTo>
                  <a:lnTo>
                    <a:pt x="781" y="1854"/>
                  </a:lnTo>
                  <a:lnTo>
                    <a:pt x="794" y="1861"/>
                  </a:lnTo>
                  <a:lnTo>
                    <a:pt x="807" y="1868"/>
                  </a:lnTo>
                  <a:lnTo>
                    <a:pt x="823" y="1875"/>
                  </a:lnTo>
                  <a:lnTo>
                    <a:pt x="856" y="1887"/>
                  </a:lnTo>
                  <a:lnTo>
                    <a:pt x="890" y="1901"/>
                  </a:lnTo>
                  <a:lnTo>
                    <a:pt x="897" y="1901"/>
                  </a:lnTo>
                  <a:lnTo>
                    <a:pt x="950" y="1919"/>
                  </a:lnTo>
                  <a:lnTo>
                    <a:pt x="996" y="1931"/>
                  </a:lnTo>
                  <a:lnTo>
                    <a:pt x="1024" y="1919"/>
                  </a:lnTo>
                  <a:lnTo>
                    <a:pt x="1070" y="1937"/>
                  </a:lnTo>
                  <a:lnTo>
                    <a:pt x="1096" y="1956"/>
                  </a:lnTo>
                  <a:lnTo>
                    <a:pt x="1136" y="1950"/>
                  </a:lnTo>
                  <a:lnTo>
                    <a:pt x="1176" y="1962"/>
                  </a:lnTo>
                  <a:lnTo>
                    <a:pt x="1203" y="1980"/>
                  </a:lnTo>
                  <a:lnTo>
                    <a:pt x="1249" y="2005"/>
                  </a:lnTo>
                  <a:lnTo>
                    <a:pt x="1282" y="2030"/>
                  </a:lnTo>
                  <a:lnTo>
                    <a:pt x="1316" y="2048"/>
                  </a:lnTo>
                  <a:lnTo>
                    <a:pt x="1342" y="2011"/>
                  </a:lnTo>
                  <a:lnTo>
                    <a:pt x="1355" y="2011"/>
                  </a:lnTo>
                  <a:lnTo>
                    <a:pt x="1350" y="2009"/>
                  </a:lnTo>
                  <a:lnTo>
                    <a:pt x="1345" y="2006"/>
                  </a:lnTo>
                  <a:lnTo>
                    <a:pt x="1341" y="2001"/>
                  </a:lnTo>
                  <a:lnTo>
                    <a:pt x="1337" y="1998"/>
                  </a:lnTo>
                  <a:lnTo>
                    <a:pt x="1333" y="1994"/>
                  </a:lnTo>
                  <a:lnTo>
                    <a:pt x="1331" y="1989"/>
                  </a:lnTo>
                  <a:lnTo>
                    <a:pt x="1329" y="1985"/>
                  </a:lnTo>
                  <a:lnTo>
                    <a:pt x="1329" y="1980"/>
                  </a:lnTo>
                  <a:lnTo>
                    <a:pt x="1318" y="1972"/>
                  </a:lnTo>
                  <a:lnTo>
                    <a:pt x="1296" y="1952"/>
                  </a:lnTo>
                  <a:lnTo>
                    <a:pt x="1283" y="1941"/>
                  </a:lnTo>
                  <a:lnTo>
                    <a:pt x="1273" y="1931"/>
                  </a:lnTo>
                  <a:lnTo>
                    <a:pt x="1265" y="1923"/>
                  </a:lnTo>
                  <a:lnTo>
                    <a:pt x="1262" y="1919"/>
                  </a:lnTo>
                  <a:lnTo>
                    <a:pt x="1255" y="1887"/>
                  </a:lnTo>
                  <a:lnTo>
                    <a:pt x="1255" y="1869"/>
                  </a:lnTo>
                  <a:lnTo>
                    <a:pt x="1245" y="1869"/>
                  </a:lnTo>
                  <a:lnTo>
                    <a:pt x="1237" y="1866"/>
                  </a:lnTo>
                  <a:lnTo>
                    <a:pt x="1229" y="1862"/>
                  </a:lnTo>
                  <a:lnTo>
                    <a:pt x="1222" y="1857"/>
                  </a:lnTo>
                  <a:lnTo>
                    <a:pt x="1217" y="1851"/>
                  </a:lnTo>
                  <a:lnTo>
                    <a:pt x="1212" y="1844"/>
                  </a:lnTo>
                  <a:lnTo>
                    <a:pt x="1210" y="1835"/>
                  </a:lnTo>
                  <a:lnTo>
                    <a:pt x="1209" y="1826"/>
                  </a:lnTo>
                  <a:lnTo>
                    <a:pt x="1210" y="1821"/>
                  </a:lnTo>
                  <a:lnTo>
                    <a:pt x="1212" y="1814"/>
                  </a:lnTo>
                  <a:lnTo>
                    <a:pt x="1216" y="1807"/>
                  </a:lnTo>
                  <a:lnTo>
                    <a:pt x="1220" y="1799"/>
                  </a:lnTo>
                  <a:lnTo>
                    <a:pt x="1229" y="1786"/>
                  </a:lnTo>
                  <a:lnTo>
                    <a:pt x="1236" y="1777"/>
                  </a:lnTo>
                  <a:lnTo>
                    <a:pt x="1254" y="1767"/>
                  </a:lnTo>
                  <a:lnTo>
                    <a:pt x="1272" y="1758"/>
                  </a:lnTo>
                  <a:lnTo>
                    <a:pt x="1287" y="1749"/>
                  </a:lnTo>
                  <a:lnTo>
                    <a:pt x="1303" y="1740"/>
                  </a:lnTo>
                  <a:lnTo>
                    <a:pt x="1309" y="1728"/>
                  </a:lnTo>
                  <a:lnTo>
                    <a:pt x="1282" y="1721"/>
                  </a:lnTo>
                  <a:lnTo>
                    <a:pt x="1309" y="1703"/>
                  </a:lnTo>
                  <a:lnTo>
                    <a:pt x="1282" y="1679"/>
                  </a:lnTo>
                  <a:lnTo>
                    <a:pt x="1255" y="1654"/>
                  </a:lnTo>
                  <a:lnTo>
                    <a:pt x="1216" y="1654"/>
                  </a:lnTo>
                  <a:lnTo>
                    <a:pt x="1203" y="1629"/>
                  </a:lnTo>
                  <a:lnTo>
                    <a:pt x="1183" y="1617"/>
                  </a:lnTo>
                  <a:lnTo>
                    <a:pt x="1176" y="1586"/>
                  </a:lnTo>
                  <a:lnTo>
                    <a:pt x="1176" y="1549"/>
                  </a:lnTo>
                  <a:lnTo>
                    <a:pt x="1189" y="1524"/>
                  </a:lnTo>
                  <a:lnTo>
                    <a:pt x="1196" y="1499"/>
                  </a:lnTo>
                  <a:lnTo>
                    <a:pt x="1229" y="1518"/>
                  </a:lnTo>
                  <a:lnTo>
                    <a:pt x="1262" y="1530"/>
                  </a:lnTo>
                  <a:lnTo>
                    <a:pt x="1282" y="1524"/>
                  </a:lnTo>
                  <a:lnTo>
                    <a:pt x="1255" y="1493"/>
                  </a:lnTo>
                  <a:lnTo>
                    <a:pt x="1289" y="1475"/>
                  </a:lnTo>
                  <a:lnTo>
                    <a:pt x="1322" y="1444"/>
                  </a:lnTo>
                  <a:lnTo>
                    <a:pt x="1355" y="1438"/>
                  </a:lnTo>
                  <a:lnTo>
                    <a:pt x="1395" y="1438"/>
                  </a:lnTo>
                  <a:lnTo>
                    <a:pt x="1422" y="1426"/>
                  </a:lnTo>
                  <a:lnTo>
                    <a:pt x="1468" y="1438"/>
                  </a:lnTo>
                  <a:lnTo>
                    <a:pt x="1514" y="1457"/>
                  </a:lnTo>
                  <a:lnTo>
                    <a:pt x="1555" y="1493"/>
                  </a:lnTo>
                  <a:lnTo>
                    <a:pt x="1601" y="1487"/>
                  </a:lnTo>
                  <a:lnTo>
                    <a:pt x="1641" y="1469"/>
                  </a:lnTo>
                  <a:lnTo>
                    <a:pt x="1674" y="1469"/>
                  </a:lnTo>
                  <a:lnTo>
                    <a:pt x="1714" y="1463"/>
                  </a:lnTo>
                  <a:lnTo>
                    <a:pt x="1754" y="1481"/>
                  </a:lnTo>
                  <a:lnTo>
                    <a:pt x="1800" y="1493"/>
                  </a:lnTo>
                  <a:lnTo>
                    <a:pt x="1847" y="1487"/>
                  </a:lnTo>
                  <a:lnTo>
                    <a:pt x="1893" y="1469"/>
                  </a:lnTo>
                  <a:lnTo>
                    <a:pt x="1893" y="1444"/>
                  </a:lnTo>
                  <a:lnTo>
                    <a:pt x="1860" y="1438"/>
                  </a:lnTo>
                  <a:lnTo>
                    <a:pt x="1821" y="1426"/>
                  </a:lnTo>
                  <a:lnTo>
                    <a:pt x="1793" y="1414"/>
                  </a:lnTo>
                  <a:lnTo>
                    <a:pt x="1834" y="1401"/>
                  </a:lnTo>
                  <a:lnTo>
                    <a:pt x="1827" y="1364"/>
                  </a:lnTo>
                  <a:lnTo>
                    <a:pt x="1880" y="1358"/>
                  </a:lnTo>
                  <a:lnTo>
                    <a:pt x="1814" y="1309"/>
                  </a:lnTo>
                  <a:lnTo>
                    <a:pt x="1920" y="1291"/>
                  </a:lnTo>
                  <a:lnTo>
                    <a:pt x="2006" y="1284"/>
                  </a:lnTo>
                  <a:lnTo>
                    <a:pt x="2020" y="1259"/>
                  </a:lnTo>
                  <a:lnTo>
                    <a:pt x="2080" y="1253"/>
                  </a:lnTo>
                  <a:lnTo>
                    <a:pt x="2139" y="1241"/>
                  </a:lnTo>
                  <a:lnTo>
                    <a:pt x="2159" y="1216"/>
                  </a:lnTo>
                  <a:lnTo>
                    <a:pt x="2226" y="1229"/>
                  </a:lnTo>
                  <a:lnTo>
                    <a:pt x="2265" y="1222"/>
                  </a:lnTo>
                  <a:lnTo>
                    <a:pt x="2292" y="1241"/>
                  </a:lnTo>
                  <a:lnTo>
                    <a:pt x="2298" y="1291"/>
                  </a:lnTo>
                  <a:lnTo>
                    <a:pt x="2339" y="1291"/>
                  </a:lnTo>
                  <a:lnTo>
                    <a:pt x="2352" y="1277"/>
                  </a:lnTo>
                  <a:lnTo>
                    <a:pt x="2372" y="1291"/>
                  </a:lnTo>
                  <a:lnTo>
                    <a:pt x="2411" y="1297"/>
                  </a:lnTo>
                  <a:lnTo>
                    <a:pt x="2431" y="1297"/>
                  </a:lnTo>
                  <a:lnTo>
                    <a:pt x="2431" y="1333"/>
                  </a:lnTo>
                  <a:lnTo>
                    <a:pt x="2472" y="1327"/>
                  </a:lnTo>
                  <a:lnTo>
                    <a:pt x="2511" y="1309"/>
                  </a:lnTo>
                  <a:lnTo>
                    <a:pt x="2551" y="1277"/>
                  </a:lnTo>
                  <a:lnTo>
                    <a:pt x="2577" y="1265"/>
                  </a:lnTo>
                  <a:lnTo>
                    <a:pt x="2577" y="1297"/>
                  </a:lnTo>
                  <a:lnTo>
                    <a:pt x="2618" y="1315"/>
                  </a:lnTo>
                  <a:lnTo>
                    <a:pt x="2664" y="1333"/>
                  </a:lnTo>
                  <a:lnTo>
                    <a:pt x="2704" y="1376"/>
                  </a:lnTo>
                  <a:lnTo>
                    <a:pt x="2757" y="1420"/>
                  </a:lnTo>
                  <a:lnTo>
                    <a:pt x="2803" y="1457"/>
                  </a:lnTo>
                  <a:lnTo>
                    <a:pt x="2823" y="1487"/>
                  </a:lnTo>
                  <a:lnTo>
                    <a:pt x="2836" y="1457"/>
                  </a:lnTo>
                  <a:lnTo>
                    <a:pt x="2864" y="1451"/>
                  </a:lnTo>
                  <a:lnTo>
                    <a:pt x="2884" y="1475"/>
                  </a:lnTo>
                  <a:lnTo>
                    <a:pt x="2923" y="1487"/>
                  </a:lnTo>
                  <a:lnTo>
                    <a:pt x="2969" y="1481"/>
                  </a:lnTo>
                  <a:lnTo>
                    <a:pt x="2997" y="1469"/>
                  </a:lnTo>
                  <a:lnTo>
                    <a:pt x="3036" y="1499"/>
                  </a:lnTo>
                  <a:lnTo>
                    <a:pt x="3082" y="1524"/>
                  </a:lnTo>
                  <a:lnTo>
                    <a:pt x="3123" y="1549"/>
                  </a:lnTo>
                  <a:lnTo>
                    <a:pt x="3176" y="1555"/>
                  </a:lnTo>
                  <a:lnTo>
                    <a:pt x="3182" y="1562"/>
                  </a:lnTo>
                  <a:lnTo>
                    <a:pt x="3186" y="1560"/>
                  </a:lnTo>
                  <a:lnTo>
                    <a:pt x="3189" y="1557"/>
                  </a:lnTo>
                  <a:lnTo>
                    <a:pt x="3193" y="1556"/>
                  </a:lnTo>
                  <a:lnTo>
                    <a:pt x="3198" y="1555"/>
                  </a:lnTo>
                  <a:lnTo>
                    <a:pt x="3211" y="1555"/>
                  </a:lnTo>
                  <a:lnTo>
                    <a:pt x="3228" y="1555"/>
                  </a:lnTo>
                  <a:lnTo>
                    <a:pt x="3234" y="1554"/>
                  </a:lnTo>
                  <a:lnTo>
                    <a:pt x="3239" y="1552"/>
                  </a:lnTo>
                  <a:lnTo>
                    <a:pt x="3246" y="1549"/>
                  </a:lnTo>
                  <a:lnTo>
                    <a:pt x="3251" y="1546"/>
                  </a:lnTo>
                  <a:lnTo>
                    <a:pt x="3261" y="1539"/>
                  </a:lnTo>
                  <a:lnTo>
                    <a:pt x="3269" y="1537"/>
                  </a:lnTo>
                  <a:lnTo>
                    <a:pt x="3278" y="1536"/>
                  </a:lnTo>
                  <a:lnTo>
                    <a:pt x="3288" y="1534"/>
                  </a:lnTo>
                  <a:lnTo>
                    <a:pt x="3296" y="1531"/>
                  </a:lnTo>
                  <a:lnTo>
                    <a:pt x="3304" y="1527"/>
                  </a:lnTo>
                  <a:lnTo>
                    <a:pt x="3320" y="1517"/>
                  </a:lnTo>
                  <a:lnTo>
                    <a:pt x="3335" y="1506"/>
                  </a:lnTo>
                  <a:lnTo>
                    <a:pt x="3350" y="1494"/>
                  </a:lnTo>
                  <a:lnTo>
                    <a:pt x="3366" y="1485"/>
                  </a:lnTo>
                  <a:lnTo>
                    <a:pt x="3374" y="1481"/>
                  </a:lnTo>
                  <a:lnTo>
                    <a:pt x="3383" y="1478"/>
                  </a:lnTo>
                  <a:lnTo>
                    <a:pt x="3392" y="1476"/>
                  </a:lnTo>
                  <a:lnTo>
                    <a:pt x="3402" y="1475"/>
                  </a:lnTo>
                  <a:lnTo>
                    <a:pt x="3413" y="1476"/>
                  </a:lnTo>
                  <a:lnTo>
                    <a:pt x="3423" y="1477"/>
                  </a:lnTo>
                  <a:lnTo>
                    <a:pt x="3432" y="1479"/>
                  </a:lnTo>
                  <a:lnTo>
                    <a:pt x="3439" y="1481"/>
                  </a:lnTo>
                  <a:lnTo>
                    <a:pt x="3447" y="1483"/>
                  </a:lnTo>
                  <a:lnTo>
                    <a:pt x="3453" y="1485"/>
                  </a:lnTo>
                  <a:lnTo>
                    <a:pt x="3461" y="1487"/>
                  </a:lnTo>
                  <a:lnTo>
                    <a:pt x="3468" y="1487"/>
                  </a:lnTo>
                  <a:lnTo>
                    <a:pt x="3494" y="1475"/>
                  </a:lnTo>
                  <a:lnTo>
                    <a:pt x="3507" y="1475"/>
                  </a:lnTo>
                  <a:lnTo>
                    <a:pt x="3522" y="1475"/>
                  </a:lnTo>
                  <a:lnTo>
                    <a:pt x="3522" y="1483"/>
                  </a:lnTo>
                  <a:lnTo>
                    <a:pt x="3524" y="1490"/>
                  </a:lnTo>
                  <a:lnTo>
                    <a:pt x="3526" y="1496"/>
                  </a:lnTo>
                  <a:lnTo>
                    <a:pt x="3528" y="1501"/>
                  </a:lnTo>
                  <a:lnTo>
                    <a:pt x="3535" y="1510"/>
                  </a:lnTo>
                  <a:lnTo>
                    <a:pt x="3541" y="1518"/>
                  </a:lnTo>
                  <a:lnTo>
                    <a:pt x="3720" y="1518"/>
                  </a:lnTo>
                  <a:lnTo>
                    <a:pt x="3721" y="1510"/>
                  </a:lnTo>
                  <a:lnTo>
                    <a:pt x="3720" y="1501"/>
                  </a:lnTo>
                  <a:lnTo>
                    <a:pt x="3718" y="1494"/>
                  </a:lnTo>
                  <a:lnTo>
                    <a:pt x="3716" y="1488"/>
                  </a:lnTo>
                  <a:lnTo>
                    <a:pt x="3713" y="1482"/>
                  </a:lnTo>
                  <a:lnTo>
                    <a:pt x="3708" y="1477"/>
                  </a:lnTo>
                  <a:lnTo>
                    <a:pt x="3704" y="1472"/>
                  </a:lnTo>
                  <a:lnTo>
                    <a:pt x="3699" y="1467"/>
                  </a:lnTo>
                  <a:lnTo>
                    <a:pt x="3691" y="1459"/>
                  </a:lnTo>
                  <a:lnTo>
                    <a:pt x="3682" y="1449"/>
                  </a:lnTo>
                  <a:lnTo>
                    <a:pt x="3679" y="1443"/>
                  </a:lnTo>
                  <a:lnTo>
                    <a:pt x="3676" y="1438"/>
                  </a:lnTo>
                  <a:lnTo>
                    <a:pt x="3674" y="1432"/>
                  </a:lnTo>
                  <a:lnTo>
                    <a:pt x="3674" y="1426"/>
                  </a:lnTo>
                  <a:lnTo>
                    <a:pt x="3674" y="1418"/>
                  </a:lnTo>
                  <a:lnTo>
                    <a:pt x="3674" y="1411"/>
                  </a:lnTo>
                  <a:lnTo>
                    <a:pt x="3674" y="1404"/>
                  </a:lnTo>
                  <a:lnTo>
                    <a:pt x="3674" y="1395"/>
                  </a:lnTo>
                  <a:lnTo>
                    <a:pt x="3687" y="1388"/>
                  </a:lnTo>
                  <a:lnTo>
                    <a:pt x="3880" y="1426"/>
                  </a:lnTo>
                  <a:lnTo>
                    <a:pt x="3883" y="1437"/>
                  </a:lnTo>
                  <a:lnTo>
                    <a:pt x="3886" y="1446"/>
                  </a:lnTo>
                  <a:lnTo>
                    <a:pt x="3890" y="1456"/>
                  </a:lnTo>
                  <a:lnTo>
                    <a:pt x="3895" y="1464"/>
                  </a:lnTo>
                  <a:lnTo>
                    <a:pt x="3900" y="1472"/>
                  </a:lnTo>
                  <a:lnTo>
                    <a:pt x="3906" y="1478"/>
                  </a:lnTo>
                  <a:lnTo>
                    <a:pt x="3914" y="1484"/>
                  </a:lnTo>
                  <a:lnTo>
                    <a:pt x="3920" y="1489"/>
                  </a:lnTo>
                  <a:lnTo>
                    <a:pt x="3929" y="1493"/>
                  </a:lnTo>
                  <a:lnTo>
                    <a:pt x="3938" y="1496"/>
                  </a:lnTo>
                  <a:lnTo>
                    <a:pt x="3948" y="1499"/>
                  </a:lnTo>
                  <a:lnTo>
                    <a:pt x="3957" y="1502"/>
                  </a:lnTo>
                  <a:lnTo>
                    <a:pt x="3968" y="1504"/>
                  </a:lnTo>
                  <a:lnTo>
                    <a:pt x="3981" y="1505"/>
                  </a:lnTo>
                  <a:lnTo>
                    <a:pt x="3993" y="1506"/>
                  </a:lnTo>
                  <a:lnTo>
                    <a:pt x="4006" y="1506"/>
                  </a:lnTo>
                  <a:lnTo>
                    <a:pt x="4018" y="1506"/>
                  </a:lnTo>
                  <a:lnTo>
                    <a:pt x="4029" y="1502"/>
                  </a:lnTo>
                  <a:lnTo>
                    <a:pt x="4039" y="1500"/>
                  </a:lnTo>
                  <a:lnTo>
                    <a:pt x="4050" y="1496"/>
                  </a:lnTo>
                  <a:lnTo>
                    <a:pt x="4060" y="1493"/>
                  </a:lnTo>
                  <a:lnTo>
                    <a:pt x="4069" y="1490"/>
                  </a:lnTo>
                  <a:lnTo>
                    <a:pt x="4080" y="1488"/>
                  </a:lnTo>
                  <a:lnTo>
                    <a:pt x="4093" y="1487"/>
                  </a:lnTo>
                  <a:lnTo>
                    <a:pt x="4108" y="1488"/>
                  </a:lnTo>
                  <a:lnTo>
                    <a:pt x="4123" y="1490"/>
                  </a:lnTo>
                  <a:lnTo>
                    <a:pt x="4136" y="1492"/>
                  </a:lnTo>
                  <a:lnTo>
                    <a:pt x="4150" y="1496"/>
                  </a:lnTo>
                  <a:lnTo>
                    <a:pt x="4162" y="1500"/>
                  </a:lnTo>
                  <a:lnTo>
                    <a:pt x="4173" y="1506"/>
                  </a:lnTo>
                  <a:lnTo>
                    <a:pt x="4184" y="1511"/>
                  </a:lnTo>
                  <a:lnTo>
                    <a:pt x="4195" y="1517"/>
                  </a:lnTo>
                  <a:lnTo>
                    <a:pt x="4214" y="1528"/>
                  </a:lnTo>
                  <a:lnTo>
                    <a:pt x="4233" y="1539"/>
                  </a:lnTo>
                  <a:lnTo>
                    <a:pt x="4243" y="1544"/>
                  </a:lnTo>
                  <a:lnTo>
                    <a:pt x="4253" y="1548"/>
                  </a:lnTo>
                  <a:lnTo>
                    <a:pt x="4262" y="1552"/>
                  </a:lnTo>
                  <a:lnTo>
                    <a:pt x="4272" y="1555"/>
                  </a:lnTo>
                  <a:lnTo>
                    <a:pt x="4306" y="1555"/>
                  </a:lnTo>
                  <a:lnTo>
                    <a:pt x="4334" y="1555"/>
                  </a:lnTo>
                  <a:lnTo>
                    <a:pt x="4358" y="1555"/>
                  </a:lnTo>
                  <a:lnTo>
                    <a:pt x="4378" y="1555"/>
                  </a:lnTo>
                  <a:lnTo>
                    <a:pt x="4396" y="1555"/>
                  </a:lnTo>
                  <a:lnTo>
                    <a:pt x="4412" y="1555"/>
                  </a:lnTo>
                  <a:lnTo>
                    <a:pt x="4427" y="1555"/>
                  </a:lnTo>
                  <a:lnTo>
                    <a:pt x="4445" y="1555"/>
                  </a:lnTo>
                  <a:lnTo>
                    <a:pt x="4455" y="1554"/>
                  </a:lnTo>
                  <a:lnTo>
                    <a:pt x="4464" y="1553"/>
                  </a:lnTo>
                  <a:lnTo>
                    <a:pt x="4470" y="1550"/>
                  </a:lnTo>
                  <a:lnTo>
                    <a:pt x="4476" y="1547"/>
                  </a:lnTo>
                  <a:lnTo>
                    <a:pt x="4480" y="1544"/>
                  </a:lnTo>
                  <a:lnTo>
                    <a:pt x="4485" y="1539"/>
                  </a:lnTo>
                  <a:lnTo>
                    <a:pt x="4488" y="1535"/>
                  </a:lnTo>
                  <a:lnTo>
                    <a:pt x="4490" y="1530"/>
                  </a:lnTo>
                  <a:lnTo>
                    <a:pt x="4495" y="1522"/>
                  </a:lnTo>
                  <a:lnTo>
                    <a:pt x="4503" y="1514"/>
                  </a:lnTo>
                  <a:lnTo>
                    <a:pt x="4509" y="1511"/>
                  </a:lnTo>
                  <a:lnTo>
                    <a:pt x="4514" y="1508"/>
                  </a:lnTo>
                  <a:lnTo>
                    <a:pt x="4522" y="1507"/>
                  </a:lnTo>
                  <a:lnTo>
                    <a:pt x="4531" y="1506"/>
                  </a:lnTo>
                  <a:lnTo>
                    <a:pt x="4554" y="1507"/>
                  </a:lnTo>
                  <a:lnTo>
                    <a:pt x="4577" y="1509"/>
                  </a:lnTo>
                  <a:lnTo>
                    <a:pt x="4599" y="1512"/>
                  </a:lnTo>
                  <a:lnTo>
                    <a:pt x="4620" y="1515"/>
                  </a:lnTo>
                  <a:lnTo>
                    <a:pt x="4651" y="1522"/>
                  </a:lnTo>
                  <a:lnTo>
                    <a:pt x="4663" y="1524"/>
                  </a:lnTo>
                  <a:lnTo>
                    <a:pt x="4678" y="1524"/>
                  </a:lnTo>
                  <a:lnTo>
                    <a:pt x="4690" y="1524"/>
                  </a:lnTo>
                  <a:lnTo>
                    <a:pt x="4700" y="1524"/>
                  </a:lnTo>
                  <a:lnTo>
                    <a:pt x="4711" y="1524"/>
                  </a:lnTo>
                  <a:lnTo>
                    <a:pt x="4718" y="1524"/>
                  </a:lnTo>
                  <a:lnTo>
                    <a:pt x="4727" y="1521"/>
                  </a:lnTo>
                  <a:lnTo>
                    <a:pt x="4737" y="1518"/>
                  </a:lnTo>
                  <a:lnTo>
                    <a:pt x="4746" y="1513"/>
                  </a:lnTo>
                  <a:lnTo>
                    <a:pt x="4755" y="1508"/>
                  </a:lnTo>
                  <a:lnTo>
                    <a:pt x="4763" y="1501"/>
                  </a:lnTo>
                  <a:lnTo>
                    <a:pt x="4771" y="1494"/>
                  </a:lnTo>
                  <a:lnTo>
                    <a:pt x="4777" y="1487"/>
                  </a:lnTo>
                  <a:lnTo>
                    <a:pt x="4771" y="1484"/>
                  </a:lnTo>
                  <a:lnTo>
                    <a:pt x="4766" y="1481"/>
                  </a:lnTo>
                  <a:lnTo>
                    <a:pt x="4760" y="1476"/>
                  </a:lnTo>
                  <a:lnTo>
                    <a:pt x="4756" y="1471"/>
                  </a:lnTo>
                  <a:lnTo>
                    <a:pt x="4750" y="1465"/>
                  </a:lnTo>
                  <a:lnTo>
                    <a:pt x="4747" y="1458"/>
                  </a:lnTo>
                  <a:lnTo>
                    <a:pt x="4745" y="1452"/>
                  </a:lnTo>
                  <a:lnTo>
                    <a:pt x="4744" y="1444"/>
                  </a:lnTo>
                  <a:lnTo>
                    <a:pt x="4745" y="1435"/>
                  </a:lnTo>
                  <a:lnTo>
                    <a:pt x="4747" y="1428"/>
                  </a:lnTo>
                  <a:lnTo>
                    <a:pt x="4750" y="1422"/>
                  </a:lnTo>
                  <a:lnTo>
                    <a:pt x="4754" y="1417"/>
                  </a:lnTo>
                  <a:lnTo>
                    <a:pt x="4757" y="1411"/>
                  </a:lnTo>
                  <a:lnTo>
                    <a:pt x="4760" y="1405"/>
                  </a:lnTo>
                  <a:lnTo>
                    <a:pt x="4762" y="1398"/>
                  </a:lnTo>
                  <a:lnTo>
                    <a:pt x="4763" y="1388"/>
                  </a:lnTo>
                  <a:lnTo>
                    <a:pt x="4763" y="1382"/>
                  </a:lnTo>
                  <a:lnTo>
                    <a:pt x="4761" y="1377"/>
                  </a:lnTo>
                  <a:lnTo>
                    <a:pt x="4759" y="1372"/>
                  </a:lnTo>
                  <a:lnTo>
                    <a:pt x="4756" y="1369"/>
                  </a:lnTo>
                  <a:lnTo>
                    <a:pt x="4747" y="1363"/>
                  </a:lnTo>
                  <a:lnTo>
                    <a:pt x="4737" y="1359"/>
                  </a:lnTo>
                  <a:lnTo>
                    <a:pt x="4727" y="1355"/>
                  </a:lnTo>
                  <a:lnTo>
                    <a:pt x="4718" y="1350"/>
                  </a:lnTo>
                  <a:lnTo>
                    <a:pt x="4715" y="1347"/>
                  </a:lnTo>
                  <a:lnTo>
                    <a:pt x="4713" y="1343"/>
                  </a:lnTo>
                  <a:lnTo>
                    <a:pt x="4711" y="1339"/>
                  </a:lnTo>
                  <a:lnTo>
                    <a:pt x="4711" y="1333"/>
                  </a:lnTo>
                  <a:lnTo>
                    <a:pt x="4711" y="1324"/>
                  </a:lnTo>
                  <a:lnTo>
                    <a:pt x="4711" y="1315"/>
                  </a:lnTo>
                  <a:lnTo>
                    <a:pt x="4830" y="1297"/>
                  </a:lnTo>
                  <a:lnTo>
                    <a:pt x="4869" y="1307"/>
                  </a:lnTo>
                  <a:lnTo>
                    <a:pt x="4898" y="1315"/>
                  </a:lnTo>
                  <a:lnTo>
                    <a:pt x="4928" y="1322"/>
                  </a:lnTo>
                  <a:lnTo>
                    <a:pt x="4963" y="1333"/>
                  </a:lnTo>
                  <a:lnTo>
                    <a:pt x="4974" y="1338"/>
                  </a:lnTo>
                  <a:lnTo>
                    <a:pt x="4985" y="1343"/>
                  </a:lnTo>
                  <a:lnTo>
                    <a:pt x="4995" y="1349"/>
                  </a:lnTo>
                  <a:lnTo>
                    <a:pt x="5005" y="1356"/>
                  </a:lnTo>
                  <a:lnTo>
                    <a:pt x="5021" y="1371"/>
                  </a:lnTo>
                  <a:lnTo>
                    <a:pt x="5038" y="1386"/>
                  </a:lnTo>
                  <a:lnTo>
                    <a:pt x="5046" y="1395"/>
                  </a:lnTo>
                  <a:lnTo>
                    <a:pt x="5054" y="1402"/>
                  </a:lnTo>
                  <a:lnTo>
                    <a:pt x="5063" y="1408"/>
                  </a:lnTo>
                  <a:lnTo>
                    <a:pt x="5073" y="1414"/>
                  </a:lnTo>
                  <a:lnTo>
                    <a:pt x="5084" y="1419"/>
                  </a:lnTo>
                  <a:lnTo>
                    <a:pt x="5095" y="1423"/>
                  </a:lnTo>
                  <a:lnTo>
                    <a:pt x="5108" y="1425"/>
                  </a:lnTo>
                  <a:lnTo>
                    <a:pt x="5122" y="1426"/>
                  </a:lnTo>
                  <a:lnTo>
                    <a:pt x="5127" y="1438"/>
                  </a:lnTo>
                  <a:lnTo>
                    <a:pt x="5132" y="1449"/>
                  </a:lnTo>
                  <a:lnTo>
                    <a:pt x="5139" y="1459"/>
                  </a:lnTo>
                  <a:lnTo>
                    <a:pt x="5148" y="1468"/>
                  </a:lnTo>
                  <a:lnTo>
                    <a:pt x="5156" y="1476"/>
                  </a:lnTo>
                  <a:lnTo>
                    <a:pt x="5166" y="1484"/>
                  </a:lnTo>
                  <a:lnTo>
                    <a:pt x="5176" y="1490"/>
                  </a:lnTo>
                  <a:lnTo>
                    <a:pt x="5188" y="1496"/>
                  </a:lnTo>
                  <a:lnTo>
                    <a:pt x="5199" y="1502"/>
                  </a:lnTo>
                  <a:lnTo>
                    <a:pt x="5211" y="1508"/>
                  </a:lnTo>
                  <a:lnTo>
                    <a:pt x="5225" y="1512"/>
                  </a:lnTo>
                  <a:lnTo>
                    <a:pt x="5237" y="1516"/>
                  </a:lnTo>
                  <a:lnTo>
                    <a:pt x="5263" y="1524"/>
                  </a:lnTo>
                  <a:lnTo>
                    <a:pt x="5288" y="1530"/>
                  </a:lnTo>
                  <a:lnTo>
                    <a:pt x="5303" y="1536"/>
                  </a:lnTo>
                  <a:lnTo>
                    <a:pt x="5317" y="1542"/>
                  </a:lnTo>
                  <a:lnTo>
                    <a:pt x="5330" y="1550"/>
                  </a:lnTo>
                  <a:lnTo>
                    <a:pt x="5342" y="1558"/>
                  </a:lnTo>
                  <a:lnTo>
                    <a:pt x="5365" y="1577"/>
                  </a:lnTo>
                  <a:lnTo>
                    <a:pt x="5388" y="1595"/>
                  </a:lnTo>
                  <a:lnTo>
                    <a:pt x="5399" y="1604"/>
                  </a:lnTo>
                  <a:lnTo>
                    <a:pt x="5410" y="1612"/>
                  </a:lnTo>
                  <a:lnTo>
                    <a:pt x="5422" y="1621"/>
                  </a:lnTo>
                  <a:lnTo>
                    <a:pt x="5434" y="1628"/>
                  </a:lnTo>
                  <a:lnTo>
                    <a:pt x="5446" y="1633"/>
                  </a:lnTo>
                  <a:lnTo>
                    <a:pt x="5460" y="1638"/>
                  </a:lnTo>
                  <a:lnTo>
                    <a:pt x="5473" y="1640"/>
                  </a:lnTo>
                  <a:lnTo>
                    <a:pt x="5488" y="1641"/>
                  </a:lnTo>
                  <a:lnTo>
                    <a:pt x="5497" y="1641"/>
                  </a:lnTo>
                  <a:lnTo>
                    <a:pt x="5506" y="1640"/>
                  </a:lnTo>
                  <a:lnTo>
                    <a:pt x="5514" y="1638"/>
                  </a:lnTo>
                  <a:lnTo>
                    <a:pt x="5522" y="1635"/>
                  </a:lnTo>
                  <a:lnTo>
                    <a:pt x="5536" y="1628"/>
                  </a:lnTo>
                  <a:lnTo>
                    <a:pt x="5551" y="1620"/>
                  </a:lnTo>
                  <a:lnTo>
                    <a:pt x="5565" y="1611"/>
                  </a:lnTo>
                  <a:lnTo>
                    <a:pt x="5579" y="1605"/>
                  </a:lnTo>
                  <a:lnTo>
                    <a:pt x="5587" y="1602"/>
                  </a:lnTo>
                  <a:lnTo>
                    <a:pt x="5596" y="1600"/>
                  </a:lnTo>
                  <a:lnTo>
                    <a:pt x="5604" y="1599"/>
                  </a:lnTo>
                  <a:lnTo>
                    <a:pt x="5614" y="1598"/>
                  </a:lnTo>
                  <a:lnTo>
                    <a:pt x="5621" y="1599"/>
                  </a:lnTo>
                  <a:lnTo>
                    <a:pt x="5626" y="1601"/>
                  </a:lnTo>
                  <a:lnTo>
                    <a:pt x="5631" y="1604"/>
                  </a:lnTo>
                  <a:lnTo>
                    <a:pt x="5635" y="1607"/>
                  </a:lnTo>
                  <a:lnTo>
                    <a:pt x="5642" y="1613"/>
                  </a:lnTo>
                  <a:lnTo>
                    <a:pt x="5647" y="1617"/>
                  </a:lnTo>
                  <a:lnTo>
                    <a:pt x="5647" y="1629"/>
                  </a:lnTo>
                  <a:lnTo>
                    <a:pt x="5647" y="1638"/>
                  </a:lnTo>
                  <a:lnTo>
                    <a:pt x="5647" y="1645"/>
                  </a:lnTo>
                  <a:lnTo>
                    <a:pt x="5647" y="1654"/>
                  </a:lnTo>
                  <a:lnTo>
                    <a:pt x="5647" y="1662"/>
                  </a:lnTo>
                  <a:lnTo>
                    <a:pt x="5649" y="1672"/>
                  </a:lnTo>
                  <a:lnTo>
                    <a:pt x="5652" y="1679"/>
                  </a:lnTo>
                  <a:lnTo>
                    <a:pt x="5655" y="1686"/>
                  </a:lnTo>
                  <a:lnTo>
                    <a:pt x="5659" y="1693"/>
                  </a:lnTo>
                  <a:lnTo>
                    <a:pt x="5664" y="1699"/>
                  </a:lnTo>
                  <a:lnTo>
                    <a:pt x="5668" y="1704"/>
                  </a:lnTo>
                  <a:lnTo>
                    <a:pt x="5674" y="1709"/>
                  </a:lnTo>
                  <a:lnTo>
                    <a:pt x="5674" y="1790"/>
                  </a:lnTo>
                  <a:lnTo>
                    <a:pt x="5666" y="1791"/>
                  </a:lnTo>
                  <a:lnTo>
                    <a:pt x="5657" y="1792"/>
                  </a:lnTo>
                  <a:lnTo>
                    <a:pt x="5649" y="1792"/>
                  </a:lnTo>
                  <a:lnTo>
                    <a:pt x="5641" y="1792"/>
                  </a:lnTo>
                  <a:lnTo>
                    <a:pt x="5623" y="1790"/>
                  </a:lnTo>
                  <a:lnTo>
                    <a:pt x="5608" y="1790"/>
                  </a:lnTo>
                  <a:lnTo>
                    <a:pt x="5604" y="1790"/>
                  </a:lnTo>
                  <a:lnTo>
                    <a:pt x="5602" y="1792"/>
                  </a:lnTo>
                  <a:lnTo>
                    <a:pt x="5600" y="1794"/>
                  </a:lnTo>
                  <a:lnTo>
                    <a:pt x="5598" y="1796"/>
                  </a:lnTo>
                  <a:lnTo>
                    <a:pt x="5595" y="1802"/>
                  </a:lnTo>
                  <a:lnTo>
                    <a:pt x="5593" y="1808"/>
                  </a:lnTo>
                  <a:lnTo>
                    <a:pt x="5595" y="1818"/>
                  </a:lnTo>
                  <a:lnTo>
                    <a:pt x="5597" y="1827"/>
                  </a:lnTo>
                  <a:lnTo>
                    <a:pt x="5600" y="1835"/>
                  </a:lnTo>
                  <a:lnTo>
                    <a:pt x="5604" y="1844"/>
                  </a:lnTo>
                  <a:lnTo>
                    <a:pt x="5609" y="1852"/>
                  </a:lnTo>
                  <a:lnTo>
                    <a:pt x="5614" y="1859"/>
                  </a:lnTo>
                  <a:lnTo>
                    <a:pt x="5620" y="1865"/>
                  </a:lnTo>
                  <a:lnTo>
                    <a:pt x="5626" y="1871"/>
                  </a:lnTo>
                  <a:lnTo>
                    <a:pt x="5637" y="1881"/>
                  </a:lnTo>
                  <a:lnTo>
                    <a:pt x="5647" y="1890"/>
                  </a:lnTo>
                  <a:lnTo>
                    <a:pt x="5651" y="1896"/>
                  </a:lnTo>
                  <a:lnTo>
                    <a:pt x="5653" y="1899"/>
                  </a:lnTo>
                  <a:lnTo>
                    <a:pt x="5654" y="1903"/>
                  </a:lnTo>
                  <a:lnTo>
                    <a:pt x="5654" y="1907"/>
                  </a:lnTo>
                  <a:lnTo>
                    <a:pt x="5747" y="1919"/>
                  </a:lnTo>
                  <a:lnTo>
                    <a:pt x="5754" y="1918"/>
                  </a:lnTo>
                  <a:lnTo>
                    <a:pt x="5761" y="1917"/>
                  </a:lnTo>
                  <a:lnTo>
                    <a:pt x="5768" y="1915"/>
                  </a:lnTo>
                  <a:lnTo>
                    <a:pt x="5775" y="1912"/>
                  </a:lnTo>
                  <a:lnTo>
                    <a:pt x="5780" y="1908"/>
                  </a:lnTo>
                  <a:lnTo>
                    <a:pt x="5786" y="1904"/>
                  </a:lnTo>
                  <a:lnTo>
                    <a:pt x="5792" y="1899"/>
                  </a:lnTo>
                  <a:lnTo>
                    <a:pt x="5797" y="1892"/>
                  </a:lnTo>
                  <a:lnTo>
                    <a:pt x="5807" y="1880"/>
                  </a:lnTo>
                  <a:lnTo>
                    <a:pt x="5815" y="1865"/>
                  </a:lnTo>
                  <a:lnTo>
                    <a:pt x="5823" y="1850"/>
                  </a:lnTo>
                  <a:lnTo>
                    <a:pt x="5830" y="1832"/>
                  </a:lnTo>
                  <a:lnTo>
                    <a:pt x="5835" y="1815"/>
                  </a:lnTo>
                  <a:lnTo>
                    <a:pt x="5841" y="1797"/>
                  </a:lnTo>
                  <a:lnTo>
                    <a:pt x="5845" y="1779"/>
                  </a:lnTo>
                  <a:lnTo>
                    <a:pt x="5847" y="1763"/>
                  </a:lnTo>
                  <a:lnTo>
                    <a:pt x="5852" y="1733"/>
                  </a:lnTo>
                  <a:lnTo>
                    <a:pt x="5853" y="1709"/>
                  </a:lnTo>
                  <a:lnTo>
                    <a:pt x="5853" y="1694"/>
                  </a:lnTo>
                  <a:lnTo>
                    <a:pt x="5853" y="1677"/>
                  </a:lnTo>
                  <a:lnTo>
                    <a:pt x="5853" y="1657"/>
                  </a:lnTo>
                  <a:lnTo>
                    <a:pt x="5853" y="1635"/>
                  </a:lnTo>
                  <a:lnTo>
                    <a:pt x="5853" y="1623"/>
                  </a:lnTo>
                  <a:lnTo>
                    <a:pt x="5853" y="1612"/>
                  </a:lnTo>
                  <a:lnTo>
                    <a:pt x="5855" y="1607"/>
                  </a:lnTo>
                  <a:lnTo>
                    <a:pt x="5858" y="1604"/>
                  </a:lnTo>
                  <a:lnTo>
                    <a:pt x="5865" y="1601"/>
                  </a:lnTo>
                  <a:lnTo>
                    <a:pt x="5873" y="1598"/>
                  </a:lnTo>
                  <a:lnTo>
                    <a:pt x="5873" y="1568"/>
                  </a:lnTo>
                  <a:lnTo>
                    <a:pt x="5867" y="1564"/>
                  </a:lnTo>
                  <a:lnTo>
                    <a:pt x="5859" y="1558"/>
                  </a:lnTo>
                  <a:lnTo>
                    <a:pt x="5850" y="1551"/>
                  </a:lnTo>
                  <a:lnTo>
                    <a:pt x="5843" y="1543"/>
                  </a:lnTo>
                  <a:lnTo>
                    <a:pt x="5835" y="1534"/>
                  </a:lnTo>
                  <a:lnTo>
                    <a:pt x="5830" y="1525"/>
                  </a:lnTo>
                  <a:lnTo>
                    <a:pt x="5827" y="1520"/>
                  </a:lnTo>
                  <a:lnTo>
                    <a:pt x="5826" y="1516"/>
                  </a:lnTo>
                  <a:lnTo>
                    <a:pt x="5826" y="1511"/>
                  </a:lnTo>
                  <a:lnTo>
                    <a:pt x="5826" y="1506"/>
                  </a:lnTo>
                  <a:lnTo>
                    <a:pt x="5816" y="1498"/>
                  </a:lnTo>
                  <a:lnTo>
                    <a:pt x="5808" y="1490"/>
                  </a:lnTo>
                  <a:lnTo>
                    <a:pt x="5799" y="1481"/>
                  </a:lnTo>
                  <a:lnTo>
                    <a:pt x="5791" y="1472"/>
                  </a:lnTo>
                  <a:lnTo>
                    <a:pt x="5776" y="1451"/>
                  </a:lnTo>
                  <a:lnTo>
                    <a:pt x="5761" y="1428"/>
                  </a:lnTo>
                  <a:lnTo>
                    <a:pt x="5748" y="1404"/>
                  </a:lnTo>
                  <a:lnTo>
                    <a:pt x="5735" y="1378"/>
                  </a:lnTo>
                  <a:lnTo>
                    <a:pt x="5721" y="1353"/>
                  </a:lnTo>
                  <a:lnTo>
                    <a:pt x="5707" y="1327"/>
                  </a:lnTo>
                  <a:lnTo>
                    <a:pt x="5700" y="1316"/>
                  </a:lnTo>
                  <a:lnTo>
                    <a:pt x="5692" y="1307"/>
                  </a:lnTo>
                  <a:lnTo>
                    <a:pt x="5684" y="1299"/>
                  </a:lnTo>
                  <a:lnTo>
                    <a:pt x="5674" y="1291"/>
                  </a:lnTo>
                  <a:lnTo>
                    <a:pt x="5664" y="1285"/>
                  </a:lnTo>
                  <a:lnTo>
                    <a:pt x="5652" y="1279"/>
                  </a:lnTo>
                  <a:lnTo>
                    <a:pt x="5640" y="1274"/>
                  </a:lnTo>
                  <a:lnTo>
                    <a:pt x="5628" y="1270"/>
                  </a:lnTo>
                  <a:lnTo>
                    <a:pt x="5600" y="1263"/>
                  </a:lnTo>
                  <a:lnTo>
                    <a:pt x="5570" y="1256"/>
                  </a:lnTo>
                  <a:lnTo>
                    <a:pt x="5540" y="1249"/>
                  </a:lnTo>
                  <a:lnTo>
                    <a:pt x="5508" y="1241"/>
                  </a:lnTo>
                  <a:lnTo>
                    <a:pt x="5503" y="1252"/>
                  </a:lnTo>
                  <a:lnTo>
                    <a:pt x="5500" y="1265"/>
                  </a:lnTo>
                  <a:lnTo>
                    <a:pt x="5498" y="1272"/>
                  </a:lnTo>
                  <a:lnTo>
                    <a:pt x="5496" y="1279"/>
                  </a:lnTo>
                  <a:lnTo>
                    <a:pt x="5492" y="1285"/>
                  </a:lnTo>
                  <a:lnTo>
                    <a:pt x="5488" y="1291"/>
                  </a:lnTo>
                  <a:lnTo>
                    <a:pt x="5483" y="1284"/>
                  </a:lnTo>
                  <a:lnTo>
                    <a:pt x="5476" y="1278"/>
                  </a:lnTo>
                  <a:lnTo>
                    <a:pt x="5469" y="1275"/>
                  </a:lnTo>
                  <a:lnTo>
                    <a:pt x="5462" y="1272"/>
                  </a:lnTo>
                  <a:lnTo>
                    <a:pt x="5446" y="1267"/>
                  </a:lnTo>
                  <a:lnTo>
                    <a:pt x="5431" y="1264"/>
                  </a:lnTo>
                  <a:lnTo>
                    <a:pt x="5423" y="1262"/>
                  </a:lnTo>
                  <a:lnTo>
                    <a:pt x="5417" y="1260"/>
                  </a:lnTo>
                  <a:lnTo>
                    <a:pt x="5411" y="1257"/>
                  </a:lnTo>
                  <a:lnTo>
                    <a:pt x="5406" y="1254"/>
                  </a:lnTo>
                  <a:lnTo>
                    <a:pt x="5401" y="1249"/>
                  </a:lnTo>
                  <a:lnTo>
                    <a:pt x="5398" y="1244"/>
                  </a:lnTo>
                  <a:lnTo>
                    <a:pt x="5396" y="1237"/>
                  </a:lnTo>
                  <a:lnTo>
                    <a:pt x="5395" y="1229"/>
                  </a:lnTo>
                  <a:lnTo>
                    <a:pt x="5378" y="1226"/>
                  </a:lnTo>
                  <a:lnTo>
                    <a:pt x="5341" y="1218"/>
                  </a:lnTo>
                  <a:lnTo>
                    <a:pt x="5322" y="1214"/>
                  </a:lnTo>
                  <a:lnTo>
                    <a:pt x="5305" y="1210"/>
                  </a:lnTo>
                  <a:lnTo>
                    <a:pt x="5293" y="1207"/>
                  </a:lnTo>
                  <a:lnTo>
                    <a:pt x="5288" y="1204"/>
                  </a:lnTo>
                  <a:lnTo>
                    <a:pt x="5289" y="1197"/>
                  </a:lnTo>
                  <a:lnTo>
                    <a:pt x="5293" y="1191"/>
                  </a:lnTo>
                  <a:lnTo>
                    <a:pt x="5298" y="1185"/>
                  </a:lnTo>
                  <a:lnTo>
                    <a:pt x="5304" y="1180"/>
                  </a:lnTo>
                  <a:lnTo>
                    <a:pt x="5319" y="1167"/>
                  </a:lnTo>
                  <a:lnTo>
                    <a:pt x="5334" y="1154"/>
                  </a:lnTo>
                  <a:lnTo>
                    <a:pt x="5331" y="1147"/>
                  </a:lnTo>
                  <a:lnTo>
                    <a:pt x="5329" y="1140"/>
                  </a:lnTo>
                  <a:lnTo>
                    <a:pt x="5328" y="1132"/>
                  </a:lnTo>
                  <a:lnTo>
                    <a:pt x="5329" y="1125"/>
                  </a:lnTo>
                  <a:lnTo>
                    <a:pt x="5331" y="1117"/>
                  </a:lnTo>
                  <a:lnTo>
                    <a:pt x="5334" y="1108"/>
                  </a:lnTo>
                  <a:lnTo>
                    <a:pt x="5339" y="1100"/>
                  </a:lnTo>
                  <a:lnTo>
                    <a:pt x="5343" y="1092"/>
                  </a:lnTo>
                  <a:lnTo>
                    <a:pt x="5365" y="1064"/>
                  </a:lnTo>
                  <a:lnTo>
                    <a:pt x="5382" y="1043"/>
                  </a:lnTo>
                  <a:lnTo>
                    <a:pt x="5382" y="964"/>
                  </a:lnTo>
                  <a:lnTo>
                    <a:pt x="5388" y="962"/>
                  </a:lnTo>
                  <a:lnTo>
                    <a:pt x="5396" y="961"/>
                  </a:lnTo>
                  <a:lnTo>
                    <a:pt x="5402" y="961"/>
                  </a:lnTo>
                  <a:lnTo>
                    <a:pt x="5409" y="962"/>
                  </a:lnTo>
                  <a:lnTo>
                    <a:pt x="5423" y="963"/>
                  </a:lnTo>
                  <a:lnTo>
                    <a:pt x="5441" y="964"/>
                  </a:lnTo>
                  <a:lnTo>
                    <a:pt x="5465" y="964"/>
                  </a:lnTo>
                  <a:lnTo>
                    <a:pt x="5492" y="966"/>
                  </a:lnTo>
                  <a:lnTo>
                    <a:pt x="5521" y="968"/>
                  </a:lnTo>
                  <a:lnTo>
                    <a:pt x="5552" y="970"/>
                  </a:lnTo>
                  <a:lnTo>
                    <a:pt x="5583" y="972"/>
                  </a:lnTo>
                  <a:lnTo>
                    <a:pt x="5612" y="974"/>
                  </a:lnTo>
                  <a:lnTo>
                    <a:pt x="5641" y="975"/>
                  </a:lnTo>
                  <a:lnTo>
                    <a:pt x="5667" y="976"/>
                  </a:lnTo>
                  <a:lnTo>
                    <a:pt x="5671" y="975"/>
                  </a:lnTo>
                  <a:lnTo>
                    <a:pt x="5677" y="972"/>
                  </a:lnTo>
                  <a:lnTo>
                    <a:pt x="5682" y="968"/>
                  </a:lnTo>
                  <a:lnTo>
                    <a:pt x="5687" y="964"/>
                  </a:lnTo>
                  <a:lnTo>
                    <a:pt x="5674" y="945"/>
                  </a:lnTo>
                  <a:lnTo>
                    <a:pt x="5807" y="945"/>
                  </a:lnTo>
                  <a:lnTo>
                    <a:pt x="5809" y="949"/>
                  </a:lnTo>
                  <a:lnTo>
                    <a:pt x="5816" y="955"/>
                  </a:lnTo>
                  <a:lnTo>
                    <a:pt x="5825" y="962"/>
                  </a:lnTo>
                  <a:lnTo>
                    <a:pt x="5836" y="969"/>
                  </a:lnTo>
                  <a:lnTo>
                    <a:pt x="5857" y="982"/>
                  </a:lnTo>
                  <a:lnTo>
                    <a:pt x="5867" y="988"/>
                  </a:lnTo>
                  <a:lnTo>
                    <a:pt x="5871" y="988"/>
                  </a:lnTo>
                  <a:lnTo>
                    <a:pt x="5875" y="987"/>
                  </a:lnTo>
                  <a:lnTo>
                    <a:pt x="5878" y="985"/>
                  </a:lnTo>
                  <a:lnTo>
                    <a:pt x="5880" y="983"/>
                  </a:lnTo>
                  <a:lnTo>
                    <a:pt x="5884" y="979"/>
                  </a:lnTo>
                  <a:lnTo>
                    <a:pt x="5888" y="973"/>
                  </a:lnTo>
                  <a:lnTo>
                    <a:pt x="5892" y="967"/>
                  </a:lnTo>
                  <a:lnTo>
                    <a:pt x="5898" y="963"/>
                  </a:lnTo>
                  <a:lnTo>
                    <a:pt x="5902" y="961"/>
                  </a:lnTo>
                  <a:lnTo>
                    <a:pt x="5906" y="959"/>
                  </a:lnTo>
                  <a:lnTo>
                    <a:pt x="5913" y="958"/>
                  </a:lnTo>
                  <a:lnTo>
                    <a:pt x="5920" y="958"/>
                  </a:lnTo>
                  <a:lnTo>
                    <a:pt x="5911" y="954"/>
                  </a:lnTo>
                  <a:lnTo>
                    <a:pt x="5904" y="950"/>
                  </a:lnTo>
                  <a:lnTo>
                    <a:pt x="5900" y="945"/>
                  </a:lnTo>
                  <a:lnTo>
                    <a:pt x="5897" y="941"/>
                  </a:lnTo>
                  <a:lnTo>
                    <a:pt x="5894" y="935"/>
                  </a:lnTo>
                  <a:lnTo>
                    <a:pt x="5893" y="927"/>
                  </a:lnTo>
                  <a:lnTo>
                    <a:pt x="5893" y="916"/>
                  </a:lnTo>
                  <a:lnTo>
                    <a:pt x="5893" y="902"/>
                  </a:lnTo>
                  <a:lnTo>
                    <a:pt x="5893" y="886"/>
                  </a:lnTo>
                  <a:lnTo>
                    <a:pt x="5894" y="871"/>
                  </a:lnTo>
                  <a:lnTo>
                    <a:pt x="5897" y="858"/>
                  </a:lnTo>
                  <a:lnTo>
                    <a:pt x="5900" y="846"/>
                  </a:lnTo>
                  <a:lnTo>
                    <a:pt x="5902" y="841"/>
                  </a:lnTo>
                  <a:lnTo>
                    <a:pt x="5904" y="835"/>
                  </a:lnTo>
                  <a:lnTo>
                    <a:pt x="5906" y="831"/>
                  </a:lnTo>
                  <a:lnTo>
                    <a:pt x="5910" y="828"/>
                  </a:lnTo>
                  <a:lnTo>
                    <a:pt x="5913" y="825"/>
                  </a:lnTo>
                  <a:lnTo>
                    <a:pt x="5917" y="823"/>
                  </a:lnTo>
                  <a:lnTo>
                    <a:pt x="5922" y="822"/>
                  </a:lnTo>
                  <a:lnTo>
                    <a:pt x="5926" y="822"/>
                  </a:lnTo>
                  <a:lnTo>
                    <a:pt x="5945" y="822"/>
                  </a:lnTo>
                  <a:lnTo>
                    <a:pt x="5974" y="822"/>
                  </a:lnTo>
                  <a:lnTo>
                    <a:pt x="6006" y="822"/>
                  </a:lnTo>
                  <a:lnTo>
                    <a:pt x="6033" y="822"/>
                  </a:lnTo>
                  <a:lnTo>
                    <a:pt x="6037" y="828"/>
                  </a:lnTo>
                  <a:lnTo>
                    <a:pt x="6045" y="838"/>
                  </a:lnTo>
                  <a:lnTo>
                    <a:pt x="6055" y="849"/>
                  </a:lnTo>
                  <a:lnTo>
                    <a:pt x="6066" y="860"/>
                  </a:lnTo>
                  <a:lnTo>
                    <a:pt x="6077" y="871"/>
                  </a:lnTo>
                  <a:lnTo>
                    <a:pt x="6086" y="881"/>
                  </a:lnTo>
                  <a:lnTo>
                    <a:pt x="6094" y="887"/>
                  </a:lnTo>
                  <a:lnTo>
                    <a:pt x="6099" y="889"/>
                  </a:lnTo>
                  <a:lnTo>
                    <a:pt x="6102" y="881"/>
                  </a:lnTo>
                  <a:lnTo>
                    <a:pt x="6105" y="874"/>
                  </a:lnTo>
                  <a:lnTo>
                    <a:pt x="6108" y="867"/>
                  </a:lnTo>
                  <a:lnTo>
                    <a:pt x="6112" y="861"/>
                  </a:lnTo>
                  <a:lnTo>
                    <a:pt x="6116" y="855"/>
                  </a:lnTo>
                  <a:lnTo>
                    <a:pt x="6119" y="848"/>
                  </a:lnTo>
                  <a:lnTo>
                    <a:pt x="6123" y="839"/>
                  </a:lnTo>
                  <a:lnTo>
                    <a:pt x="6125" y="828"/>
                  </a:lnTo>
                  <a:lnTo>
                    <a:pt x="6128" y="830"/>
                  </a:lnTo>
                  <a:lnTo>
                    <a:pt x="6132" y="831"/>
                  </a:lnTo>
                  <a:lnTo>
                    <a:pt x="6135" y="832"/>
                  </a:lnTo>
                  <a:lnTo>
                    <a:pt x="6139" y="832"/>
                  </a:lnTo>
                  <a:lnTo>
                    <a:pt x="6144" y="832"/>
                  </a:lnTo>
                  <a:lnTo>
                    <a:pt x="6149" y="831"/>
                  </a:lnTo>
                  <a:lnTo>
                    <a:pt x="6153" y="830"/>
                  </a:lnTo>
                  <a:lnTo>
                    <a:pt x="6159" y="828"/>
                  </a:lnTo>
                  <a:lnTo>
                    <a:pt x="6148" y="815"/>
                  </a:lnTo>
                  <a:lnTo>
                    <a:pt x="6137" y="803"/>
                  </a:lnTo>
                  <a:lnTo>
                    <a:pt x="6133" y="796"/>
                  </a:lnTo>
                  <a:lnTo>
                    <a:pt x="6128" y="789"/>
                  </a:lnTo>
                  <a:lnTo>
                    <a:pt x="6126" y="782"/>
                  </a:lnTo>
                  <a:lnTo>
                    <a:pt x="6125" y="772"/>
                  </a:lnTo>
                  <a:lnTo>
                    <a:pt x="6126" y="767"/>
                  </a:lnTo>
                  <a:lnTo>
                    <a:pt x="6128" y="764"/>
                  </a:lnTo>
                  <a:lnTo>
                    <a:pt x="6132" y="761"/>
                  </a:lnTo>
                  <a:lnTo>
                    <a:pt x="6135" y="760"/>
                  </a:lnTo>
                  <a:lnTo>
                    <a:pt x="6140" y="759"/>
                  </a:lnTo>
                  <a:lnTo>
                    <a:pt x="6146" y="759"/>
                  </a:lnTo>
                  <a:lnTo>
                    <a:pt x="6152" y="760"/>
                  </a:lnTo>
                  <a:lnTo>
                    <a:pt x="6159" y="762"/>
                  </a:lnTo>
                  <a:lnTo>
                    <a:pt x="6188" y="771"/>
                  </a:lnTo>
                  <a:lnTo>
                    <a:pt x="6212" y="778"/>
                  </a:lnTo>
                  <a:lnTo>
                    <a:pt x="6202" y="779"/>
                  </a:lnTo>
                  <a:lnTo>
                    <a:pt x="6193" y="782"/>
                  </a:lnTo>
                  <a:lnTo>
                    <a:pt x="6184" y="784"/>
                  </a:lnTo>
                  <a:lnTo>
                    <a:pt x="6179" y="785"/>
                  </a:lnTo>
                  <a:lnTo>
                    <a:pt x="6180" y="792"/>
                  </a:lnTo>
                  <a:lnTo>
                    <a:pt x="6183" y="797"/>
                  </a:lnTo>
                  <a:lnTo>
                    <a:pt x="6186" y="802"/>
                  </a:lnTo>
                  <a:lnTo>
                    <a:pt x="6191" y="807"/>
                  </a:lnTo>
                  <a:lnTo>
                    <a:pt x="6201" y="815"/>
                  </a:lnTo>
                  <a:lnTo>
                    <a:pt x="6211" y="822"/>
                  </a:lnTo>
                  <a:lnTo>
                    <a:pt x="6222" y="829"/>
                  </a:lnTo>
                  <a:lnTo>
                    <a:pt x="6230" y="837"/>
                  </a:lnTo>
                  <a:lnTo>
                    <a:pt x="6234" y="842"/>
                  </a:lnTo>
                  <a:lnTo>
                    <a:pt x="6236" y="847"/>
                  </a:lnTo>
                  <a:lnTo>
                    <a:pt x="6238" y="853"/>
                  </a:lnTo>
                  <a:lnTo>
                    <a:pt x="6238" y="859"/>
                  </a:lnTo>
                  <a:lnTo>
                    <a:pt x="6237" y="867"/>
                  </a:lnTo>
                  <a:lnTo>
                    <a:pt x="6231" y="878"/>
                  </a:lnTo>
                  <a:lnTo>
                    <a:pt x="6224" y="893"/>
                  </a:lnTo>
                  <a:lnTo>
                    <a:pt x="6215" y="907"/>
                  </a:lnTo>
                  <a:lnTo>
                    <a:pt x="6206" y="922"/>
                  </a:lnTo>
                  <a:lnTo>
                    <a:pt x="6200" y="937"/>
                  </a:lnTo>
                  <a:lnTo>
                    <a:pt x="6196" y="944"/>
                  </a:lnTo>
                  <a:lnTo>
                    <a:pt x="6194" y="952"/>
                  </a:lnTo>
                  <a:lnTo>
                    <a:pt x="6192" y="958"/>
                  </a:lnTo>
                  <a:lnTo>
                    <a:pt x="6192" y="964"/>
                  </a:lnTo>
                  <a:lnTo>
                    <a:pt x="6193" y="970"/>
                  </a:lnTo>
                  <a:lnTo>
                    <a:pt x="6195" y="974"/>
                  </a:lnTo>
                  <a:lnTo>
                    <a:pt x="6198" y="977"/>
                  </a:lnTo>
                  <a:lnTo>
                    <a:pt x="6202" y="979"/>
                  </a:lnTo>
                  <a:lnTo>
                    <a:pt x="6205" y="981"/>
                  </a:lnTo>
                  <a:lnTo>
                    <a:pt x="6208" y="984"/>
                  </a:lnTo>
                  <a:lnTo>
                    <a:pt x="6211" y="988"/>
                  </a:lnTo>
                  <a:lnTo>
                    <a:pt x="6212" y="994"/>
                  </a:lnTo>
                  <a:lnTo>
                    <a:pt x="6212" y="1001"/>
                  </a:lnTo>
                  <a:lnTo>
                    <a:pt x="6211" y="1010"/>
                  </a:lnTo>
                  <a:lnTo>
                    <a:pt x="6208" y="1018"/>
                  </a:lnTo>
                  <a:lnTo>
                    <a:pt x="6204" y="1026"/>
                  </a:lnTo>
                  <a:lnTo>
                    <a:pt x="6202" y="1030"/>
                  </a:lnTo>
                  <a:lnTo>
                    <a:pt x="6200" y="1033"/>
                  </a:lnTo>
                  <a:lnTo>
                    <a:pt x="6196" y="1036"/>
                  </a:lnTo>
                  <a:lnTo>
                    <a:pt x="6192" y="1039"/>
                  </a:lnTo>
                  <a:lnTo>
                    <a:pt x="6188" y="1041"/>
                  </a:lnTo>
                  <a:lnTo>
                    <a:pt x="6183" y="1042"/>
                  </a:lnTo>
                  <a:lnTo>
                    <a:pt x="6178" y="1043"/>
                  </a:lnTo>
                  <a:lnTo>
                    <a:pt x="6172" y="1043"/>
                  </a:lnTo>
                  <a:lnTo>
                    <a:pt x="6173" y="1062"/>
                  </a:lnTo>
                  <a:lnTo>
                    <a:pt x="6175" y="1079"/>
                  </a:lnTo>
                  <a:lnTo>
                    <a:pt x="6181" y="1095"/>
                  </a:lnTo>
                  <a:lnTo>
                    <a:pt x="6186" y="1111"/>
                  </a:lnTo>
                  <a:lnTo>
                    <a:pt x="6194" y="1126"/>
                  </a:lnTo>
                  <a:lnTo>
                    <a:pt x="6204" y="1140"/>
                  </a:lnTo>
                  <a:lnTo>
                    <a:pt x="6214" y="1153"/>
                  </a:lnTo>
                  <a:lnTo>
                    <a:pt x="6226" y="1166"/>
                  </a:lnTo>
                  <a:lnTo>
                    <a:pt x="6238" y="1179"/>
                  </a:lnTo>
                  <a:lnTo>
                    <a:pt x="6252" y="1190"/>
                  </a:lnTo>
                  <a:lnTo>
                    <a:pt x="6267" y="1201"/>
                  </a:lnTo>
                  <a:lnTo>
                    <a:pt x="6281" y="1211"/>
                  </a:lnTo>
                  <a:lnTo>
                    <a:pt x="6296" y="1220"/>
                  </a:lnTo>
                  <a:lnTo>
                    <a:pt x="6313" y="1230"/>
                  </a:lnTo>
                  <a:lnTo>
                    <a:pt x="6328" y="1239"/>
                  </a:lnTo>
                  <a:lnTo>
                    <a:pt x="6345" y="1247"/>
                  </a:lnTo>
                  <a:lnTo>
                    <a:pt x="6352" y="1251"/>
                  </a:lnTo>
                  <a:lnTo>
                    <a:pt x="6360" y="1256"/>
                  </a:lnTo>
                  <a:lnTo>
                    <a:pt x="6365" y="1261"/>
                  </a:lnTo>
                  <a:lnTo>
                    <a:pt x="6371" y="1267"/>
                  </a:lnTo>
                  <a:lnTo>
                    <a:pt x="6379" y="1282"/>
                  </a:lnTo>
                  <a:lnTo>
                    <a:pt x="6387" y="1297"/>
                  </a:lnTo>
                  <a:lnTo>
                    <a:pt x="6392" y="1304"/>
                  </a:lnTo>
                  <a:lnTo>
                    <a:pt x="6396" y="1311"/>
                  </a:lnTo>
                  <a:lnTo>
                    <a:pt x="6402" y="1318"/>
                  </a:lnTo>
                  <a:lnTo>
                    <a:pt x="6407" y="1325"/>
                  </a:lnTo>
                  <a:lnTo>
                    <a:pt x="6415" y="1331"/>
                  </a:lnTo>
                  <a:lnTo>
                    <a:pt x="6422" y="1337"/>
                  </a:lnTo>
                  <a:lnTo>
                    <a:pt x="6432" y="1342"/>
                  </a:lnTo>
                  <a:lnTo>
                    <a:pt x="6444" y="1346"/>
                  </a:lnTo>
                  <a:lnTo>
                    <a:pt x="6452" y="1347"/>
                  </a:lnTo>
                  <a:lnTo>
                    <a:pt x="6464" y="1351"/>
                  </a:lnTo>
                  <a:lnTo>
                    <a:pt x="6471" y="1353"/>
                  </a:lnTo>
                  <a:lnTo>
                    <a:pt x="6476" y="1356"/>
                  </a:lnTo>
                  <a:lnTo>
                    <a:pt x="6481" y="1360"/>
                  </a:lnTo>
                  <a:lnTo>
                    <a:pt x="6484" y="1364"/>
                  </a:lnTo>
                  <a:lnTo>
                    <a:pt x="6491" y="1374"/>
                  </a:lnTo>
                  <a:lnTo>
                    <a:pt x="6497" y="1384"/>
                  </a:lnTo>
                  <a:lnTo>
                    <a:pt x="6506" y="1395"/>
                  </a:lnTo>
                  <a:lnTo>
                    <a:pt x="6515" y="1404"/>
                  </a:lnTo>
                  <a:lnTo>
                    <a:pt x="6525" y="1413"/>
                  </a:lnTo>
                  <a:lnTo>
                    <a:pt x="6533" y="1420"/>
                  </a:lnTo>
                  <a:lnTo>
                    <a:pt x="6538" y="1422"/>
                  </a:lnTo>
                  <a:lnTo>
                    <a:pt x="6542" y="1424"/>
                  </a:lnTo>
                  <a:lnTo>
                    <a:pt x="6547" y="1425"/>
                  </a:lnTo>
                  <a:lnTo>
                    <a:pt x="6551" y="1426"/>
                  </a:lnTo>
                  <a:lnTo>
                    <a:pt x="6554" y="1425"/>
                  </a:lnTo>
                  <a:lnTo>
                    <a:pt x="6558" y="1425"/>
                  </a:lnTo>
                  <a:lnTo>
                    <a:pt x="6561" y="1423"/>
                  </a:lnTo>
                  <a:lnTo>
                    <a:pt x="6564" y="1421"/>
                  </a:lnTo>
                  <a:lnTo>
                    <a:pt x="6570" y="1416"/>
                  </a:lnTo>
                  <a:lnTo>
                    <a:pt x="6575" y="1410"/>
                  </a:lnTo>
                  <a:lnTo>
                    <a:pt x="6578" y="1402"/>
                  </a:lnTo>
                  <a:lnTo>
                    <a:pt x="6582" y="1391"/>
                  </a:lnTo>
                  <a:lnTo>
                    <a:pt x="6583" y="1381"/>
                  </a:lnTo>
                  <a:lnTo>
                    <a:pt x="6584" y="1370"/>
                  </a:lnTo>
                  <a:lnTo>
                    <a:pt x="6583" y="1366"/>
                  </a:lnTo>
                  <a:lnTo>
                    <a:pt x="6582" y="1362"/>
                  </a:lnTo>
                  <a:lnTo>
                    <a:pt x="6579" y="1359"/>
                  </a:lnTo>
                  <a:lnTo>
                    <a:pt x="6576" y="1356"/>
                  </a:lnTo>
                  <a:lnTo>
                    <a:pt x="6570" y="1350"/>
                  </a:lnTo>
                  <a:lnTo>
                    <a:pt x="6561" y="1345"/>
                  </a:lnTo>
                  <a:lnTo>
                    <a:pt x="6552" y="1340"/>
                  </a:lnTo>
                  <a:lnTo>
                    <a:pt x="6544" y="1333"/>
                  </a:lnTo>
                  <a:lnTo>
                    <a:pt x="6542" y="1329"/>
                  </a:lnTo>
                  <a:lnTo>
                    <a:pt x="6539" y="1325"/>
                  </a:lnTo>
                  <a:lnTo>
                    <a:pt x="6538" y="1320"/>
                  </a:lnTo>
                  <a:lnTo>
                    <a:pt x="6538" y="1315"/>
                  </a:lnTo>
                  <a:lnTo>
                    <a:pt x="6539" y="1313"/>
                  </a:lnTo>
                  <a:lnTo>
                    <a:pt x="6542" y="1310"/>
                  </a:lnTo>
                  <a:lnTo>
                    <a:pt x="6547" y="1308"/>
                  </a:lnTo>
                  <a:lnTo>
                    <a:pt x="6552" y="1306"/>
                  </a:lnTo>
                  <a:lnTo>
                    <a:pt x="6565" y="1301"/>
                  </a:lnTo>
                  <a:lnTo>
                    <a:pt x="6577" y="1297"/>
                  </a:lnTo>
                  <a:lnTo>
                    <a:pt x="6569" y="1280"/>
                  </a:lnTo>
                  <a:lnTo>
                    <a:pt x="6560" y="1268"/>
                  </a:lnTo>
                  <a:lnTo>
                    <a:pt x="6550" y="1256"/>
                  </a:lnTo>
                  <a:lnTo>
                    <a:pt x="6538" y="1241"/>
                  </a:lnTo>
                  <a:lnTo>
                    <a:pt x="6540" y="1239"/>
                  </a:lnTo>
                  <a:lnTo>
                    <a:pt x="6544" y="1238"/>
                  </a:lnTo>
                  <a:lnTo>
                    <a:pt x="6550" y="1237"/>
                  </a:lnTo>
                  <a:lnTo>
                    <a:pt x="6556" y="1236"/>
                  </a:lnTo>
                  <a:lnTo>
                    <a:pt x="6572" y="1235"/>
                  </a:lnTo>
                  <a:lnTo>
                    <a:pt x="6590" y="1235"/>
                  </a:lnTo>
                  <a:lnTo>
                    <a:pt x="6583" y="1229"/>
                  </a:lnTo>
                  <a:lnTo>
                    <a:pt x="6572" y="1219"/>
                  </a:lnTo>
                  <a:lnTo>
                    <a:pt x="6566" y="1214"/>
                  </a:lnTo>
                  <a:lnTo>
                    <a:pt x="6562" y="1210"/>
                  </a:lnTo>
                  <a:lnTo>
                    <a:pt x="6559" y="1207"/>
                  </a:lnTo>
                  <a:lnTo>
                    <a:pt x="6558" y="1204"/>
                  </a:lnTo>
                  <a:lnTo>
                    <a:pt x="6550" y="1199"/>
                  </a:lnTo>
                  <a:lnTo>
                    <a:pt x="6544" y="1194"/>
                  </a:lnTo>
                  <a:lnTo>
                    <a:pt x="6540" y="1187"/>
                  </a:lnTo>
                  <a:lnTo>
                    <a:pt x="6537" y="1180"/>
                  </a:lnTo>
                  <a:lnTo>
                    <a:pt x="6533" y="1173"/>
                  </a:lnTo>
                  <a:lnTo>
                    <a:pt x="6532" y="1163"/>
                  </a:lnTo>
                  <a:lnTo>
                    <a:pt x="6531" y="1153"/>
                  </a:lnTo>
                  <a:lnTo>
                    <a:pt x="6531" y="1142"/>
                  </a:lnTo>
                  <a:lnTo>
                    <a:pt x="6536" y="1142"/>
                  </a:lnTo>
                  <a:lnTo>
                    <a:pt x="6540" y="1140"/>
                  </a:lnTo>
                  <a:lnTo>
                    <a:pt x="6545" y="1138"/>
                  </a:lnTo>
                  <a:lnTo>
                    <a:pt x="6549" y="1136"/>
                  </a:lnTo>
                  <a:lnTo>
                    <a:pt x="6552" y="1133"/>
                  </a:lnTo>
                  <a:lnTo>
                    <a:pt x="6555" y="1130"/>
                  </a:lnTo>
                  <a:lnTo>
                    <a:pt x="6556" y="1127"/>
                  </a:lnTo>
                  <a:lnTo>
                    <a:pt x="6558" y="1124"/>
                  </a:lnTo>
                  <a:lnTo>
                    <a:pt x="6539" y="1118"/>
                  </a:lnTo>
                  <a:lnTo>
                    <a:pt x="6522" y="1110"/>
                  </a:lnTo>
                  <a:lnTo>
                    <a:pt x="6508" y="1103"/>
                  </a:lnTo>
                  <a:lnTo>
                    <a:pt x="6496" y="1095"/>
                  </a:lnTo>
                  <a:lnTo>
                    <a:pt x="6476" y="1078"/>
                  </a:lnTo>
                  <a:lnTo>
                    <a:pt x="6460" y="1063"/>
                  </a:lnTo>
                  <a:lnTo>
                    <a:pt x="6452" y="1055"/>
                  </a:lnTo>
                  <a:lnTo>
                    <a:pt x="6444" y="1048"/>
                  </a:lnTo>
                  <a:lnTo>
                    <a:pt x="6437" y="1043"/>
                  </a:lnTo>
                  <a:lnTo>
                    <a:pt x="6427" y="1039"/>
                  </a:lnTo>
                  <a:lnTo>
                    <a:pt x="6417" y="1036"/>
                  </a:lnTo>
                  <a:lnTo>
                    <a:pt x="6406" y="1035"/>
                  </a:lnTo>
                  <a:lnTo>
                    <a:pt x="6393" y="1035"/>
                  </a:lnTo>
                  <a:lnTo>
                    <a:pt x="6377" y="1037"/>
                  </a:lnTo>
                  <a:lnTo>
                    <a:pt x="6375" y="1038"/>
                  </a:lnTo>
                  <a:lnTo>
                    <a:pt x="6373" y="1037"/>
                  </a:lnTo>
                  <a:lnTo>
                    <a:pt x="6372" y="1036"/>
                  </a:lnTo>
                  <a:lnTo>
                    <a:pt x="6370" y="1035"/>
                  </a:lnTo>
                  <a:lnTo>
                    <a:pt x="6368" y="1031"/>
                  </a:lnTo>
                  <a:lnTo>
                    <a:pt x="6365" y="1025"/>
                  </a:lnTo>
                  <a:lnTo>
                    <a:pt x="6363" y="1009"/>
                  </a:lnTo>
                  <a:lnTo>
                    <a:pt x="6360" y="990"/>
                  </a:lnTo>
                  <a:lnTo>
                    <a:pt x="6358" y="981"/>
                  </a:lnTo>
                  <a:lnTo>
                    <a:pt x="6354" y="972"/>
                  </a:lnTo>
                  <a:lnTo>
                    <a:pt x="6351" y="963"/>
                  </a:lnTo>
                  <a:lnTo>
                    <a:pt x="6346" y="956"/>
                  </a:lnTo>
                  <a:lnTo>
                    <a:pt x="6340" y="949"/>
                  </a:lnTo>
                  <a:lnTo>
                    <a:pt x="6332" y="943"/>
                  </a:lnTo>
                  <a:lnTo>
                    <a:pt x="6328" y="941"/>
                  </a:lnTo>
                  <a:lnTo>
                    <a:pt x="6323" y="940"/>
                  </a:lnTo>
                  <a:lnTo>
                    <a:pt x="6317" y="939"/>
                  </a:lnTo>
                  <a:lnTo>
                    <a:pt x="6312" y="939"/>
                  </a:lnTo>
                  <a:lnTo>
                    <a:pt x="6392" y="889"/>
                  </a:lnTo>
                  <a:lnTo>
                    <a:pt x="6396" y="890"/>
                  </a:lnTo>
                  <a:lnTo>
                    <a:pt x="6399" y="894"/>
                  </a:lnTo>
                  <a:lnTo>
                    <a:pt x="6403" y="898"/>
                  </a:lnTo>
                  <a:lnTo>
                    <a:pt x="6405" y="902"/>
                  </a:lnTo>
                  <a:lnTo>
                    <a:pt x="6408" y="907"/>
                  </a:lnTo>
                  <a:lnTo>
                    <a:pt x="6413" y="911"/>
                  </a:lnTo>
                  <a:lnTo>
                    <a:pt x="6415" y="912"/>
                  </a:lnTo>
                  <a:lnTo>
                    <a:pt x="6418" y="913"/>
                  </a:lnTo>
                  <a:lnTo>
                    <a:pt x="6421" y="914"/>
                  </a:lnTo>
                  <a:lnTo>
                    <a:pt x="6425" y="914"/>
                  </a:lnTo>
                  <a:lnTo>
                    <a:pt x="6435" y="913"/>
                  </a:lnTo>
                  <a:lnTo>
                    <a:pt x="6446" y="910"/>
                  </a:lnTo>
                  <a:lnTo>
                    <a:pt x="6458" y="906"/>
                  </a:lnTo>
                  <a:lnTo>
                    <a:pt x="6470" y="901"/>
                  </a:lnTo>
                  <a:lnTo>
                    <a:pt x="6495" y="888"/>
                  </a:lnTo>
                  <a:lnTo>
                    <a:pt x="6525" y="877"/>
                  </a:lnTo>
                  <a:lnTo>
                    <a:pt x="6544" y="877"/>
                  </a:lnTo>
                  <a:lnTo>
                    <a:pt x="6547" y="885"/>
                  </a:lnTo>
                  <a:lnTo>
                    <a:pt x="6551" y="893"/>
                  </a:lnTo>
                  <a:lnTo>
                    <a:pt x="6556" y="899"/>
                  </a:lnTo>
                  <a:lnTo>
                    <a:pt x="6562" y="905"/>
                  </a:lnTo>
                  <a:lnTo>
                    <a:pt x="6576" y="915"/>
                  </a:lnTo>
                  <a:lnTo>
                    <a:pt x="6590" y="927"/>
                  </a:lnTo>
                  <a:lnTo>
                    <a:pt x="6596" y="906"/>
                  </a:lnTo>
                  <a:lnTo>
                    <a:pt x="6601" y="884"/>
                  </a:lnTo>
                  <a:lnTo>
                    <a:pt x="6605" y="873"/>
                  </a:lnTo>
                  <a:lnTo>
                    <a:pt x="6609" y="863"/>
                  </a:lnTo>
                  <a:lnTo>
                    <a:pt x="6614" y="854"/>
                  </a:lnTo>
                  <a:lnTo>
                    <a:pt x="6619" y="845"/>
                  </a:lnTo>
                  <a:lnTo>
                    <a:pt x="6626" y="835"/>
                  </a:lnTo>
                  <a:lnTo>
                    <a:pt x="6633" y="827"/>
                  </a:lnTo>
                  <a:lnTo>
                    <a:pt x="6642" y="821"/>
                  </a:lnTo>
                  <a:lnTo>
                    <a:pt x="6651" y="815"/>
                  </a:lnTo>
                  <a:lnTo>
                    <a:pt x="6662" y="810"/>
                  </a:lnTo>
                  <a:lnTo>
                    <a:pt x="6674" y="806"/>
                  </a:lnTo>
                  <a:lnTo>
                    <a:pt x="6688" y="804"/>
                  </a:lnTo>
                  <a:lnTo>
                    <a:pt x="6704" y="803"/>
                  </a:lnTo>
                  <a:lnTo>
                    <a:pt x="6701" y="799"/>
                  </a:lnTo>
                  <a:lnTo>
                    <a:pt x="6700" y="794"/>
                  </a:lnTo>
                  <a:lnTo>
                    <a:pt x="6700" y="790"/>
                  </a:lnTo>
                  <a:lnTo>
                    <a:pt x="6701" y="785"/>
                  </a:lnTo>
                  <a:lnTo>
                    <a:pt x="6702" y="775"/>
                  </a:lnTo>
                  <a:lnTo>
                    <a:pt x="6704" y="766"/>
                  </a:lnTo>
                  <a:lnTo>
                    <a:pt x="6709" y="770"/>
                  </a:lnTo>
                  <a:lnTo>
                    <a:pt x="6715" y="773"/>
                  </a:lnTo>
                  <a:lnTo>
                    <a:pt x="6721" y="775"/>
                  </a:lnTo>
                  <a:lnTo>
                    <a:pt x="6729" y="777"/>
                  </a:lnTo>
                  <a:lnTo>
                    <a:pt x="6744" y="778"/>
                  </a:lnTo>
                  <a:lnTo>
                    <a:pt x="6763" y="778"/>
                  </a:lnTo>
                  <a:lnTo>
                    <a:pt x="6774" y="781"/>
                  </a:lnTo>
                  <a:lnTo>
                    <a:pt x="6787" y="784"/>
                  </a:lnTo>
                  <a:lnTo>
                    <a:pt x="6795" y="785"/>
                  </a:lnTo>
                  <a:lnTo>
                    <a:pt x="6801" y="784"/>
                  </a:lnTo>
                  <a:lnTo>
                    <a:pt x="6809" y="783"/>
                  </a:lnTo>
                  <a:lnTo>
                    <a:pt x="6817" y="778"/>
                  </a:lnTo>
                  <a:lnTo>
                    <a:pt x="6813" y="767"/>
                  </a:lnTo>
                  <a:lnTo>
                    <a:pt x="6813" y="762"/>
                  </a:lnTo>
                  <a:lnTo>
                    <a:pt x="6816" y="757"/>
                  </a:lnTo>
                  <a:lnTo>
                    <a:pt x="6817" y="742"/>
                  </a:lnTo>
                  <a:lnTo>
                    <a:pt x="6790" y="738"/>
                  </a:lnTo>
                  <a:lnTo>
                    <a:pt x="6766" y="733"/>
                  </a:lnTo>
                  <a:lnTo>
                    <a:pt x="6743" y="727"/>
                  </a:lnTo>
                  <a:lnTo>
                    <a:pt x="6722" y="720"/>
                  </a:lnTo>
                  <a:lnTo>
                    <a:pt x="6685" y="706"/>
                  </a:lnTo>
                  <a:lnTo>
                    <a:pt x="6650" y="692"/>
                  </a:lnTo>
                  <a:lnTo>
                    <a:pt x="6632" y="685"/>
                  </a:lnTo>
                  <a:lnTo>
                    <a:pt x="6616" y="678"/>
                  </a:lnTo>
                  <a:lnTo>
                    <a:pt x="6598" y="672"/>
                  </a:lnTo>
                  <a:lnTo>
                    <a:pt x="6579" y="666"/>
                  </a:lnTo>
                  <a:lnTo>
                    <a:pt x="6561" y="662"/>
                  </a:lnTo>
                  <a:lnTo>
                    <a:pt x="6541" y="658"/>
                  </a:lnTo>
                  <a:lnTo>
                    <a:pt x="6520" y="656"/>
                  </a:lnTo>
                  <a:lnTo>
                    <a:pt x="6497" y="655"/>
                  </a:lnTo>
                  <a:lnTo>
                    <a:pt x="6543" y="659"/>
                  </a:lnTo>
                  <a:lnTo>
                    <a:pt x="6582" y="663"/>
                  </a:lnTo>
                  <a:lnTo>
                    <a:pt x="6592" y="663"/>
                  </a:lnTo>
                  <a:lnTo>
                    <a:pt x="6600" y="663"/>
                  </a:lnTo>
                  <a:lnTo>
                    <a:pt x="6610" y="662"/>
                  </a:lnTo>
                  <a:lnTo>
                    <a:pt x="6619" y="660"/>
                  </a:lnTo>
                  <a:lnTo>
                    <a:pt x="6628" y="658"/>
                  </a:lnTo>
                  <a:lnTo>
                    <a:pt x="6638" y="654"/>
                  </a:lnTo>
                  <a:lnTo>
                    <a:pt x="6648" y="649"/>
                  </a:lnTo>
                  <a:lnTo>
                    <a:pt x="6657" y="643"/>
                  </a:lnTo>
                  <a:lnTo>
                    <a:pt x="6653" y="637"/>
                  </a:lnTo>
                  <a:lnTo>
                    <a:pt x="6649" y="632"/>
                  </a:lnTo>
                  <a:lnTo>
                    <a:pt x="6644" y="627"/>
                  </a:lnTo>
                  <a:lnTo>
                    <a:pt x="6639" y="624"/>
                  </a:lnTo>
                  <a:lnTo>
                    <a:pt x="6628" y="618"/>
                  </a:lnTo>
                  <a:lnTo>
                    <a:pt x="6616" y="612"/>
                  </a:lnTo>
                  <a:lnTo>
                    <a:pt x="6605" y="607"/>
                  </a:lnTo>
                  <a:lnTo>
                    <a:pt x="6593" y="601"/>
                  </a:lnTo>
                  <a:lnTo>
                    <a:pt x="6587" y="598"/>
                  </a:lnTo>
                  <a:lnTo>
                    <a:pt x="6581" y="593"/>
                  </a:lnTo>
                  <a:lnTo>
                    <a:pt x="6576" y="588"/>
                  </a:lnTo>
                  <a:lnTo>
                    <a:pt x="6571" y="582"/>
                  </a:lnTo>
                  <a:lnTo>
                    <a:pt x="6597" y="582"/>
                  </a:lnTo>
                  <a:lnTo>
                    <a:pt x="6600" y="587"/>
                  </a:lnTo>
                  <a:lnTo>
                    <a:pt x="6605" y="592"/>
                  </a:lnTo>
                  <a:lnTo>
                    <a:pt x="6610" y="599"/>
                  </a:lnTo>
                  <a:lnTo>
                    <a:pt x="6617" y="604"/>
                  </a:lnTo>
                  <a:lnTo>
                    <a:pt x="6626" y="610"/>
                  </a:lnTo>
                  <a:lnTo>
                    <a:pt x="6634" y="615"/>
                  </a:lnTo>
                  <a:lnTo>
                    <a:pt x="6640" y="617"/>
                  </a:lnTo>
                  <a:lnTo>
                    <a:pt x="6645" y="618"/>
                  </a:lnTo>
                  <a:lnTo>
                    <a:pt x="6651" y="619"/>
                  </a:lnTo>
                  <a:lnTo>
                    <a:pt x="6657" y="619"/>
                  </a:lnTo>
                  <a:lnTo>
                    <a:pt x="6665" y="618"/>
                  </a:lnTo>
                  <a:lnTo>
                    <a:pt x="6670" y="617"/>
                  </a:lnTo>
                  <a:lnTo>
                    <a:pt x="6673" y="615"/>
                  </a:lnTo>
                  <a:lnTo>
                    <a:pt x="6675" y="612"/>
                  </a:lnTo>
                  <a:lnTo>
                    <a:pt x="6678" y="610"/>
                  </a:lnTo>
                  <a:lnTo>
                    <a:pt x="6683" y="608"/>
                  </a:lnTo>
                  <a:lnTo>
                    <a:pt x="6691" y="606"/>
                  </a:lnTo>
                  <a:lnTo>
                    <a:pt x="6704" y="606"/>
                  </a:lnTo>
                  <a:lnTo>
                    <a:pt x="6718" y="606"/>
                  </a:lnTo>
                  <a:lnTo>
                    <a:pt x="6730" y="607"/>
                  </a:lnTo>
                  <a:lnTo>
                    <a:pt x="6742" y="609"/>
                  </a:lnTo>
                  <a:lnTo>
                    <a:pt x="6752" y="612"/>
                  </a:lnTo>
                  <a:lnTo>
                    <a:pt x="6762" y="616"/>
                  </a:lnTo>
                  <a:lnTo>
                    <a:pt x="6771" y="619"/>
                  </a:lnTo>
                  <a:lnTo>
                    <a:pt x="6778" y="623"/>
                  </a:lnTo>
                  <a:lnTo>
                    <a:pt x="6786" y="627"/>
                  </a:lnTo>
                  <a:lnTo>
                    <a:pt x="6799" y="636"/>
                  </a:lnTo>
                  <a:lnTo>
                    <a:pt x="6812" y="645"/>
                  </a:lnTo>
                  <a:lnTo>
                    <a:pt x="6827" y="654"/>
                  </a:lnTo>
                  <a:lnTo>
                    <a:pt x="6843" y="661"/>
                  </a:lnTo>
                  <a:lnTo>
                    <a:pt x="6943" y="661"/>
                  </a:lnTo>
                  <a:lnTo>
                    <a:pt x="6945" y="667"/>
                  </a:lnTo>
                  <a:lnTo>
                    <a:pt x="6950" y="673"/>
                  </a:lnTo>
                  <a:lnTo>
                    <a:pt x="6955" y="676"/>
                  </a:lnTo>
                  <a:lnTo>
                    <a:pt x="6961" y="678"/>
                  </a:lnTo>
                  <a:lnTo>
                    <a:pt x="6971" y="680"/>
                  </a:lnTo>
                  <a:lnTo>
                    <a:pt x="6982" y="680"/>
                  </a:lnTo>
                  <a:lnTo>
                    <a:pt x="6989" y="680"/>
                  </a:lnTo>
                  <a:lnTo>
                    <a:pt x="7006" y="680"/>
                  </a:lnTo>
                  <a:lnTo>
                    <a:pt x="7027" y="678"/>
                  </a:lnTo>
                  <a:lnTo>
                    <a:pt x="7049" y="674"/>
                  </a:lnTo>
                  <a:lnTo>
                    <a:pt x="7031" y="668"/>
                  </a:lnTo>
                  <a:lnTo>
                    <a:pt x="7011" y="659"/>
                  </a:lnTo>
                  <a:lnTo>
                    <a:pt x="7002" y="654"/>
                  </a:lnTo>
                  <a:lnTo>
                    <a:pt x="6996" y="647"/>
                  </a:lnTo>
                  <a:lnTo>
                    <a:pt x="6993" y="644"/>
                  </a:lnTo>
                  <a:lnTo>
                    <a:pt x="6991" y="640"/>
                  </a:lnTo>
                  <a:lnTo>
                    <a:pt x="6989" y="636"/>
                  </a:lnTo>
                  <a:lnTo>
                    <a:pt x="6989" y="631"/>
                  </a:lnTo>
                  <a:lnTo>
                    <a:pt x="6990" y="621"/>
                  </a:lnTo>
                  <a:lnTo>
                    <a:pt x="6991" y="614"/>
                  </a:lnTo>
                  <a:lnTo>
                    <a:pt x="6992" y="608"/>
                  </a:lnTo>
                  <a:lnTo>
                    <a:pt x="6992" y="602"/>
                  </a:lnTo>
                  <a:lnTo>
                    <a:pt x="6991" y="593"/>
                  </a:lnTo>
                  <a:lnTo>
                    <a:pt x="6989" y="582"/>
                  </a:lnTo>
                  <a:lnTo>
                    <a:pt x="6975" y="581"/>
                  </a:lnTo>
                  <a:lnTo>
                    <a:pt x="6961" y="579"/>
                  </a:lnTo>
                  <a:lnTo>
                    <a:pt x="6947" y="577"/>
                  </a:lnTo>
                  <a:lnTo>
                    <a:pt x="6934" y="573"/>
                  </a:lnTo>
                  <a:lnTo>
                    <a:pt x="6910" y="564"/>
                  </a:lnTo>
                  <a:lnTo>
                    <a:pt x="6886" y="553"/>
                  </a:lnTo>
                  <a:lnTo>
                    <a:pt x="6861" y="543"/>
                  </a:lnTo>
                  <a:lnTo>
                    <a:pt x="6835" y="535"/>
                  </a:lnTo>
                  <a:lnTo>
                    <a:pt x="6821" y="531"/>
                  </a:lnTo>
                  <a:lnTo>
                    <a:pt x="6807" y="529"/>
                  </a:lnTo>
                  <a:lnTo>
                    <a:pt x="6793" y="527"/>
                  </a:lnTo>
                  <a:lnTo>
                    <a:pt x="6776" y="526"/>
                  </a:lnTo>
                  <a:lnTo>
                    <a:pt x="6769" y="527"/>
                  </a:lnTo>
                  <a:lnTo>
                    <a:pt x="6761" y="531"/>
                  </a:lnTo>
                  <a:lnTo>
                    <a:pt x="6756" y="533"/>
                  </a:lnTo>
                  <a:lnTo>
                    <a:pt x="6753" y="536"/>
                  </a:lnTo>
                  <a:lnTo>
                    <a:pt x="6751" y="540"/>
                  </a:lnTo>
                  <a:lnTo>
                    <a:pt x="6750" y="544"/>
                  </a:lnTo>
                  <a:lnTo>
                    <a:pt x="6751" y="547"/>
                  </a:lnTo>
                  <a:lnTo>
                    <a:pt x="6752" y="548"/>
                  </a:lnTo>
                  <a:lnTo>
                    <a:pt x="6754" y="550"/>
                  </a:lnTo>
                  <a:lnTo>
                    <a:pt x="6757" y="552"/>
                  </a:lnTo>
                  <a:lnTo>
                    <a:pt x="6765" y="555"/>
                  </a:lnTo>
                  <a:lnTo>
                    <a:pt x="6775" y="559"/>
                  </a:lnTo>
                  <a:lnTo>
                    <a:pt x="6785" y="563"/>
                  </a:lnTo>
                  <a:lnTo>
                    <a:pt x="6795" y="567"/>
                  </a:lnTo>
                  <a:lnTo>
                    <a:pt x="6799" y="570"/>
                  </a:lnTo>
                  <a:lnTo>
                    <a:pt x="6803" y="574"/>
                  </a:lnTo>
                  <a:lnTo>
                    <a:pt x="6807" y="577"/>
                  </a:lnTo>
                  <a:lnTo>
                    <a:pt x="6810" y="582"/>
                  </a:lnTo>
                  <a:lnTo>
                    <a:pt x="6778" y="567"/>
                  </a:lnTo>
                  <a:lnTo>
                    <a:pt x="6751" y="552"/>
                  </a:lnTo>
                  <a:lnTo>
                    <a:pt x="6728" y="539"/>
                  </a:lnTo>
                  <a:lnTo>
                    <a:pt x="6706" y="528"/>
                  </a:lnTo>
                  <a:lnTo>
                    <a:pt x="6684" y="517"/>
                  </a:lnTo>
                  <a:lnTo>
                    <a:pt x="6660" y="506"/>
                  </a:lnTo>
                  <a:lnTo>
                    <a:pt x="6631" y="494"/>
                  </a:lnTo>
                  <a:lnTo>
                    <a:pt x="6597" y="483"/>
                  </a:lnTo>
                  <a:lnTo>
                    <a:pt x="6573" y="477"/>
                  </a:lnTo>
                  <a:lnTo>
                    <a:pt x="6548" y="471"/>
                  </a:lnTo>
                  <a:lnTo>
                    <a:pt x="6525" y="466"/>
                  </a:lnTo>
                  <a:lnTo>
                    <a:pt x="6500" y="462"/>
                  </a:lnTo>
                  <a:lnTo>
                    <a:pt x="6454" y="455"/>
                  </a:lnTo>
                  <a:lnTo>
                    <a:pt x="6408" y="450"/>
                  </a:lnTo>
                  <a:lnTo>
                    <a:pt x="6363" y="443"/>
                  </a:lnTo>
                  <a:lnTo>
                    <a:pt x="6318" y="436"/>
                  </a:lnTo>
                  <a:lnTo>
                    <a:pt x="6295" y="432"/>
                  </a:lnTo>
                  <a:lnTo>
                    <a:pt x="6272" y="427"/>
                  </a:lnTo>
                  <a:lnTo>
                    <a:pt x="6249" y="422"/>
                  </a:lnTo>
                  <a:lnTo>
                    <a:pt x="6225" y="415"/>
                  </a:lnTo>
                  <a:lnTo>
                    <a:pt x="6146" y="415"/>
                  </a:lnTo>
                  <a:lnTo>
                    <a:pt x="6133" y="407"/>
                  </a:lnTo>
                  <a:lnTo>
                    <a:pt x="6121" y="402"/>
                  </a:lnTo>
                  <a:lnTo>
                    <a:pt x="6114" y="400"/>
                  </a:lnTo>
                  <a:lnTo>
                    <a:pt x="6106" y="398"/>
                  </a:lnTo>
                  <a:lnTo>
                    <a:pt x="6096" y="397"/>
                  </a:lnTo>
                  <a:lnTo>
                    <a:pt x="6085" y="397"/>
                  </a:lnTo>
                  <a:lnTo>
                    <a:pt x="6071" y="398"/>
                  </a:lnTo>
                  <a:lnTo>
                    <a:pt x="6058" y="400"/>
                  </a:lnTo>
                  <a:lnTo>
                    <a:pt x="6045" y="403"/>
                  </a:lnTo>
                  <a:lnTo>
                    <a:pt x="6033" y="406"/>
                  </a:lnTo>
                  <a:lnTo>
                    <a:pt x="6020" y="410"/>
                  </a:lnTo>
                  <a:lnTo>
                    <a:pt x="6007" y="412"/>
                  </a:lnTo>
                  <a:lnTo>
                    <a:pt x="5993" y="415"/>
                  </a:lnTo>
                  <a:lnTo>
                    <a:pt x="5979" y="415"/>
                  </a:lnTo>
                  <a:lnTo>
                    <a:pt x="5971" y="415"/>
                  </a:lnTo>
                  <a:lnTo>
                    <a:pt x="5960" y="412"/>
                  </a:lnTo>
                  <a:lnTo>
                    <a:pt x="5945" y="409"/>
                  </a:lnTo>
                  <a:lnTo>
                    <a:pt x="5929" y="405"/>
                  </a:lnTo>
                  <a:lnTo>
                    <a:pt x="5913" y="400"/>
                  </a:lnTo>
                  <a:lnTo>
                    <a:pt x="5899" y="395"/>
                  </a:lnTo>
                  <a:lnTo>
                    <a:pt x="5887" y="389"/>
                  </a:lnTo>
                  <a:lnTo>
                    <a:pt x="5880" y="384"/>
                  </a:lnTo>
                  <a:lnTo>
                    <a:pt x="5833" y="384"/>
                  </a:lnTo>
                  <a:lnTo>
                    <a:pt x="5835" y="394"/>
                  </a:lnTo>
                  <a:lnTo>
                    <a:pt x="5838" y="402"/>
                  </a:lnTo>
                  <a:lnTo>
                    <a:pt x="5843" y="410"/>
                  </a:lnTo>
                  <a:lnTo>
                    <a:pt x="5847" y="417"/>
                  </a:lnTo>
                  <a:lnTo>
                    <a:pt x="5853" y="423"/>
                  </a:lnTo>
                  <a:lnTo>
                    <a:pt x="5859" y="429"/>
                  </a:lnTo>
                  <a:lnTo>
                    <a:pt x="5866" y="435"/>
                  </a:lnTo>
                  <a:lnTo>
                    <a:pt x="5872" y="439"/>
                  </a:lnTo>
                  <a:lnTo>
                    <a:pt x="5895" y="454"/>
                  </a:lnTo>
                  <a:lnTo>
                    <a:pt x="5906" y="459"/>
                  </a:lnTo>
                  <a:lnTo>
                    <a:pt x="5883" y="448"/>
                  </a:lnTo>
                  <a:lnTo>
                    <a:pt x="5860" y="435"/>
                  </a:lnTo>
                  <a:lnTo>
                    <a:pt x="5848" y="430"/>
                  </a:lnTo>
                  <a:lnTo>
                    <a:pt x="5834" y="425"/>
                  </a:lnTo>
                  <a:lnTo>
                    <a:pt x="5826" y="424"/>
                  </a:lnTo>
                  <a:lnTo>
                    <a:pt x="5819" y="422"/>
                  </a:lnTo>
                  <a:lnTo>
                    <a:pt x="5810" y="422"/>
                  </a:lnTo>
                  <a:lnTo>
                    <a:pt x="5800" y="421"/>
                  </a:lnTo>
                  <a:lnTo>
                    <a:pt x="5804" y="417"/>
                  </a:lnTo>
                  <a:lnTo>
                    <a:pt x="5807" y="412"/>
                  </a:lnTo>
                  <a:lnTo>
                    <a:pt x="5809" y="405"/>
                  </a:lnTo>
                  <a:lnTo>
                    <a:pt x="5813" y="397"/>
                  </a:lnTo>
                  <a:lnTo>
                    <a:pt x="5796" y="397"/>
                  </a:lnTo>
                  <a:lnTo>
                    <a:pt x="5781" y="396"/>
                  </a:lnTo>
                  <a:lnTo>
                    <a:pt x="5767" y="395"/>
                  </a:lnTo>
                  <a:lnTo>
                    <a:pt x="5754" y="390"/>
                  </a:lnTo>
                  <a:lnTo>
                    <a:pt x="5753" y="395"/>
                  </a:lnTo>
                  <a:lnTo>
                    <a:pt x="5752" y="399"/>
                  </a:lnTo>
                  <a:lnTo>
                    <a:pt x="5751" y="402"/>
                  </a:lnTo>
                  <a:lnTo>
                    <a:pt x="5748" y="405"/>
                  </a:lnTo>
                  <a:lnTo>
                    <a:pt x="5745" y="407"/>
                  </a:lnTo>
                  <a:lnTo>
                    <a:pt x="5742" y="409"/>
                  </a:lnTo>
                  <a:lnTo>
                    <a:pt x="5737" y="411"/>
                  </a:lnTo>
                  <a:lnTo>
                    <a:pt x="5733" y="412"/>
                  </a:lnTo>
                  <a:lnTo>
                    <a:pt x="5724" y="414"/>
                  </a:lnTo>
                  <a:lnTo>
                    <a:pt x="5714" y="415"/>
                  </a:lnTo>
                  <a:lnTo>
                    <a:pt x="5703" y="415"/>
                  </a:lnTo>
                  <a:lnTo>
                    <a:pt x="5693" y="415"/>
                  </a:lnTo>
                  <a:lnTo>
                    <a:pt x="5667" y="415"/>
                  </a:lnTo>
                  <a:lnTo>
                    <a:pt x="5643" y="413"/>
                  </a:lnTo>
                  <a:lnTo>
                    <a:pt x="5621" y="411"/>
                  </a:lnTo>
                  <a:lnTo>
                    <a:pt x="5599" y="409"/>
                  </a:lnTo>
                  <a:lnTo>
                    <a:pt x="5578" y="407"/>
                  </a:lnTo>
                  <a:lnTo>
                    <a:pt x="5557" y="408"/>
                  </a:lnTo>
                  <a:lnTo>
                    <a:pt x="5546" y="409"/>
                  </a:lnTo>
                  <a:lnTo>
                    <a:pt x="5536" y="410"/>
                  </a:lnTo>
                  <a:lnTo>
                    <a:pt x="5525" y="412"/>
                  </a:lnTo>
                  <a:lnTo>
                    <a:pt x="5514" y="415"/>
                  </a:lnTo>
                  <a:lnTo>
                    <a:pt x="5528" y="430"/>
                  </a:lnTo>
                  <a:lnTo>
                    <a:pt x="5539" y="439"/>
                  </a:lnTo>
                  <a:lnTo>
                    <a:pt x="5551" y="450"/>
                  </a:lnTo>
                  <a:lnTo>
                    <a:pt x="5567" y="465"/>
                  </a:lnTo>
                  <a:lnTo>
                    <a:pt x="5531" y="450"/>
                  </a:lnTo>
                  <a:lnTo>
                    <a:pt x="5497" y="437"/>
                  </a:lnTo>
                  <a:lnTo>
                    <a:pt x="5465" y="426"/>
                  </a:lnTo>
                  <a:lnTo>
                    <a:pt x="5433" y="414"/>
                  </a:lnTo>
                  <a:lnTo>
                    <a:pt x="5419" y="407"/>
                  </a:lnTo>
                  <a:lnTo>
                    <a:pt x="5404" y="400"/>
                  </a:lnTo>
                  <a:lnTo>
                    <a:pt x="5388" y="392"/>
                  </a:lnTo>
                  <a:lnTo>
                    <a:pt x="5374" y="383"/>
                  </a:lnTo>
                  <a:lnTo>
                    <a:pt x="5360" y="373"/>
                  </a:lnTo>
                  <a:lnTo>
                    <a:pt x="5344" y="362"/>
                  </a:lnTo>
                  <a:lnTo>
                    <a:pt x="5330" y="350"/>
                  </a:lnTo>
                  <a:lnTo>
                    <a:pt x="5315" y="336"/>
                  </a:lnTo>
                  <a:lnTo>
                    <a:pt x="5109" y="336"/>
                  </a:lnTo>
                  <a:lnTo>
                    <a:pt x="5104" y="337"/>
                  </a:lnTo>
                  <a:lnTo>
                    <a:pt x="5099" y="339"/>
                  </a:lnTo>
                  <a:lnTo>
                    <a:pt x="5094" y="343"/>
                  </a:lnTo>
                  <a:lnTo>
                    <a:pt x="5090" y="348"/>
                  </a:lnTo>
                  <a:lnTo>
                    <a:pt x="5009" y="354"/>
                  </a:lnTo>
                  <a:lnTo>
                    <a:pt x="5003" y="353"/>
                  </a:lnTo>
                  <a:lnTo>
                    <a:pt x="4996" y="353"/>
                  </a:lnTo>
                  <a:lnTo>
                    <a:pt x="4991" y="351"/>
                  </a:lnTo>
                  <a:lnTo>
                    <a:pt x="4986" y="349"/>
                  </a:lnTo>
                  <a:lnTo>
                    <a:pt x="4979" y="344"/>
                  </a:lnTo>
                  <a:lnTo>
                    <a:pt x="4972" y="339"/>
                  </a:lnTo>
                  <a:lnTo>
                    <a:pt x="4964" y="332"/>
                  </a:lnTo>
                  <a:lnTo>
                    <a:pt x="4956" y="327"/>
                  </a:lnTo>
                  <a:lnTo>
                    <a:pt x="4951" y="325"/>
                  </a:lnTo>
                  <a:lnTo>
                    <a:pt x="4945" y="324"/>
                  </a:lnTo>
                  <a:lnTo>
                    <a:pt x="4938" y="323"/>
                  </a:lnTo>
                  <a:lnTo>
                    <a:pt x="4929" y="323"/>
                  </a:lnTo>
                  <a:lnTo>
                    <a:pt x="4924" y="323"/>
                  </a:lnTo>
                  <a:lnTo>
                    <a:pt x="4918" y="324"/>
                  </a:lnTo>
                  <a:lnTo>
                    <a:pt x="4916" y="326"/>
                  </a:lnTo>
                  <a:lnTo>
                    <a:pt x="4913" y="329"/>
                  </a:lnTo>
                  <a:lnTo>
                    <a:pt x="4911" y="331"/>
                  </a:lnTo>
                  <a:lnTo>
                    <a:pt x="4907" y="333"/>
                  </a:lnTo>
                  <a:lnTo>
                    <a:pt x="4903" y="334"/>
                  </a:lnTo>
                  <a:lnTo>
                    <a:pt x="4896" y="336"/>
                  </a:lnTo>
                  <a:lnTo>
                    <a:pt x="4884" y="334"/>
                  </a:lnTo>
                  <a:lnTo>
                    <a:pt x="4873" y="332"/>
                  </a:lnTo>
                  <a:lnTo>
                    <a:pt x="4863" y="328"/>
                  </a:lnTo>
                  <a:lnTo>
                    <a:pt x="4853" y="324"/>
                  </a:lnTo>
                  <a:lnTo>
                    <a:pt x="4836" y="314"/>
                  </a:lnTo>
                  <a:lnTo>
                    <a:pt x="4816" y="304"/>
                  </a:lnTo>
                  <a:lnTo>
                    <a:pt x="4830" y="292"/>
                  </a:lnTo>
                  <a:lnTo>
                    <a:pt x="4826" y="290"/>
                  </a:lnTo>
                  <a:lnTo>
                    <a:pt x="4816" y="286"/>
                  </a:lnTo>
                  <a:lnTo>
                    <a:pt x="4808" y="284"/>
                  </a:lnTo>
                  <a:lnTo>
                    <a:pt x="4799" y="282"/>
                  </a:lnTo>
                  <a:lnTo>
                    <a:pt x="4789" y="281"/>
                  </a:lnTo>
                  <a:lnTo>
                    <a:pt x="4777" y="279"/>
                  </a:lnTo>
                  <a:lnTo>
                    <a:pt x="4766" y="281"/>
                  </a:lnTo>
                  <a:lnTo>
                    <a:pt x="4757" y="281"/>
                  </a:lnTo>
                  <a:lnTo>
                    <a:pt x="4748" y="283"/>
                  </a:lnTo>
                  <a:lnTo>
                    <a:pt x="4740" y="285"/>
                  </a:lnTo>
                  <a:lnTo>
                    <a:pt x="4728" y="290"/>
                  </a:lnTo>
                  <a:lnTo>
                    <a:pt x="4717" y="295"/>
                  </a:lnTo>
                  <a:lnTo>
                    <a:pt x="4710" y="301"/>
                  </a:lnTo>
                  <a:lnTo>
                    <a:pt x="4701" y="306"/>
                  </a:lnTo>
                  <a:lnTo>
                    <a:pt x="4698" y="308"/>
                  </a:lnTo>
                  <a:lnTo>
                    <a:pt x="4693" y="309"/>
                  </a:lnTo>
                  <a:lnTo>
                    <a:pt x="4689" y="310"/>
                  </a:lnTo>
                  <a:lnTo>
                    <a:pt x="4683" y="310"/>
                  </a:lnTo>
                  <a:lnTo>
                    <a:pt x="4670" y="310"/>
                  </a:lnTo>
                  <a:lnTo>
                    <a:pt x="4657" y="310"/>
                  </a:lnTo>
                  <a:lnTo>
                    <a:pt x="4657" y="279"/>
                  </a:lnTo>
                  <a:lnTo>
                    <a:pt x="4650" y="275"/>
                  </a:lnTo>
                  <a:lnTo>
                    <a:pt x="4644" y="272"/>
                  </a:lnTo>
                  <a:lnTo>
                    <a:pt x="4638" y="271"/>
                  </a:lnTo>
                  <a:lnTo>
                    <a:pt x="4633" y="270"/>
                  </a:lnTo>
                  <a:lnTo>
                    <a:pt x="4627" y="271"/>
                  </a:lnTo>
                  <a:lnTo>
                    <a:pt x="4621" y="272"/>
                  </a:lnTo>
                  <a:lnTo>
                    <a:pt x="4613" y="275"/>
                  </a:lnTo>
                  <a:lnTo>
                    <a:pt x="4604" y="279"/>
                  </a:lnTo>
                  <a:lnTo>
                    <a:pt x="4603" y="277"/>
                  </a:lnTo>
                  <a:lnTo>
                    <a:pt x="4601" y="275"/>
                  </a:lnTo>
                  <a:lnTo>
                    <a:pt x="4599" y="273"/>
                  </a:lnTo>
                  <a:lnTo>
                    <a:pt x="4597" y="272"/>
                  </a:lnTo>
                  <a:lnTo>
                    <a:pt x="4589" y="270"/>
                  </a:lnTo>
                  <a:lnTo>
                    <a:pt x="4579" y="268"/>
                  </a:lnTo>
                  <a:lnTo>
                    <a:pt x="4557" y="267"/>
                  </a:lnTo>
                  <a:lnTo>
                    <a:pt x="4532" y="267"/>
                  </a:lnTo>
                  <a:lnTo>
                    <a:pt x="4486" y="271"/>
                  </a:lnTo>
                  <a:lnTo>
                    <a:pt x="4465" y="273"/>
                  </a:lnTo>
                  <a:lnTo>
                    <a:pt x="4398" y="273"/>
                  </a:lnTo>
                  <a:lnTo>
                    <a:pt x="4399" y="276"/>
                  </a:lnTo>
                  <a:lnTo>
                    <a:pt x="4400" y="279"/>
                  </a:lnTo>
                  <a:lnTo>
                    <a:pt x="4402" y="283"/>
                  </a:lnTo>
                  <a:lnTo>
                    <a:pt x="4405" y="285"/>
                  </a:lnTo>
                  <a:lnTo>
                    <a:pt x="4409" y="288"/>
                  </a:lnTo>
                  <a:lnTo>
                    <a:pt x="4412" y="290"/>
                  </a:lnTo>
                  <a:lnTo>
                    <a:pt x="4415" y="292"/>
                  </a:lnTo>
                  <a:lnTo>
                    <a:pt x="4418" y="292"/>
                  </a:lnTo>
                  <a:lnTo>
                    <a:pt x="4420" y="299"/>
                  </a:lnTo>
                  <a:lnTo>
                    <a:pt x="4425" y="307"/>
                  </a:lnTo>
                  <a:lnTo>
                    <a:pt x="4432" y="316"/>
                  </a:lnTo>
                  <a:lnTo>
                    <a:pt x="4438" y="323"/>
                  </a:lnTo>
                  <a:lnTo>
                    <a:pt x="4429" y="323"/>
                  </a:lnTo>
                  <a:lnTo>
                    <a:pt x="4420" y="324"/>
                  </a:lnTo>
                  <a:lnTo>
                    <a:pt x="4412" y="326"/>
                  </a:lnTo>
                  <a:lnTo>
                    <a:pt x="4403" y="329"/>
                  </a:lnTo>
                  <a:lnTo>
                    <a:pt x="4394" y="331"/>
                  </a:lnTo>
                  <a:lnTo>
                    <a:pt x="4383" y="333"/>
                  </a:lnTo>
                  <a:lnTo>
                    <a:pt x="4373" y="334"/>
                  </a:lnTo>
                  <a:lnTo>
                    <a:pt x="4358" y="336"/>
                  </a:lnTo>
                  <a:lnTo>
                    <a:pt x="4337" y="334"/>
                  </a:lnTo>
                  <a:lnTo>
                    <a:pt x="4317" y="331"/>
                  </a:lnTo>
                  <a:lnTo>
                    <a:pt x="4295" y="327"/>
                  </a:lnTo>
                  <a:lnTo>
                    <a:pt x="4272" y="323"/>
                  </a:lnTo>
                  <a:lnTo>
                    <a:pt x="4250" y="318"/>
                  </a:lnTo>
                  <a:lnTo>
                    <a:pt x="4228" y="314"/>
                  </a:lnTo>
                  <a:lnTo>
                    <a:pt x="4206" y="311"/>
                  </a:lnTo>
                  <a:lnTo>
                    <a:pt x="4186" y="310"/>
                  </a:lnTo>
                  <a:lnTo>
                    <a:pt x="4176" y="310"/>
                  </a:lnTo>
                  <a:lnTo>
                    <a:pt x="4166" y="310"/>
                  </a:lnTo>
                  <a:lnTo>
                    <a:pt x="4166" y="348"/>
                  </a:lnTo>
                  <a:lnTo>
                    <a:pt x="4139" y="348"/>
                  </a:lnTo>
                  <a:lnTo>
                    <a:pt x="4131" y="345"/>
                  </a:lnTo>
                  <a:lnTo>
                    <a:pt x="4122" y="342"/>
                  </a:lnTo>
                  <a:lnTo>
                    <a:pt x="4113" y="340"/>
                  </a:lnTo>
                  <a:lnTo>
                    <a:pt x="4102" y="338"/>
                  </a:lnTo>
                  <a:lnTo>
                    <a:pt x="4082" y="333"/>
                  </a:lnTo>
                  <a:lnTo>
                    <a:pt x="4060" y="330"/>
                  </a:lnTo>
                  <a:lnTo>
                    <a:pt x="4039" y="326"/>
                  </a:lnTo>
                  <a:lnTo>
                    <a:pt x="4019" y="321"/>
                  </a:lnTo>
                  <a:lnTo>
                    <a:pt x="4009" y="318"/>
                  </a:lnTo>
                  <a:lnTo>
                    <a:pt x="4000" y="314"/>
                  </a:lnTo>
                  <a:lnTo>
                    <a:pt x="3993" y="310"/>
                  </a:lnTo>
                  <a:lnTo>
                    <a:pt x="3986" y="304"/>
                  </a:lnTo>
                  <a:lnTo>
                    <a:pt x="3946" y="304"/>
                  </a:lnTo>
                  <a:lnTo>
                    <a:pt x="3953" y="317"/>
                  </a:lnTo>
                  <a:lnTo>
                    <a:pt x="3960" y="329"/>
                  </a:lnTo>
                  <a:lnTo>
                    <a:pt x="3941" y="318"/>
                  </a:lnTo>
                  <a:lnTo>
                    <a:pt x="3920" y="305"/>
                  </a:lnTo>
                  <a:lnTo>
                    <a:pt x="3898" y="294"/>
                  </a:lnTo>
                  <a:lnTo>
                    <a:pt x="3880" y="286"/>
                  </a:lnTo>
                  <a:lnTo>
                    <a:pt x="3820" y="286"/>
                  </a:lnTo>
                  <a:lnTo>
                    <a:pt x="3820" y="287"/>
                  </a:lnTo>
                  <a:lnTo>
                    <a:pt x="3819" y="288"/>
                  </a:lnTo>
                  <a:lnTo>
                    <a:pt x="3818" y="288"/>
                  </a:lnTo>
                  <a:lnTo>
                    <a:pt x="3816" y="287"/>
                  </a:lnTo>
                  <a:lnTo>
                    <a:pt x="3809" y="286"/>
                  </a:lnTo>
                  <a:lnTo>
                    <a:pt x="3800" y="283"/>
                  </a:lnTo>
                  <a:lnTo>
                    <a:pt x="3777" y="274"/>
                  </a:lnTo>
                  <a:lnTo>
                    <a:pt x="3752" y="265"/>
                  </a:lnTo>
                  <a:lnTo>
                    <a:pt x="3727" y="256"/>
                  </a:lnTo>
                  <a:lnTo>
                    <a:pt x="3706" y="249"/>
                  </a:lnTo>
                  <a:lnTo>
                    <a:pt x="3698" y="247"/>
                  </a:lnTo>
                  <a:lnTo>
                    <a:pt x="3694" y="246"/>
                  </a:lnTo>
                  <a:lnTo>
                    <a:pt x="3693" y="246"/>
                  </a:lnTo>
                  <a:lnTo>
                    <a:pt x="3692" y="247"/>
                  </a:lnTo>
                  <a:lnTo>
                    <a:pt x="3693" y="248"/>
                  </a:lnTo>
                  <a:lnTo>
                    <a:pt x="3694" y="249"/>
                  </a:lnTo>
                  <a:lnTo>
                    <a:pt x="3677" y="249"/>
                  </a:lnTo>
                  <a:lnTo>
                    <a:pt x="3663" y="251"/>
                  </a:lnTo>
                  <a:lnTo>
                    <a:pt x="3650" y="253"/>
                  </a:lnTo>
                  <a:lnTo>
                    <a:pt x="3637" y="255"/>
                  </a:lnTo>
                  <a:lnTo>
                    <a:pt x="3624" y="257"/>
                  </a:lnTo>
                  <a:lnTo>
                    <a:pt x="3608" y="259"/>
                  </a:lnTo>
                  <a:lnTo>
                    <a:pt x="3593" y="261"/>
                  </a:lnTo>
                  <a:lnTo>
                    <a:pt x="3574" y="261"/>
                  </a:lnTo>
                  <a:lnTo>
                    <a:pt x="3559" y="261"/>
                  </a:lnTo>
                  <a:lnTo>
                    <a:pt x="3544" y="260"/>
                  </a:lnTo>
                  <a:lnTo>
                    <a:pt x="3528" y="258"/>
                  </a:lnTo>
                  <a:lnTo>
                    <a:pt x="3515" y="256"/>
                  </a:lnTo>
                  <a:lnTo>
                    <a:pt x="3488" y="252"/>
                  </a:lnTo>
                  <a:lnTo>
                    <a:pt x="3461" y="246"/>
                  </a:lnTo>
                  <a:lnTo>
                    <a:pt x="3435" y="240"/>
                  </a:lnTo>
                  <a:lnTo>
                    <a:pt x="3408" y="236"/>
                  </a:lnTo>
                  <a:lnTo>
                    <a:pt x="3394" y="234"/>
                  </a:lnTo>
                  <a:lnTo>
                    <a:pt x="3379" y="232"/>
                  </a:lnTo>
                  <a:lnTo>
                    <a:pt x="3365" y="231"/>
                  </a:lnTo>
                  <a:lnTo>
                    <a:pt x="3348" y="231"/>
                  </a:lnTo>
                  <a:lnTo>
                    <a:pt x="3334" y="227"/>
                  </a:lnTo>
                  <a:lnTo>
                    <a:pt x="3313" y="219"/>
                  </a:lnTo>
                  <a:lnTo>
                    <a:pt x="3304" y="216"/>
                  </a:lnTo>
                  <a:lnTo>
                    <a:pt x="3296" y="214"/>
                  </a:lnTo>
                  <a:lnTo>
                    <a:pt x="3293" y="214"/>
                  </a:lnTo>
                  <a:lnTo>
                    <a:pt x="3291" y="215"/>
                  </a:lnTo>
                  <a:lnTo>
                    <a:pt x="3289" y="216"/>
                  </a:lnTo>
                  <a:lnTo>
                    <a:pt x="3289" y="218"/>
                  </a:lnTo>
                  <a:lnTo>
                    <a:pt x="3289" y="221"/>
                  </a:lnTo>
                  <a:lnTo>
                    <a:pt x="3290" y="226"/>
                  </a:lnTo>
                  <a:lnTo>
                    <a:pt x="3292" y="229"/>
                  </a:lnTo>
                  <a:lnTo>
                    <a:pt x="3295" y="233"/>
                  </a:lnTo>
                  <a:lnTo>
                    <a:pt x="3302" y="240"/>
                  </a:lnTo>
                  <a:lnTo>
                    <a:pt x="3310" y="247"/>
                  </a:lnTo>
                  <a:lnTo>
                    <a:pt x="3320" y="252"/>
                  </a:lnTo>
                  <a:lnTo>
                    <a:pt x="3328" y="257"/>
                  </a:lnTo>
                  <a:lnTo>
                    <a:pt x="3336" y="260"/>
                  </a:lnTo>
                  <a:lnTo>
                    <a:pt x="3341" y="261"/>
                  </a:lnTo>
                  <a:lnTo>
                    <a:pt x="3332" y="260"/>
                  </a:lnTo>
                  <a:lnTo>
                    <a:pt x="3323" y="257"/>
                  </a:lnTo>
                  <a:lnTo>
                    <a:pt x="3314" y="255"/>
                  </a:lnTo>
                  <a:lnTo>
                    <a:pt x="3305" y="251"/>
                  </a:lnTo>
                  <a:lnTo>
                    <a:pt x="3290" y="244"/>
                  </a:lnTo>
                  <a:lnTo>
                    <a:pt x="3273" y="235"/>
                  </a:lnTo>
                  <a:lnTo>
                    <a:pt x="3257" y="225"/>
                  </a:lnTo>
                  <a:lnTo>
                    <a:pt x="3239" y="213"/>
                  </a:lnTo>
                  <a:lnTo>
                    <a:pt x="3219" y="203"/>
                  </a:lnTo>
                  <a:lnTo>
                    <a:pt x="3195" y="193"/>
                  </a:lnTo>
                  <a:lnTo>
                    <a:pt x="3198" y="192"/>
                  </a:lnTo>
                  <a:lnTo>
                    <a:pt x="3200" y="190"/>
                  </a:lnTo>
                  <a:lnTo>
                    <a:pt x="3201" y="186"/>
                  </a:lnTo>
                  <a:lnTo>
                    <a:pt x="3201" y="181"/>
                  </a:lnTo>
                  <a:lnTo>
                    <a:pt x="3202" y="173"/>
                  </a:lnTo>
                  <a:lnTo>
                    <a:pt x="3202" y="169"/>
                  </a:lnTo>
                  <a:lnTo>
                    <a:pt x="3169" y="169"/>
                  </a:lnTo>
                  <a:lnTo>
                    <a:pt x="3164" y="170"/>
                  </a:lnTo>
                  <a:lnTo>
                    <a:pt x="3159" y="173"/>
                  </a:lnTo>
                  <a:lnTo>
                    <a:pt x="3154" y="177"/>
                  </a:lnTo>
                  <a:lnTo>
                    <a:pt x="3149" y="181"/>
                  </a:lnTo>
                  <a:lnTo>
                    <a:pt x="3153" y="187"/>
                  </a:lnTo>
                  <a:lnTo>
                    <a:pt x="3156" y="193"/>
                  </a:lnTo>
                  <a:lnTo>
                    <a:pt x="3144" y="196"/>
                  </a:lnTo>
                  <a:lnTo>
                    <a:pt x="3133" y="199"/>
                  </a:lnTo>
                  <a:lnTo>
                    <a:pt x="3122" y="203"/>
                  </a:lnTo>
                  <a:lnTo>
                    <a:pt x="3112" y="206"/>
                  </a:lnTo>
                  <a:lnTo>
                    <a:pt x="3093" y="215"/>
                  </a:lnTo>
                  <a:lnTo>
                    <a:pt x="3076" y="225"/>
                  </a:lnTo>
                  <a:lnTo>
                    <a:pt x="3058" y="235"/>
                  </a:lnTo>
                  <a:lnTo>
                    <a:pt x="3040" y="245"/>
                  </a:lnTo>
                  <a:lnTo>
                    <a:pt x="3030" y="249"/>
                  </a:lnTo>
                  <a:lnTo>
                    <a:pt x="3020" y="253"/>
                  </a:lnTo>
                  <a:lnTo>
                    <a:pt x="3008" y="257"/>
                  </a:lnTo>
                  <a:lnTo>
                    <a:pt x="2997" y="261"/>
                  </a:lnTo>
                  <a:lnTo>
                    <a:pt x="2997" y="257"/>
                  </a:lnTo>
                  <a:lnTo>
                    <a:pt x="2998" y="252"/>
                  </a:lnTo>
                  <a:lnTo>
                    <a:pt x="2999" y="248"/>
                  </a:lnTo>
                  <a:lnTo>
                    <a:pt x="3002" y="243"/>
                  </a:lnTo>
                  <a:lnTo>
                    <a:pt x="3008" y="235"/>
                  </a:lnTo>
                  <a:lnTo>
                    <a:pt x="3016" y="226"/>
                  </a:lnTo>
                  <a:lnTo>
                    <a:pt x="3026" y="217"/>
                  </a:lnTo>
                  <a:lnTo>
                    <a:pt x="3038" y="209"/>
                  </a:lnTo>
                  <a:lnTo>
                    <a:pt x="3052" y="201"/>
                  </a:lnTo>
                  <a:lnTo>
                    <a:pt x="3065" y="193"/>
                  </a:lnTo>
                  <a:lnTo>
                    <a:pt x="3093" y="179"/>
                  </a:lnTo>
                  <a:lnTo>
                    <a:pt x="3122" y="165"/>
                  </a:lnTo>
                  <a:lnTo>
                    <a:pt x="3148" y="154"/>
                  </a:lnTo>
                  <a:lnTo>
                    <a:pt x="3169" y="144"/>
                  </a:lnTo>
                  <a:lnTo>
                    <a:pt x="3157" y="136"/>
                  </a:lnTo>
                  <a:lnTo>
                    <a:pt x="3144" y="129"/>
                  </a:lnTo>
                  <a:lnTo>
                    <a:pt x="3130" y="122"/>
                  </a:lnTo>
                  <a:lnTo>
                    <a:pt x="3114" y="115"/>
                  </a:lnTo>
                  <a:lnTo>
                    <a:pt x="3098" y="107"/>
                  </a:lnTo>
                  <a:lnTo>
                    <a:pt x="3080" y="102"/>
                  </a:lnTo>
                  <a:lnTo>
                    <a:pt x="3063" y="96"/>
                  </a:lnTo>
                  <a:lnTo>
                    <a:pt x="3044" y="91"/>
                  </a:lnTo>
                  <a:lnTo>
                    <a:pt x="3024" y="86"/>
                  </a:lnTo>
                  <a:lnTo>
                    <a:pt x="3004" y="82"/>
                  </a:lnTo>
                  <a:lnTo>
                    <a:pt x="2985" y="79"/>
                  </a:lnTo>
                  <a:lnTo>
                    <a:pt x="2965" y="76"/>
                  </a:lnTo>
                  <a:lnTo>
                    <a:pt x="2944" y="74"/>
                  </a:lnTo>
                  <a:lnTo>
                    <a:pt x="2923" y="72"/>
                  </a:lnTo>
                  <a:lnTo>
                    <a:pt x="2903" y="71"/>
                  </a:lnTo>
                  <a:lnTo>
                    <a:pt x="2884" y="70"/>
                  </a:lnTo>
                  <a:lnTo>
                    <a:pt x="2875" y="71"/>
                  </a:lnTo>
                  <a:lnTo>
                    <a:pt x="2867" y="72"/>
                  </a:lnTo>
                  <a:lnTo>
                    <a:pt x="2862" y="74"/>
                  </a:lnTo>
                  <a:lnTo>
                    <a:pt x="2856" y="76"/>
                  </a:lnTo>
                  <a:lnTo>
                    <a:pt x="2850" y="79"/>
                  </a:lnTo>
                  <a:lnTo>
                    <a:pt x="2843" y="81"/>
                  </a:lnTo>
                  <a:lnTo>
                    <a:pt x="2834" y="82"/>
                  </a:lnTo>
                  <a:lnTo>
                    <a:pt x="2823" y="83"/>
                  </a:lnTo>
                  <a:lnTo>
                    <a:pt x="2723" y="64"/>
                  </a:lnTo>
                  <a:lnTo>
                    <a:pt x="2724" y="58"/>
                  </a:lnTo>
                  <a:lnTo>
                    <a:pt x="2726" y="52"/>
                  </a:lnTo>
                  <a:lnTo>
                    <a:pt x="2729" y="47"/>
                  </a:lnTo>
                  <a:lnTo>
                    <a:pt x="2731" y="42"/>
                  </a:lnTo>
                  <a:lnTo>
                    <a:pt x="2738" y="33"/>
                  </a:lnTo>
                  <a:lnTo>
                    <a:pt x="2744" y="21"/>
                  </a:lnTo>
                  <a:lnTo>
                    <a:pt x="2743" y="19"/>
                  </a:lnTo>
                  <a:lnTo>
                    <a:pt x="2742" y="17"/>
                  </a:lnTo>
                  <a:lnTo>
                    <a:pt x="2739" y="15"/>
                  </a:lnTo>
                  <a:lnTo>
                    <a:pt x="2735" y="13"/>
                  </a:lnTo>
                  <a:lnTo>
                    <a:pt x="2727" y="10"/>
                  </a:lnTo>
                  <a:lnTo>
                    <a:pt x="2717" y="9"/>
                  </a:lnTo>
                  <a:lnTo>
                    <a:pt x="2712" y="5"/>
                  </a:lnTo>
                  <a:lnTo>
                    <a:pt x="2707" y="1"/>
                  </a:lnTo>
                  <a:lnTo>
                    <a:pt x="2701" y="0"/>
                  </a:lnTo>
                  <a:lnTo>
                    <a:pt x="2696" y="0"/>
                  </a:lnTo>
                  <a:lnTo>
                    <a:pt x="2691" y="3"/>
                  </a:lnTo>
                  <a:lnTo>
                    <a:pt x="2687" y="7"/>
                  </a:lnTo>
                  <a:lnTo>
                    <a:pt x="2685" y="13"/>
                  </a:lnTo>
                  <a:lnTo>
                    <a:pt x="2684" y="21"/>
                  </a:lnTo>
                  <a:lnTo>
                    <a:pt x="2667" y="24"/>
                  </a:lnTo>
                  <a:lnTo>
                    <a:pt x="2653" y="29"/>
                  </a:lnTo>
                  <a:lnTo>
                    <a:pt x="2641" y="34"/>
                  </a:lnTo>
                  <a:lnTo>
                    <a:pt x="2630" y="40"/>
                  </a:lnTo>
                  <a:lnTo>
                    <a:pt x="2610" y="53"/>
                  </a:lnTo>
                  <a:lnTo>
                    <a:pt x="2590" y="64"/>
                  </a:lnTo>
                  <a:lnTo>
                    <a:pt x="2618" y="83"/>
                  </a:lnTo>
                  <a:lnTo>
                    <a:pt x="2611" y="83"/>
                  </a:lnTo>
                  <a:lnTo>
                    <a:pt x="2597" y="83"/>
                  </a:lnTo>
                  <a:lnTo>
                    <a:pt x="2575" y="83"/>
                  </a:lnTo>
                  <a:lnTo>
                    <a:pt x="2551" y="83"/>
                  </a:lnTo>
                  <a:lnTo>
                    <a:pt x="2567" y="97"/>
                  </a:lnTo>
                  <a:lnTo>
                    <a:pt x="2587" y="118"/>
                  </a:lnTo>
                  <a:lnTo>
                    <a:pt x="2598" y="128"/>
                  </a:lnTo>
                  <a:lnTo>
                    <a:pt x="2610" y="136"/>
                  </a:lnTo>
                  <a:lnTo>
                    <a:pt x="2617" y="140"/>
                  </a:lnTo>
                  <a:lnTo>
                    <a:pt x="2623" y="142"/>
                  </a:lnTo>
                  <a:lnTo>
                    <a:pt x="2630" y="144"/>
                  </a:lnTo>
                  <a:lnTo>
                    <a:pt x="2638" y="144"/>
                  </a:lnTo>
                  <a:lnTo>
                    <a:pt x="2630" y="144"/>
                  </a:lnTo>
                  <a:lnTo>
                    <a:pt x="2623" y="142"/>
                  </a:lnTo>
                  <a:lnTo>
                    <a:pt x="2618" y="140"/>
                  </a:lnTo>
                  <a:lnTo>
                    <a:pt x="2611" y="137"/>
                  </a:lnTo>
                  <a:lnTo>
                    <a:pt x="2600" y="130"/>
                  </a:lnTo>
                  <a:lnTo>
                    <a:pt x="2590" y="121"/>
                  </a:lnTo>
                  <a:lnTo>
                    <a:pt x="2579" y="110"/>
                  </a:lnTo>
                  <a:lnTo>
                    <a:pt x="2567" y="100"/>
                  </a:lnTo>
                  <a:lnTo>
                    <a:pt x="2561" y="95"/>
                  </a:lnTo>
                  <a:lnTo>
                    <a:pt x="2554" y="90"/>
                  </a:lnTo>
                  <a:lnTo>
                    <a:pt x="2547" y="86"/>
                  </a:lnTo>
                  <a:lnTo>
                    <a:pt x="2538" y="83"/>
                  </a:lnTo>
                  <a:lnTo>
                    <a:pt x="2465" y="114"/>
                  </a:lnTo>
                  <a:lnTo>
                    <a:pt x="2462" y="110"/>
                  </a:lnTo>
                  <a:lnTo>
                    <a:pt x="2455" y="104"/>
                  </a:lnTo>
                  <a:lnTo>
                    <a:pt x="2451" y="100"/>
                  </a:lnTo>
                  <a:lnTo>
                    <a:pt x="2446" y="98"/>
                  </a:lnTo>
                  <a:lnTo>
                    <a:pt x="2439" y="95"/>
                  </a:lnTo>
                  <a:lnTo>
                    <a:pt x="2431" y="95"/>
                  </a:lnTo>
                  <a:lnTo>
                    <a:pt x="2410" y="95"/>
                  </a:lnTo>
                  <a:lnTo>
                    <a:pt x="2391" y="98"/>
                  </a:lnTo>
                  <a:lnTo>
                    <a:pt x="2372" y="101"/>
                  </a:lnTo>
                  <a:lnTo>
                    <a:pt x="2354" y="105"/>
                  </a:lnTo>
                  <a:lnTo>
                    <a:pt x="2319" y="117"/>
                  </a:lnTo>
                  <a:lnTo>
                    <a:pt x="2284" y="129"/>
                  </a:lnTo>
                  <a:lnTo>
                    <a:pt x="2250" y="141"/>
                  </a:lnTo>
                  <a:lnTo>
                    <a:pt x="2214" y="152"/>
                  </a:lnTo>
                  <a:lnTo>
                    <a:pt x="2195" y="156"/>
                  </a:lnTo>
                  <a:lnTo>
                    <a:pt x="2175" y="159"/>
                  </a:lnTo>
                  <a:lnTo>
                    <a:pt x="2155" y="161"/>
                  </a:lnTo>
                  <a:lnTo>
                    <a:pt x="2133" y="162"/>
                  </a:lnTo>
                  <a:lnTo>
                    <a:pt x="2134" y="167"/>
                  </a:lnTo>
                  <a:lnTo>
                    <a:pt x="2137" y="173"/>
                  </a:lnTo>
                  <a:lnTo>
                    <a:pt x="2142" y="178"/>
                  </a:lnTo>
                  <a:lnTo>
                    <a:pt x="2149" y="183"/>
                  </a:lnTo>
                  <a:lnTo>
                    <a:pt x="2157" y="187"/>
                  </a:lnTo>
                  <a:lnTo>
                    <a:pt x="2167" y="190"/>
                  </a:lnTo>
                  <a:lnTo>
                    <a:pt x="2175" y="193"/>
                  </a:lnTo>
                  <a:lnTo>
                    <a:pt x="2185" y="193"/>
                  </a:lnTo>
                  <a:lnTo>
                    <a:pt x="2186" y="198"/>
                  </a:lnTo>
                  <a:lnTo>
                    <a:pt x="2187" y="203"/>
                  </a:lnTo>
                  <a:lnTo>
                    <a:pt x="2190" y="208"/>
                  </a:lnTo>
                  <a:lnTo>
                    <a:pt x="2192" y="213"/>
                  </a:lnTo>
                  <a:lnTo>
                    <a:pt x="2198" y="225"/>
                  </a:lnTo>
                  <a:lnTo>
                    <a:pt x="2207" y="235"/>
                  </a:lnTo>
                  <a:lnTo>
                    <a:pt x="2216" y="244"/>
                  </a:lnTo>
                  <a:lnTo>
                    <a:pt x="2225" y="251"/>
                  </a:lnTo>
                  <a:lnTo>
                    <a:pt x="2233" y="257"/>
                  </a:lnTo>
                  <a:lnTo>
                    <a:pt x="2239" y="261"/>
                  </a:lnTo>
                  <a:lnTo>
                    <a:pt x="2233" y="261"/>
                  </a:lnTo>
                  <a:lnTo>
                    <a:pt x="2227" y="260"/>
                  </a:lnTo>
                  <a:lnTo>
                    <a:pt x="2223" y="259"/>
                  </a:lnTo>
                  <a:lnTo>
                    <a:pt x="2217" y="257"/>
                  </a:lnTo>
                  <a:lnTo>
                    <a:pt x="2214" y="254"/>
                  </a:lnTo>
                  <a:lnTo>
                    <a:pt x="2209" y="251"/>
                  </a:lnTo>
                  <a:lnTo>
                    <a:pt x="2206" y="248"/>
                  </a:lnTo>
                  <a:lnTo>
                    <a:pt x="2203" y="244"/>
                  </a:lnTo>
                  <a:lnTo>
                    <a:pt x="2198" y="236"/>
                  </a:lnTo>
                  <a:lnTo>
                    <a:pt x="2195" y="225"/>
                  </a:lnTo>
                  <a:lnTo>
                    <a:pt x="2193" y="213"/>
                  </a:lnTo>
                  <a:lnTo>
                    <a:pt x="2192" y="200"/>
                  </a:lnTo>
                  <a:lnTo>
                    <a:pt x="2190" y="201"/>
                  </a:lnTo>
                  <a:lnTo>
                    <a:pt x="2186" y="202"/>
                  </a:lnTo>
                  <a:lnTo>
                    <a:pt x="2182" y="202"/>
                  </a:lnTo>
                  <a:lnTo>
                    <a:pt x="2179" y="202"/>
                  </a:lnTo>
                  <a:lnTo>
                    <a:pt x="2169" y="200"/>
                  </a:lnTo>
                  <a:lnTo>
                    <a:pt x="2159" y="200"/>
                  </a:lnTo>
                  <a:lnTo>
                    <a:pt x="2150" y="200"/>
                  </a:lnTo>
                  <a:lnTo>
                    <a:pt x="2141" y="202"/>
                  </a:lnTo>
                  <a:lnTo>
                    <a:pt x="2134" y="205"/>
                  </a:lnTo>
                  <a:lnTo>
                    <a:pt x="2126" y="209"/>
                  </a:lnTo>
                  <a:lnTo>
                    <a:pt x="2118" y="212"/>
                  </a:lnTo>
                  <a:lnTo>
                    <a:pt x="2111" y="215"/>
                  </a:lnTo>
                  <a:lnTo>
                    <a:pt x="2102" y="217"/>
                  </a:lnTo>
                  <a:lnTo>
                    <a:pt x="2093" y="218"/>
                  </a:lnTo>
                  <a:lnTo>
                    <a:pt x="2083" y="217"/>
                  </a:lnTo>
                  <a:lnTo>
                    <a:pt x="2073" y="214"/>
                  </a:lnTo>
                  <a:lnTo>
                    <a:pt x="2066" y="210"/>
                  </a:lnTo>
                  <a:lnTo>
                    <a:pt x="2059" y="206"/>
                  </a:lnTo>
                  <a:lnTo>
                    <a:pt x="2020" y="218"/>
                  </a:lnTo>
                  <a:lnTo>
                    <a:pt x="2013" y="218"/>
                  </a:lnTo>
                  <a:lnTo>
                    <a:pt x="2000" y="219"/>
                  </a:lnTo>
                  <a:lnTo>
                    <a:pt x="1992" y="221"/>
                  </a:lnTo>
                  <a:lnTo>
                    <a:pt x="1985" y="223"/>
                  </a:lnTo>
                  <a:lnTo>
                    <a:pt x="1983" y="225"/>
                  </a:lnTo>
                  <a:lnTo>
                    <a:pt x="1981" y="227"/>
                  </a:lnTo>
                  <a:lnTo>
                    <a:pt x="1980" y="229"/>
                  </a:lnTo>
                  <a:lnTo>
                    <a:pt x="1980" y="231"/>
                  </a:lnTo>
                  <a:lnTo>
                    <a:pt x="1980" y="234"/>
                  </a:lnTo>
                  <a:lnTo>
                    <a:pt x="1982" y="238"/>
                  </a:lnTo>
                  <a:lnTo>
                    <a:pt x="1984" y="242"/>
                  </a:lnTo>
                  <a:lnTo>
                    <a:pt x="1988" y="245"/>
                  </a:lnTo>
                  <a:lnTo>
                    <a:pt x="1996" y="253"/>
                  </a:lnTo>
                  <a:lnTo>
                    <a:pt x="2009" y="261"/>
                  </a:lnTo>
                  <a:lnTo>
                    <a:pt x="2023" y="270"/>
                  </a:lnTo>
                  <a:lnTo>
                    <a:pt x="2038" y="278"/>
                  </a:lnTo>
                  <a:lnTo>
                    <a:pt x="2056" y="287"/>
                  </a:lnTo>
                  <a:lnTo>
                    <a:pt x="2074" y="295"/>
                  </a:lnTo>
                  <a:lnTo>
                    <a:pt x="2112" y="311"/>
                  </a:lnTo>
                  <a:lnTo>
                    <a:pt x="2148" y="324"/>
                  </a:lnTo>
                  <a:lnTo>
                    <a:pt x="2178" y="334"/>
                  </a:lnTo>
                  <a:lnTo>
                    <a:pt x="2198" y="342"/>
                  </a:lnTo>
                  <a:lnTo>
                    <a:pt x="2200" y="352"/>
                  </a:lnTo>
                  <a:lnTo>
                    <a:pt x="2202" y="361"/>
                  </a:lnTo>
                  <a:lnTo>
                    <a:pt x="2204" y="369"/>
                  </a:lnTo>
                  <a:lnTo>
                    <a:pt x="2207" y="376"/>
                  </a:lnTo>
                  <a:lnTo>
                    <a:pt x="2216" y="389"/>
                  </a:lnTo>
                  <a:lnTo>
                    <a:pt x="2226" y="403"/>
                  </a:lnTo>
                  <a:lnTo>
                    <a:pt x="2214" y="405"/>
                  </a:lnTo>
                  <a:lnTo>
                    <a:pt x="2203" y="404"/>
                  </a:lnTo>
                  <a:lnTo>
                    <a:pt x="2193" y="402"/>
                  </a:lnTo>
                  <a:lnTo>
                    <a:pt x="2184" y="399"/>
                  </a:lnTo>
                  <a:lnTo>
                    <a:pt x="2177" y="394"/>
                  </a:lnTo>
                  <a:lnTo>
                    <a:pt x="2169" y="387"/>
                  </a:lnTo>
                  <a:lnTo>
                    <a:pt x="2161" y="381"/>
                  </a:lnTo>
                  <a:lnTo>
                    <a:pt x="2155" y="374"/>
                  </a:lnTo>
                  <a:lnTo>
                    <a:pt x="2142" y="360"/>
                  </a:lnTo>
                  <a:lnTo>
                    <a:pt x="2129" y="345"/>
                  </a:lnTo>
                  <a:lnTo>
                    <a:pt x="2123" y="339"/>
                  </a:lnTo>
                  <a:lnTo>
                    <a:pt x="2115" y="332"/>
                  </a:lnTo>
                  <a:lnTo>
                    <a:pt x="2107" y="327"/>
                  </a:lnTo>
                  <a:lnTo>
                    <a:pt x="2100" y="323"/>
                  </a:lnTo>
                  <a:lnTo>
                    <a:pt x="2065" y="315"/>
                  </a:lnTo>
                  <a:lnTo>
                    <a:pt x="2020" y="305"/>
                  </a:lnTo>
                  <a:lnTo>
                    <a:pt x="2009" y="302"/>
                  </a:lnTo>
                  <a:lnTo>
                    <a:pt x="1999" y="298"/>
                  </a:lnTo>
                  <a:lnTo>
                    <a:pt x="1989" y="293"/>
                  </a:lnTo>
                  <a:lnTo>
                    <a:pt x="1980" y="288"/>
                  </a:lnTo>
                  <a:lnTo>
                    <a:pt x="1972" y="281"/>
                  </a:lnTo>
                  <a:lnTo>
                    <a:pt x="1967" y="273"/>
                  </a:lnTo>
                  <a:lnTo>
                    <a:pt x="1964" y="269"/>
                  </a:lnTo>
                  <a:lnTo>
                    <a:pt x="1962" y="265"/>
                  </a:lnTo>
                  <a:lnTo>
                    <a:pt x="1960" y="260"/>
                  </a:lnTo>
                  <a:lnTo>
                    <a:pt x="1960" y="255"/>
                  </a:lnTo>
                  <a:lnTo>
                    <a:pt x="1947" y="255"/>
                  </a:lnTo>
                  <a:lnTo>
                    <a:pt x="1940" y="255"/>
                  </a:lnTo>
                  <a:lnTo>
                    <a:pt x="1933" y="256"/>
                  </a:lnTo>
                  <a:lnTo>
                    <a:pt x="1927" y="258"/>
                  </a:lnTo>
                  <a:lnTo>
                    <a:pt x="1922" y="261"/>
                  </a:lnTo>
                  <a:lnTo>
                    <a:pt x="1916" y="264"/>
                  </a:lnTo>
                  <a:lnTo>
                    <a:pt x="1910" y="267"/>
                  </a:lnTo>
                  <a:lnTo>
                    <a:pt x="1903" y="270"/>
                  </a:lnTo>
                  <a:lnTo>
                    <a:pt x="1895" y="272"/>
                  </a:lnTo>
                  <a:lnTo>
                    <a:pt x="1887" y="273"/>
                  </a:lnTo>
                  <a:lnTo>
                    <a:pt x="1882" y="287"/>
                  </a:lnTo>
                  <a:lnTo>
                    <a:pt x="1879" y="297"/>
                  </a:lnTo>
                  <a:lnTo>
                    <a:pt x="1877" y="301"/>
                  </a:lnTo>
                  <a:lnTo>
                    <a:pt x="1875" y="305"/>
                  </a:lnTo>
                  <a:lnTo>
                    <a:pt x="1871" y="308"/>
                  </a:lnTo>
                  <a:lnTo>
                    <a:pt x="1867" y="310"/>
                  </a:lnTo>
                  <a:lnTo>
                    <a:pt x="1871" y="316"/>
                  </a:lnTo>
                  <a:lnTo>
                    <a:pt x="1876" y="320"/>
                  </a:lnTo>
                  <a:lnTo>
                    <a:pt x="1882" y="325"/>
                  </a:lnTo>
                  <a:lnTo>
                    <a:pt x="1889" y="328"/>
                  </a:lnTo>
                  <a:lnTo>
                    <a:pt x="1903" y="334"/>
                  </a:lnTo>
                  <a:lnTo>
                    <a:pt x="1921" y="340"/>
                  </a:lnTo>
                  <a:lnTo>
                    <a:pt x="1959" y="349"/>
                  </a:lnTo>
                  <a:lnTo>
                    <a:pt x="2000" y="360"/>
                  </a:lnTo>
                  <a:lnTo>
                    <a:pt x="1954" y="360"/>
                  </a:lnTo>
                  <a:lnTo>
                    <a:pt x="1929" y="354"/>
                  </a:lnTo>
                  <a:lnTo>
                    <a:pt x="1906" y="349"/>
                  </a:lnTo>
                  <a:lnTo>
                    <a:pt x="1886" y="344"/>
                  </a:lnTo>
                  <a:lnTo>
                    <a:pt x="1866" y="338"/>
                  </a:lnTo>
                  <a:lnTo>
                    <a:pt x="1857" y="333"/>
                  </a:lnTo>
                  <a:lnTo>
                    <a:pt x="1849" y="328"/>
                  </a:lnTo>
                  <a:lnTo>
                    <a:pt x="1842" y="322"/>
                  </a:lnTo>
                  <a:lnTo>
                    <a:pt x="1835" y="315"/>
                  </a:lnTo>
                  <a:lnTo>
                    <a:pt x="1828" y="307"/>
                  </a:lnTo>
                  <a:lnTo>
                    <a:pt x="1823" y="298"/>
                  </a:lnTo>
                  <a:lnTo>
                    <a:pt x="1817" y="287"/>
                  </a:lnTo>
                  <a:lnTo>
                    <a:pt x="1814" y="273"/>
                  </a:lnTo>
                  <a:lnTo>
                    <a:pt x="1787" y="273"/>
                  </a:lnTo>
                  <a:lnTo>
                    <a:pt x="1787" y="282"/>
                  </a:lnTo>
                  <a:lnTo>
                    <a:pt x="1786" y="288"/>
                  </a:lnTo>
                  <a:lnTo>
                    <a:pt x="1785" y="293"/>
                  </a:lnTo>
                  <a:lnTo>
                    <a:pt x="1782" y="298"/>
                  </a:lnTo>
                  <a:lnTo>
                    <a:pt x="1776" y="306"/>
                  </a:lnTo>
                  <a:lnTo>
                    <a:pt x="1767" y="316"/>
                  </a:lnTo>
                  <a:lnTo>
                    <a:pt x="1771" y="323"/>
                  </a:lnTo>
                  <a:lnTo>
                    <a:pt x="1775" y="328"/>
                  </a:lnTo>
                  <a:lnTo>
                    <a:pt x="1779" y="332"/>
                  </a:lnTo>
                  <a:lnTo>
                    <a:pt x="1785" y="336"/>
                  </a:lnTo>
                  <a:lnTo>
                    <a:pt x="1793" y="342"/>
                  </a:lnTo>
                  <a:lnTo>
                    <a:pt x="1803" y="346"/>
                  </a:lnTo>
                  <a:lnTo>
                    <a:pt x="1813" y="351"/>
                  </a:lnTo>
                  <a:lnTo>
                    <a:pt x="1823" y="358"/>
                  </a:lnTo>
                  <a:lnTo>
                    <a:pt x="1827" y="363"/>
                  </a:lnTo>
                  <a:lnTo>
                    <a:pt x="1832" y="369"/>
                  </a:lnTo>
                  <a:lnTo>
                    <a:pt x="1836" y="376"/>
                  </a:lnTo>
                  <a:lnTo>
                    <a:pt x="1841" y="384"/>
                  </a:lnTo>
                  <a:lnTo>
                    <a:pt x="1842" y="389"/>
                  </a:lnTo>
                  <a:lnTo>
                    <a:pt x="1843" y="396"/>
                  </a:lnTo>
                  <a:lnTo>
                    <a:pt x="1844" y="402"/>
                  </a:lnTo>
                  <a:lnTo>
                    <a:pt x="1844" y="409"/>
                  </a:lnTo>
                  <a:lnTo>
                    <a:pt x="1844" y="415"/>
                  </a:lnTo>
                  <a:lnTo>
                    <a:pt x="1844" y="420"/>
                  </a:lnTo>
                  <a:lnTo>
                    <a:pt x="1845" y="424"/>
                  </a:lnTo>
                  <a:lnTo>
                    <a:pt x="1847" y="427"/>
                  </a:lnTo>
                  <a:lnTo>
                    <a:pt x="1859" y="436"/>
                  </a:lnTo>
                  <a:lnTo>
                    <a:pt x="1868" y="444"/>
                  </a:lnTo>
                  <a:lnTo>
                    <a:pt x="1872" y="448"/>
                  </a:lnTo>
                  <a:lnTo>
                    <a:pt x="1878" y="451"/>
                  </a:lnTo>
                  <a:lnTo>
                    <a:pt x="1884" y="452"/>
                  </a:lnTo>
                  <a:lnTo>
                    <a:pt x="1893" y="453"/>
                  </a:lnTo>
                  <a:lnTo>
                    <a:pt x="1902" y="452"/>
                  </a:lnTo>
                  <a:lnTo>
                    <a:pt x="1910" y="450"/>
                  </a:lnTo>
                  <a:lnTo>
                    <a:pt x="1917" y="446"/>
                  </a:lnTo>
                  <a:lnTo>
                    <a:pt x="1923" y="443"/>
                  </a:lnTo>
                  <a:lnTo>
                    <a:pt x="1929" y="439"/>
                  </a:lnTo>
                  <a:lnTo>
                    <a:pt x="1936" y="436"/>
                  </a:lnTo>
                  <a:lnTo>
                    <a:pt x="1944" y="434"/>
                  </a:lnTo>
                  <a:lnTo>
                    <a:pt x="1954" y="433"/>
                  </a:lnTo>
                  <a:lnTo>
                    <a:pt x="1961" y="434"/>
                  </a:lnTo>
                  <a:lnTo>
                    <a:pt x="1970" y="435"/>
                  </a:lnTo>
                  <a:lnTo>
                    <a:pt x="1978" y="437"/>
                  </a:lnTo>
                  <a:lnTo>
                    <a:pt x="1985" y="439"/>
                  </a:lnTo>
                  <a:lnTo>
                    <a:pt x="1999" y="445"/>
                  </a:lnTo>
                  <a:lnTo>
                    <a:pt x="2013" y="453"/>
                  </a:lnTo>
                  <a:lnTo>
                    <a:pt x="2027" y="459"/>
                  </a:lnTo>
                  <a:lnTo>
                    <a:pt x="2041" y="465"/>
                  </a:lnTo>
                  <a:lnTo>
                    <a:pt x="2048" y="467"/>
                  </a:lnTo>
                  <a:lnTo>
                    <a:pt x="2056" y="469"/>
                  </a:lnTo>
                  <a:lnTo>
                    <a:pt x="2065" y="470"/>
                  </a:lnTo>
                  <a:lnTo>
                    <a:pt x="2073" y="471"/>
                  </a:lnTo>
                  <a:lnTo>
                    <a:pt x="2076" y="482"/>
                  </a:lnTo>
                  <a:lnTo>
                    <a:pt x="2078" y="492"/>
                  </a:lnTo>
                  <a:lnTo>
                    <a:pt x="2082" y="503"/>
                  </a:lnTo>
                  <a:lnTo>
                    <a:pt x="2086" y="511"/>
                  </a:lnTo>
                  <a:lnTo>
                    <a:pt x="2090" y="515"/>
                  </a:lnTo>
                  <a:lnTo>
                    <a:pt x="2093" y="518"/>
                  </a:lnTo>
                  <a:lnTo>
                    <a:pt x="2097" y="522"/>
                  </a:lnTo>
                  <a:lnTo>
                    <a:pt x="2102" y="525"/>
                  </a:lnTo>
                  <a:lnTo>
                    <a:pt x="2106" y="527"/>
                  </a:lnTo>
                  <a:lnTo>
                    <a:pt x="2113" y="529"/>
                  </a:lnTo>
                  <a:lnTo>
                    <a:pt x="2118" y="531"/>
                  </a:lnTo>
                  <a:lnTo>
                    <a:pt x="2126" y="532"/>
                  </a:lnTo>
                  <a:lnTo>
                    <a:pt x="2111" y="532"/>
                  </a:lnTo>
                  <a:lnTo>
                    <a:pt x="2100" y="532"/>
                  </a:lnTo>
                  <a:lnTo>
                    <a:pt x="2093" y="532"/>
                  </a:lnTo>
                  <a:lnTo>
                    <a:pt x="2086" y="531"/>
                  </a:lnTo>
                  <a:lnTo>
                    <a:pt x="2081" y="530"/>
                  </a:lnTo>
                  <a:lnTo>
                    <a:pt x="2076" y="529"/>
                  </a:lnTo>
                  <a:lnTo>
                    <a:pt x="2067" y="524"/>
                  </a:lnTo>
                  <a:lnTo>
                    <a:pt x="2059" y="519"/>
                  </a:lnTo>
                  <a:lnTo>
                    <a:pt x="2052" y="513"/>
                  </a:lnTo>
                  <a:lnTo>
                    <a:pt x="2046" y="506"/>
                  </a:lnTo>
                  <a:lnTo>
                    <a:pt x="2040" y="497"/>
                  </a:lnTo>
                  <a:lnTo>
                    <a:pt x="2035" y="489"/>
                  </a:lnTo>
                  <a:lnTo>
                    <a:pt x="2030" y="481"/>
                  </a:lnTo>
                  <a:lnTo>
                    <a:pt x="2024" y="473"/>
                  </a:lnTo>
                  <a:lnTo>
                    <a:pt x="2017" y="466"/>
                  </a:lnTo>
                  <a:lnTo>
                    <a:pt x="2011" y="460"/>
                  </a:lnTo>
                  <a:lnTo>
                    <a:pt x="2002" y="454"/>
                  </a:lnTo>
                  <a:lnTo>
                    <a:pt x="1992" y="450"/>
                  </a:lnTo>
                  <a:lnTo>
                    <a:pt x="1980" y="448"/>
                  </a:lnTo>
                  <a:lnTo>
                    <a:pt x="1967" y="446"/>
                  </a:lnTo>
                  <a:lnTo>
                    <a:pt x="1959" y="446"/>
                  </a:lnTo>
                  <a:lnTo>
                    <a:pt x="1953" y="449"/>
                  </a:lnTo>
                  <a:lnTo>
                    <a:pt x="1946" y="451"/>
                  </a:lnTo>
                  <a:lnTo>
                    <a:pt x="1939" y="453"/>
                  </a:lnTo>
                  <a:lnTo>
                    <a:pt x="1927" y="459"/>
                  </a:lnTo>
                  <a:lnTo>
                    <a:pt x="1913" y="465"/>
                  </a:lnTo>
                  <a:lnTo>
                    <a:pt x="1918" y="477"/>
                  </a:lnTo>
                  <a:lnTo>
                    <a:pt x="1932" y="499"/>
                  </a:lnTo>
                  <a:lnTo>
                    <a:pt x="1939" y="512"/>
                  </a:lnTo>
                  <a:lnTo>
                    <a:pt x="1947" y="523"/>
                  </a:lnTo>
                  <a:lnTo>
                    <a:pt x="1954" y="532"/>
                  </a:lnTo>
                  <a:lnTo>
                    <a:pt x="1960" y="538"/>
                  </a:lnTo>
                  <a:lnTo>
                    <a:pt x="1945" y="554"/>
                  </a:lnTo>
                  <a:lnTo>
                    <a:pt x="1929" y="573"/>
                  </a:lnTo>
                  <a:lnTo>
                    <a:pt x="1924" y="578"/>
                  </a:lnTo>
                  <a:lnTo>
                    <a:pt x="1918" y="581"/>
                  </a:lnTo>
                  <a:lnTo>
                    <a:pt x="1913" y="585"/>
                  </a:lnTo>
                  <a:lnTo>
                    <a:pt x="1906" y="588"/>
                  </a:lnTo>
                  <a:lnTo>
                    <a:pt x="1900" y="590"/>
                  </a:lnTo>
                  <a:lnTo>
                    <a:pt x="1892" y="592"/>
                  </a:lnTo>
                  <a:lnTo>
                    <a:pt x="1883" y="593"/>
                  </a:lnTo>
                  <a:lnTo>
                    <a:pt x="1873" y="594"/>
                  </a:lnTo>
                  <a:lnTo>
                    <a:pt x="1855" y="595"/>
                  </a:lnTo>
                  <a:lnTo>
                    <a:pt x="1838" y="597"/>
                  </a:lnTo>
                  <a:lnTo>
                    <a:pt x="1823" y="600"/>
                  </a:lnTo>
                  <a:lnTo>
                    <a:pt x="1810" y="603"/>
                  </a:lnTo>
                  <a:lnTo>
                    <a:pt x="1797" y="604"/>
                  </a:lnTo>
                  <a:lnTo>
                    <a:pt x="1785" y="604"/>
                  </a:lnTo>
                  <a:lnTo>
                    <a:pt x="1779" y="603"/>
                  </a:lnTo>
                  <a:lnTo>
                    <a:pt x="1772" y="601"/>
                  </a:lnTo>
                  <a:lnTo>
                    <a:pt x="1767" y="598"/>
                  </a:lnTo>
                  <a:lnTo>
                    <a:pt x="1760" y="594"/>
                  </a:lnTo>
                  <a:lnTo>
                    <a:pt x="1778" y="593"/>
                  </a:lnTo>
                  <a:lnTo>
                    <a:pt x="1793" y="591"/>
                  </a:lnTo>
                  <a:lnTo>
                    <a:pt x="1806" y="589"/>
                  </a:lnTo>
                  <a:lnTo>
                    <a:pt x="1821" y="588"/>
                  </a:lnTo>
                  <a:lnTo>
                    <a:pt x="1826" y="587"/>
                  </a:lnTo>
                  <a:lnTo>
                    <a:pt x="1832" y="586"/>
                  </a:lnTo>
                  <a:lnTo>
                    <a:pt x="1837" y="585"/>
                  </a:lnTo>
                  <a:lnTo>
                    <a:pt x="1843" y="583"/>
                  </a:lnTo>
                  <a:lnTo>
                    <a:pt x="1847" y="580"/>
                  </a:lnTo>
                  <a:lnTo>
                    <a:pt x="1852" y="577"/>
                  </a:lnTo>
                  <a:lnTo>
                    <a:pt x="1856" y="573"/>
                  </a:lnTo>
                  <a:lnTo>
                    <a:pt x="1859" y="569"/>
                  </a:lnTo>
                  <a:lnTo>
                    <a:pt x="1866" y="560"/>
                  </a:lnTo>
                  <a:lnTo>
                    <a:pt x="1870" y="548"/>
                  </a:lnTo>
                  <a:lnTo>
                    <a:pt x="1872" y="538"/>
                  </a:lnTo>
                  <a:lnTo>
                    <a:pt x="1873" y="526"/>
                  </a:lnTo>
                  <a:lnTo>
                    <a:pt x="1873" y="520"/>
                  </a:lnTo>
                  <a:lnTo>
                    <a:pt x="1873" y="512"/>
                  </a:lnTo>
                  <a:lnTo>
                    <a:pt x="1873" y="499"/>
                  </a:lnTo>
                  <a:lnTo>
                    <a:pt x="1873" y="483"/>
                  </a:lnTo>
                  <a:lnTo>
                    <a:pt x="1860" y="480"/>
                  </a:lnTo>
                  <a:lnTo>
                    <a:pt x="1849" y="476"/>
                  </a:lnTo>
                  <a:lnTo>
                    <a:pt x="1839" y="470"/>
                  </a:lnTo>
                  <a:lnTo>
                    <a:pt x="1832" y="464"/>
                  </a:lnTo>
                  <a:lnTo>
                    <a:pt x="1824" y="457"/>
                  </a:lnTo>
                  <a:lnTo>
                    <a:pt x="1817" y="449"/>
                  </a:lnTo>
                  <a:lnTo>
                    <a:pt x="1812" y="440"/>
                  </a:lnTo>
                  <a:lnTo>
                    <a:pt x="1806" y="431"/>
                  </a:lnTo>
                  <a:lnTo>
                    <a:pt x="1796" y="413"/>
                  </a:lnTo>
                  <a:lnTo>
                    <a:pt x="1785" y="396"/>
                  </a:lnTo>
                  <a:lnTo>
                    <a:pt x="1778" y="387"/>
                  </a:lnTo>
                  <a:lnTo>
                    <a:pt x="1771" y="379"/>
                  </a:lnTo>
                  <a:lnTo>
                    <a:pt x="1764" y="372"/>
                  </a:lnTo>
                  <a:lnTo>
                    <a:pt x="1754" y="366"/>
                  </a:lnTo>
                  <a:lnTo>
                    <a:pt x="1708" y="348"/>
                  </a:lnTo>
                  <a:lnTo>
                    <a:pt x="1705" y="342"/>
                  </a:lnTo>
                  <a:lnTo>
                    <a:pt x="1707" y="333"/>
                  </a:lnTo>
                  <a:lnTo>
                    <a:pt x="1708" y="324"/>
                  </a:lnTo>
                  <a:lnTo>
                    <a:pt x="1709" y="313"/>
                  </a:lnTo>
                  <a:lnTo>
                    <a:pt x="1710" y="303"/>
                  </a:lnTo>
                  <a:lnTo>
                    <a:pt x="1709" y="294"/>
                  </a:lnTo>
                  <a:lnTo>
                    <a:pt x="1708" y="290"/>
                  </a:lnTo>
                  <a:lnTo>
                    <a:pt x="1707" y="286"/>
                  </a:lnTo>
                  <a:lnTo>
                    <a:pt x="1704" y="283"/>
                  </a:lnTo>
                  <a:lnTo>
                    <a:pt x="1701" y="279"/>
                  </a:lnTo>
                  <a:lnTo>
                    <a:pt x="1698" y="276"/>
                  </a:lnTo>
                  <a:lnTo>
                    <a:pt x="1693" y="273"/>
                  </a:lnTo>
                  <a:lnTo>
                    <a:pt x="1689" y="271"/>
                  </a:lnTo>
                  <a:lnTo>
                    <a:pt x="1682" y="269"/>
                  </a:lnTo>
                  <a:lnTo>
                    <a:pt x="1669" y="266"/>
                  </a:lnTo>
                  <a:lnTo>
                    <a:pt x="1654" y="263"/>
                  </a:lnTo>
                  <a:lnTo>
                    <a:pt x="1618" y="261"/>
                  </a:lnTo>
                  <a:lnTo>
                    <a:pt x="1581" y="261"/>
                  </a:lnTo>
                  <a:lnTo>
                    <a:pt x="1596" y="257"/>
                  </a:lnTo>
                  <a:lnTo>
                    <a:pt x="1609" y="253"/>
                  </a:lnTo>
                  <a:lnTo>
                    <a:pt x="1613" y="249"/>
                  </a:lnTo>
                  <a:lnTo>
                    <a:pt x="1618" y="245"/>
                  </a:lnTo>
                  <a:lnTo>
                    <a:pt x="1620" y="239"/>
                  </a:lnTo>
                  <a:lnTo>
                    <a:pt x="1621" y="231"/>
                  </a:lnTo>
                  <a:lnTo>
                    <a:pt x="1608" y="231"/>
                  </a:lnTo>
                  <a:lnTo>
                    <a:pt x="1596" y="231"/>
                  </a:lnTo>
                  <a:lnTo>
                    <a:pt x="1581" y="231"/>
                  </a:lnTo>
                  <a:lnTo>
                    <a:pt x="1562" y="231"/>
                  </a:lnTo>
                  <a:lnTo>
                    <a:pt x="1559" y="246"/>
                  </a:lnTo>
                  <a:lnTo>
                    <a:pt x="1555" y="263"/>
                  </a:lnTo>
                  <a:lnTo>
                    <a:pt x="1550" y="279"/>
                  </a:lnTo>
                  <a:lnTo>
                    <a:pt x="1548" y="292"/>
                  </a:lnTo>
                  <a:lnTo>
                    <a:pt x="1548" y="294"/>
                  </a:lnTo>
                  <a:lnTo>
                    <a:pt x="1550" y="295"/>
                  </a:lnTo>
                  <a:lnTo>
                    <a:pt x="1552" y="295"/>
                  </a:lnTo>
                  <a:lnTo>
                    <a:pt x="1555" y="295"/>
                  </a:lnTo>
                  <a:lnTo>
                    <a:pt x="1559" y="293"/>
                  </a:lnTo>
                  <a:lnTo>
                    <a:pt x="1562" y="292"/>
                  </a:lnTo>
                  <a:lnTo>
                    <a:pt x="1562" y="323"/>
                  </a:lnTo>
                  <a:lnTo>
                    <a:pt x="1552" y="327"/>
                  </a:lnTo>
                  <a:lnTo>
                    <a:pt x="1543" y="331"/>
                  </a:lnTo>
                  <a:lnTo>
                    <a:pt x="1537" y="332"/>
                  </a:lnTo>
                  <a:lnTo>
                    <a:pt x="1531" y="334"/>
                  </a:lnTo>
                  <a:lnTo>
                    <a:pt x="1524" y="334"/>
                  </a:lnTo>
                  <a:lnTo>
                    <a:pt x="1514" y="336"/>
                  </a:lnTo>
                  <a:lnTo>
                    <a:pt x="1514" y="345"/>
                  </a:lnTo>
                  <a:lnTo>
                    <a:pt x="1514" y="354"/>
                  </a:lnTo>
                  <a:lnTo>
                    <a:pt x="1532" y="375"/>
                  </a:lnTo>
                  <a:lnTo>
                    <a:pt x="1555" y="404"/>
                  </a:lnTo>
                  <a:lnTo>
                    <a:pt x="1562" y="411"/>
                  </a:lnTo>
                  <a:lnTo>
                    <a:pt x="1569" y="418"/>
                  </a:lnTo>
                  <a:lnTo>
                    <a:pt x="1577" y="424"/>
                  </a:lnTo>
                  <a:lnTo>
                    <a:pt x="1585" y="429"/>
                  </a:lnTo>
                  <a:lnTo>
                    <a:pt x="1593" y="433"/>
                  </a:lnTo>
                  <a:lnTo>
                    <a:pt x="1602" y="437"/>
                  </a:lnTo>
                  <a:lnTo>
                    <a:pt x="1611" y="439"/>
                  </a:lnTo>
                  <a:lnTo>
                    <a:pt x="1621" y="439"/>
                  </a:lnTo>
                  <a:lnTo>
                    <a:pt x="1622" y="445"/>
                  </a:lnTo>
                  <a:lnTo>
                    <a:pt x="1623" y="451"/>
                  </a:lnTo>
                  <a:lnTo>
                    <a:pt x="1625" y="455"/>
                  </a:lnTo>
                  <a:lnTo>
                    <a:pt x="1629" y="458"/>
                  </a:lnTo>
                  <a:lnTo>
                    <a:pt x="1636" y="465"/>
                  </a:lnTo>
                  <a:lnTo>
                    <a:pt x="1645" y="471"/>
                  </a:lnTo>
                  <a:lnTo>
                    <a:pt x="1654" y="477"/>
                  </a:lnTo>
                  <a:lnTo>
                    <a:pt x="1663" y="483"/>
                  </a:lnTo>
                  <a:lnTo>
                    <a:pt x="1667" y="487"/>
                  </a:lnTo>
                  <a:lnTo>
                    <a:pt x="1670" y="491"/>
                  </a:lnTo>
                  <a:lnTo>
                    <a:pt x="1673" y="496"/>
                  </a:lnTo>
                  <a:lnTo>
                    <a:pt x="1674" y="501"/>
                  </a:lnTo>
                  <a:lnTo>
                    <a:pt x="1667" y="501"/>
                  </a:lnTo>
                  <a:lnTo>
                    <a:pt x="1654" y="501"/>
                  </a:lnTo>
                  <a:lnTo>
                    <a:pt x="1645" y="499"/>
                  </a:lnTo>
                  <a:lnTo>
                    <a:pt x="1625" y="494"/>
                  </a:lnTo>
                  <a:lnTo>
                    <a:pt x="1599" y="487"/>
                  </a:lnTo>
                  <a:lnTo>
                    <a:pt x="1568" y="478"/>
                  </a:lnTo>
                  <a:lnTo>
                    <a:pt x="1539" y="468"/>
                  </a:lnTo>
                  <a:lnTo>
                    <a:pt x="1513" y="458"/>
                  </a:lnTo>
                  <a:lnTo>
                    <a:pt x="1502" y="453"/>
                  </a:lnTo>
                  <a:lnTo>
                    <a:pt x="1495" y="448"/>
                  </a:lnTo>
                  <a:lnTo>
                    <a:pt x="1492" y="445"/>
                  </a:lnTo>
                  <a:lnTo>
                    <a:pt x="1490" y="443"/>
                  </a:lnTo>
                  <a:lnTo>
                    <a:pt x="1488" y="441"/>
                  </a:lnTo>
                  <a:lnTo>
                    <a:pt x="1488" y="439"/>
                  </a:lnTo>
                  <a:lnTo>
                    <a:pt x="1467" y="439"/>
                  </a:lnTo>
                  <a:lnTo>
                    <a:pt x="1432" y="436"/>
                  </a:lnTo>
                  <a:lnTo>
                    <a:pt x="1389" y="432"/>
                  </a:lnTo>
                  <a:lnTo>
                    <a:pt x="1343" y="425"/>
                  </a:lnTo>
                  <a:lnTo>
                    <a:pt x="1320" y="421"/>
                  </a:lnTo>
                  <a:lnTo>
                    <a:pt x="1298" y="417"/>
                  </a:lnTo>
                  <a:lnTo>
                    <a:pt x="1277" y="412"/>
                  </a:lnTo>
                  <a:lnTo>
                    <a:pt x="1260" y="406"/>
                  </a:lnTo>
                  <a:lnTo>
                    <a:pt x="1251" y="403"/>
                  </a:lnTo>
                  <a:lnTo>
                    <a:pt x="1244" y="400"/>
                  </a:lnTo>
                  <a:lnTo>
                    <a:pt x="1238" y="397"/>
                  </a:lnTo>
                  <a:lnTo>
                    <a:pt x="1232" y="394"/>
                  </a:lnTo>
                  <a:lnTo>
                    <a:pt x="1228" y="389"/>
                  </a:lnTo>
                  <a:lnTo>
                    <a:pt x="1225" y="386"/>
                  </a:lnTo>
                  <a:lnTo>
                    <a:pt x="1223" y="382"/>
                  </a:lnTo>
                  <a:lnTo>
                    <a:pt x="1222" y="378"/>
                  </a:lnTo>
                  <a:lnTo>
                    <a:pt x="1210" y="381"/>
                  </a:lnTo>
                  <a:lnTo>
                    <a:pt x="1203" y="384"/>
                  </a:lnTo>
                  <a:lnTo>
                    <a:pt x="1203" y="389"/>
                  </a:lnTo>
                  <a:lnTo>
                    <a:pt x="1204" y="395"/>
                  </a:lnTo>
                  <a:lnTo>
                    <a:pt x="1205" y="399"/>
                  </a:lnTo>
                  <a:lnTo>
                    <a:pt x="1207" y="403"/>
                  </a:lnTo>
                  <a:lnTo>
                    <a:pt x="1211" y="410"/>
                  </a:lnTo>
                  <a:lnTo>
                    <a:pt x="1218" y="416"/>
                  </a:lnTo>
                  <a:lnTo>
                    <a:pt x="1225" y="421"/>
                  </a:lnTo>
                  <a:lnTo>
                    <a:pt x="1233" y="425"/>
                  </a:lnTo>
                  <a:lnTo>
                    <a:pt x="1243" y="429"/>
                  </a:lnTo>
                  <a:lnTo>
                    <a:pt x="1253" y="433"/>
                  </a:lnTo>
                  <a:lnTo>
                    <a:pt x="1274" y="442"/>
                  </a:lnTo>
                  <a:lnTo>
                    <a:pt x="1295" y="452"/>
                  </a:lnTo>
                  <a:lnTo>
                    <a:pt x="1305" y="458"/>
                  </a:lnTo>
                  <a:lnTo>
                    <a:pt x="1313" y="465"/>
                  </a:lnTo>
                  <a:lnTo>
                    <a:pt x="1322" y="473"/>
                  </a:lnTo>
                  <a:lnTo>
                    <a:pt x="1329" y="483"/>
                  </a:lnTo>
                  <a:lnTo>
                    <a:pt x="1319" y="483"/>
                  </a:lnTo>
                  <a:lnTo>
                    <a:pt x="1309" y="483"/>
                  </a:lnTo>
                  <a:lnTo>
                    <a:pt x="1297" y="481"/>
                  </a:lnTo>
                  <a:lnTo>
                    <a:pt x="1281" y="477"/>
                  </a:lnTo>
                  <a:lnTo>
                    <a:pt x="1272" y="475"/>
                  </a:lnTo>
                  <a:lnTo>
                    <a:pt x="1262" y="473"/>
                  </a:lnTo>
                  <a:lnTo>
                    <a:pt x="1252" y="471"/>
                  </a:lnTo>
                  <a:lnTo>
                    <a:pt x="1242" y="471"/>
                  </a:lnTo>
                  <a:lnTo>
                    <a:pt x="1232" y="471"/>
                  </a:lnTo>
                  <a:lnTo>
                    <a:pt x="1221" y="473"/>
                  </a:lnTo>
                  <a:lnTo>
                    <a:pt x="1210" y="475"/>
                  </a:lnTo>
                  <a:lnTo>
                    <a:pt x="1198" y="477"/>
                  </a:lnTo>
                  <a:lnTo>
                    <a:pt x="1174" y="484"/>
                  </a:lnTo>
                  <a:lnTo>
                    <a:pt x="1149" y="492"/>
                  </a:lnTo>
                  <a:lnTo>
                    <a:pt x="1122" y="500"/>
                  </a:lnTo>
                  <a:lnTo>
                    <a:pt x="1097" y="508"/>
                  </a:lnTo>
                  <a:lnTo>
                    <a:pt x="1085" y="510"/>
                  </a:lnTo>
                  <a:lnTo>
                    <a:pt x="1073" y="512"/>
                  </a:lnTo>
                  <a:lnTo>
                    <a:pt x="1061" y="514"/>
                  </a:lnTo>
                  <a:lnTo>
                    <a:pt x="1050" y="514"/>
                  </a:lnTo>
                  <a:lnTo>
                    <a:pt x="1046" y="513"/>
                  </a:lnTo>
                  <a:lnTo>
                    <a:pt x="1042" y="511"/>
                  </a:lnTo>
                  <a:lnTo>
                    <a:pt x="1040" y="507"/>
                  </a:lnTo>
                  <a:lnTo>
                    <a:pt x="1040" y="503"/>
                  </a:lnTo>
                  <a:lnTo>
                    <a:pt x="1040" y="496"/>
                  </a:lnTo>
                  <a:lnTo>
                    <a:pt x="1042" y="490"/>
                  </a:lnTo>
                  <a:lnTo>
                    <a:pt x="1046" y="484"/>
                  </a:lnTo>
                  <a:lnTo>
                    <a:pt x="1050" y="477"/>
                  </a:lnTo>
                  <a:lnTo>
                    <a:pt x="1040" y="473"/>
                  </a:lnTo>
                  <a:lnTo>
                    <a:pt x="1030" y="472"/>
                  </a:lnTo>
                  <a:lnTo>
                    <a:pt x="1019" y="471"/>
                  </a:lnTo>
                  <a:lnTo>
                    <a:pt x="1009" y="471"/>
                  </a:lnTo>
                  <a:lnTo>
                    <a:pt x="1007" y="475"/>
                  </a:lnTo>
                  <a:lnTo>
                    <a:pt x="1004" y="477"/>
                  </a:lnTo>
                  <a:lnTo>
                    <a:pt x="999" y="479"/>
                  </a:lnTo>
                  <a:lnTo>
                    <a:pt x="994" y="480"/>
                  </a:lnTo>
                  <a:lnTo>
                    <a:pt x="984" y="480"/>
                  </a:lnTo>
                  <a:lnTo>
                    <a:pt x="972" y="479"/>
                  </a:lnTo>
                  <a:lnTo>
                    <a:pt x="961" y="477"/>
                  </a:lnTo>
                  <a:lnTo>
                    <a:pt x="949" y="477"/>
                  </a:lnTo>
                  <a:lnTo>
                    <a:pt x="943" y="477"/>
                  </a:lnTo>
                  <a:lnTo>
                    <a:pt x="939" y="478"/>
                  </a:lnTo>
                  <a:lnTo>
                    <a:pt x="934" y="480"/>
                  </a:lnTo>
                  <a:lnTo>
                    <a:pt x="930" y="483"/>
                  </a:lnTo>
                  <a:lnTo>
                    <a:pt x="924" y="489"/>
                  </a:lnTo>
                  <a:lnTo>
                    <a:pt x="916" y="495"/>
                  </a:lnTo>
                  <a:lnTo>
                    <a:pt x="908" y="500"/>
                  </a:lnTo>
                  <a:lnTo>
                    <a:pt x="900" y="505"/>
                  </a:lnTo>
                  <a:lnTo>
                    <a:pt x="882" y="513"/>
                  </a:lnTo>
                  <a:lnTo>
                    <a:pt x="864" y="522"/>
                  </a:lnTo>
                  <a:lnTo>
                    <a:pt x="857" y="526"/>
                  </a:lnTo>
                  <a:lnTo>
                    <a:pt x="849" y="532"/>
                  </a:lnTo>
                  <a:lnTo>
                    <a:pt x="841" y="538"/>
                  </a:lnTo>
                  <a:lnTo>
                    <a:pt x="836" y="545"/>
                  </a:lnTo>
                  <a:lnTo>
                    <a:pt x="830" y="553"/>
                  </a:lnTo>
                  <a:lnTo>
                    <a:pt x="827" y="564"/>
                  </a:lnTo>
                  <a:lnTo>
                    <a:pt x="825" y="575"/>
                  </a:lnTo>
                  <a:lnTo>
                    <a:pt x="824" y="588"/>
                  </a:lnTo>
                  <a:lnTo>
                    <a:pt x="810" y="584"/>
                  </a:lnTo>
                  <a:lnTo>
                    <a:pt x="797" y="581"/>
                  </a:lnTo>
                  <a:lnTo>
                    <a:pt x="791" y="581"/>
                  </a:lnTo>
                  <a:lnTo>
                    <a:pt x="784" y="582"/>
                  </a:lnTo>
                  <a:lnTo>
                    <a:pt x="778" y="584"/>
                  </a:lnTo>
                  <a:lnTo>
                    <a:pt x="771" y="588"/>
                  </a:lnTo>
                  <a:lnTo>
                    <a:pt x="758" y="582"/>
                  </a:lnTo>
                  <a:lnTo>
                    <a:pt x="740" y="575"/>
                  </a:lnTo>
                  <a:lnTo>
                    <a:pt x="732" y="571"/>
                  </a:lnTo>
                  <a:lnTo>
                    <a:pt x="724" y="566"/>
                  </a:lnTo>
                  <a:lnTo>
                    <a:pt x="716" y="562"/>
                  </a:lnTo>
                  <a:lnTo>
                    <a:pt x="711" y="556"/>
                  </a:lnTo>
                  <a:lnTo>
                    <a:pt x="711" y="526"/>
                  </a:lnTo>
                  <a:lnTo>
                    <a:pt x="721" y="526"/>
                  </a:lnTo>
                  <a:lnTo>
                    <a:pt x="730" y="526"/>
                  </a:lnTo>
                  <a:lnTo>
                    <a:pt x="738" y="526"/>
                  </a:lnTo>
                  <a:lnTo>
                    <a:pt x="744" y="526"/>
                  </a:lnTo>
                  <a:lnTo>
                    <a:pt x="740" y="516"/>
                  </a:lnTo>
                  <a:lnTo>
                    <a:pt x="736" y="507"/>
                  </a:lnTo>
                  <a:lnTo>
                    <a:pt x="730" y="499"/>
                  </a:lnTo>
                  <a:lnTo>
                    <a:pt x="723" y="493"/>
                  </a:lnTo>
                  <a:lnTo>
                    <a:pt x="714" y="488"/>
                  </a:lnTo>
                  <a:lnTo>
                    <a:pt x="704" y="485"/>
                  </a:lnTo>
                  <a:lnTo>
                    <a:pt x="692" y="483"/>
                  </a:lnTo>
                  <a:lnTo>
                    <a:pt x="678" y="483"/>
                  </a:lnTo>
                  <a:lnTo>
                    <a:pt x="668" y="483"/>
                  </a:lnTo>
                  <a:lnTo>
                    <a:pt x="656" y="483"/>
                  </a:lnTo>
                  <a:lnTo>
                    <a:pt x="643" y="483"/>
                  </a:lnTo>
                  <a:lnTo>
                    <a:pt x="624" y="483"/>
                  </a:lnTo>
                  <a:lnTo>
                    <a:pt x="627" y="487"/>
                  </a:lnTo>
                  <a:lnTo>
                    <a:pt x="632" y="491"/>
                  </a:lnTo>
                  <a:lnTo>
                    <a:pt x="636" y="495"/>
                  </a:lnTo>
                  <a:lnTo>
                    <a:pt x="640" y="498"/>
                  </a:lnTo>
                  <a:lnTo>
                    <a:pt x="645" y="501"/>
                  </a:lnTo>
                  <a:lnTo>
                    <a:pt x="648" y="506"/>
                  </a:lnTo>
                  <a:lnTo>
                    <a:pt x="650" y="510"/>
                  </a:lnTo>
                  <a:lnTo>
                    <a:pt x="651" y="514"/>
                  </a:lnTo>
                  <a:lnTo>
                    <a:pt x="650" y="519"/>
                  </a:lnTo>
                  <a:lnTo>
                    <a:pt x="649" y="523"/>
                  </a:lnTo>
                  <a:lnTo>
                    <a:pt x="648" y="525"/>
                  </a:lnTo>
                  <a:lnTo>
                    <a:pt x="646" y="528"/>
                  </a:lnTo>
                  <a:lnTo>
                    <a:pt x="643" y="530"/>
                  </a:lnTo>
                  <a:lnTo>
                    <a:pt x="638" y="532"/>
                  </a:lnTo>
                  <a:lnTo>
                    <a:pt x="647" y="541"/>
                  </a:lnTo>
                  <a:lnTo>
                    <a:pt x="656" y="550"/>
                  </a:lnTo>
                  <a:lnTo>
                    <a:pt x="661" y="554"/>
                  </a:lnTo>
                  <a:lnTo>
                    <a:pt x="668" y="557"/>
                  </a:lnTo>
                  <a:lnTo>
                    <a:pt x="676" y="561"/>
                  </a:lnTo>
                  <a:lnTo>
                    <a:pt x="684" y="564"/>
                  </a:lnTo>
                  <a:lnTo>
                    <a:pt x="684" y="619"/>
                  </a:lnTo>
                  <a:lnTo>
                    <a:pt x="677" y="619"/>
                  </a:lnTo>
                  <a:lnTo>
                    <a:pt x="665" y="619"/>
                  </a:lnTo>
                  <a:lnTo>
                    <a:pt x="659" y="610"/>
                  </a:lnTo>
                  <a:lnTo>
                    <a:pt x="654" y="604"/>
                  </a:lnTo>
                  <a:lnTo>
                    <a:pt x="647" y="599"/>
                  </a:lnTo>
                  <a:lnTo>
                    <a:pt x="639" y="595"/>
                  </a:lnTo>
                  <a:lnTo>
                    <a:pt x="623" y="589"/>
                  </a:lnTo>
                  <a:lnTo>
                    <a:pt x="604" y="582"/>
                  </a:lnTo>
                  <a:lnTo>
                    <a:pt x="602" y="585"/>
                  </a:lnTo>
                  <a:lnTo>
                    <a:pt x="599" y="589"/>
                  </a:lnTo>
                  <a:lnTo>
                    <a:pt x="594" y="593"/>
                  </a:lnTo>
                  <a:lnTo>
                    <a:pt x="588" y="597"/>
                  </a:lnTo>
                  <a:lnTo>
                    <a:pt x="575" y="606"/>
                  </a:lnTo>
                  <a:lnTo>
                    <a:pt x="559" y="615"/>
                  </a:lnTo>
                  <a:lnTo>
                    <a:pt x="544" y="624"/>
                  </a:lnTo>
                  <a:lnTo>
                    <a:pt x="531" y="631"/>
                  </a:lnTo>
                  <a:lnTo>
                    <a:pt x="525" y="635"/>
                  </a:lnTo>
                  <a:lnTo>
                    <a:pt x="522" y="638"/>
                  </a:lnTo>
                  <a:lnTo>
                    <a:pt x="519" y="641"/>
                  </a:lnTo>
                  <a:lnTo>
                    <a:pt x="519" y="643"/>
                  </a:lnTo>
                  <a:lnTo>
                    <a:pt x="519" y="647"/>
                  </a:lnTo>
                  <a:lnTo>
                    <a:pt x="520" y="651"/>
                  </a:lnTo>
                  <a:lnTo>
                    <a:pt x="521" y="655"/>
                  </a:lnTo>
                  <a:lnTo>
                    <a:pt x="523" y="658"/>
                  </a:lnTo>
                  <a:lnTo>
                    <a:pt x="528" y="663"/>
                  </a:lnTo>
                  <a:lnTo>
                    <a:pt x="536" y="667"/>
                  </a:lnTo>
                  <a:lnTo>
                    <a:pt x="543" y="673"/>
                  </a:lnTo>
                  <a:lnTo>
                    <a:pt x="549" y="678"/>
                  </a:lnTo>
                  <a:lnTo>
                    <a:pt x="551" y="681"/>
                  </a:lnTo>
                  <a:lnTo>
                    <a:pt x="555" y="685"/>
                  </a:lnTo>
                  <a:lnTo>
                    <a:pt x="557" y="688"/>
                  </a:lnTo>
                  <a:lnTo>
                    <a:pt x="558" y="693"/>
                  </a:lnTo>
                  <a:lnTo>
                    <a:pt x="471" y="693"/>
                  </a:lnTo>
                  <a:lnTo>
                    <a:pt x="467" y="705"/>
                  </a:lnTo>
                  <a:lnTo>
                    <a:pt x="464" y="721"/>
                  </a:lnTo>
                  <a:lnTo>
                    <a:pt x="460" y="730"/>
                  </a:lnTo>
                  <a:lnTo>
                    <a:pt x="457" y="736"/>
                  </a:lnTo>
                  <a:lnTo>
                    <a:pt x="454" y="739"/>
                  </a:lnTo>
                  <a:lnTo>
                    <a:pt x="452" y="740"/>
                  </a:lnTo>
                  <a:lnTo>
                    <a:pt x="448" y="742"/>
                  </a:lnTo>
                  <a:lnTo>
                    <a:pt x="445" y="742"/>
                  </a:lnTo>
                  <a:lnTo>
                    <a:pt x="433" y="742"/>
                  </a:lnTo>
                  <a:lnTo>
                    <a:pt x="420" y="741"/>
                  </a:lnTo>
                  <a:lnTo>
                    <a:pt x="407" y="739"/>
                  </a:lnTo>
                  <a:lnTo>
                    <a:pt x="393" y="736"/>
                  </a:lnTo>
                  <a:lnTo>
                    <a:pt x="380" y="733"/>
                  </a:lnTo>
                  <a:lnTo>
                    <a:pt x="367" y="729"/>
                  </a:lnTo>
                  <a:lnTo>
                    <a:pt x="355" y="723"/>
                  </a:lnTo>
                  <a:lnTo>
                    <a:pt x="344" y="718"/>
                  </a:lnTo>
                  <a:lnTo>
                    <a:pt x="333" y="711"/>
                  </a:lnTo>
                  <a:lnTo>
                    <a:pt x="323" y="704"/>
                  </a:lnTo>
                  <a:lnTo>
                    <a:pt x="314" y="696"/>
                  </a:lnTo>
                  <a:lnTo>
                    <a:pt x="307" y="687"/>
                  </a:lnTo>
                  <a:lnTo>
                    <a:pt x="301" y="678"/>
                  </a:lnTo>
                  <a:lnTo>
                    <a:pt x="296" y="666"/>
                  </a:lnTo>
                  <a:lnTo>
                    <a:pt x="293" y="655"/>
                  </a:lnTo>
                  <a:lnTo>
                    <a:pt x="292" y="643"/>
                  </a:lnTo>
                  <a:lnTo>
                    <a:pt x="289" y="636"/>
                  </a:lnTo>
                  <a:lnTo>
                    <a:pt x="286" y="625"/>
                  </a:lnTo>
                  <a:lnTo>
                    <a:pt x="273" y="622"/>
                  </a:lnTo>
                  <a:lnTo>
                    <a:pt x="254" y="616"/>
                  </a:lnTo>
                  <a:lnTo>
                    <a:pt x="232" y="609"/>
                  </a:lnTo>
                  <a:lnTo>
                    <a:pt x="209" y="601"/>
                  </a:lnTo>
                  <a:lnTo>
                    <a:pt x="188" y="592"/>
                  </a:lnTo>
                  <a:lnTo>
                    <a:pt x="169" y="582"/>
                  </a:lnTo>
                  <a:lnTo>
                    <a:pt x="163" y="578"/>
                  </a:lnTo>
                  <a:lnTo>
                    <a:pt x="157" y="573"/>
                  </a:lnTo>
                  <a:lnTo>
                    <a:pt x="154" y="568"/>
                  </a:lnTo>
                  <a:lnTo>
                    <a:pt x="153" y="564"/>
                  </a:lnTo>
                  <a:lnTo>
                    <a:pt x="162" y="567"/>
                  </a:lnTo>
                  <a:lnTo>
                    <a:pt x="183" y="574"/>
                  </a:lnTo>
                  <a:lnTo>
                    <a:pt x="211" y="582"/>
                  </a:lnTo>
                  <a:lnTo>
                    <a:pt x="244" y="590"/>
                  </a:lnTo>
                  <a:lnTo>
                    <a:pt x="277" y="598"/>
                  </a:lnTo>
                  <a:lnTo>
                    <a:pt x="308" y="605"/>
                  </a:lnTo>
                  <a:lnTo>
                    <a:pt x="332" y="610"/>
                  </a:lnTo>
                  <a:lnTo>
                    <a:pt x="345" y="612"/>
                  </a:lnTo>
                  <a:lnTo>
                    <a:pt x="368" y="612"/>
                  </a:lnTo>
                  <a:lnTo>
                    <a:pt x="390" y="612"/>
                  </a:lnTo>
                  <a:lnTo>
                    <a:pt x="414" y="612"/>
                  </a:lnTo>
                  <a:lnTo>
                    <a:pt x="445" y="612"/>
                  </a:lnTo>
                  <a:lnTo>
                    <a:pt x="454" y="612"/>
                  </a:lnTo>
                  <a:lnTo>
                    <a:pt x="461" y="611"/>
                  </a:lnTo>
                  <a:lnTo>
                    <a:pt x="469" y="609"/>
                  </a:lnTo>
                  <a:lnTo>
                    <a:pt x="477" y="607"/>
                  </a:lnTo>
                  <a:lnTo>
                    <a:pt x="490" y="601"/>
                  </a:lnTo>
                  <a:lnTo>
                    <a:pt x="502" y="594"/>
                  </a:lnTo>
                  <a:lnTo>
                    <a:pt x="514" y="585"/>
                  </a:lnTo>
                  <a:lnTo>
                    <a:pt x="524" y="576"/>
                  </a:lnTo>
                  <a:lnTo>
                    <a:pt x="535" y="567"/>
                  </a:lnTo>
                  <a:lnTo>
                    <a:pt x="545" y="556"/>
                  </a:lnTo>
                  <a:lnTo>
                    <a:pt x="536" y="547"/>
                  </a:lnTo>
                  <a:lnTo>
                    <a:pt x="527" y="536"/>
                  </a:lnTo>
                  <a:lnTo>
                    <a:pt x="523" y="531"/>
                  </a:lnTo>
                  <a:lnTo>
                    <a:pt x="517" y="527"/>
                  </a:lnTo>
                  <a:lnTo>
                    <a:pt x="512" y="523"/>
                  </a:lnTo>
                  <a:lnTo>
                    <a:pt x="505" y="520"/>
                  </a:lnTo>
                  <a:lnTo>
                    <a:pt x="500" y="518"/>
                  </a:lnTo>
                  <a:lnTo>
                    <a:pt x="484" y="511"/>
                  </a:lnTo>
                  <a:lnTo>
                    <a:pt x="459" y="499"/>
                  </a:lnTo>
                  <a:lnTo>
                    <a:pt x="424" y="487"/>
                  </a:lnTo>
                  <a:lnTo>
                    <a:pt x="403" y="481"/>
                  </a:lnTo>
                  <a:lnTo>
                    <a:pt x="379" y="475"/>
                  </a:lnTo>
                  <a:lnTo>
                    <a:pt x="352" y="469"/>
                  </a:lnTo>
                  <a:lnTo>
                    <a:pt x="323" y="463"/>
                  </a:lnTo>
                  <a:lnTo>
                    <a:pt x="291" y="458"/>
                  </a:lnTo>
                  <a:lnTo>
                    <a:pt x="256" y="453"/>
                  </a:lnTo>
                  <a:lnTo>
                    <a:pt x="219" y="449"/>
                  </a:lnTo>
                  <a:lnTo>
                    <a:pt x="179" y="446"/>
                  </a:lnTo>
                  <a:lnTo>
                    <a:pt x="172" y="446"/>
                  </a:lnTo>
                  <a:lnTo>
                    <a:pt x="165" y="445"/>
                  </a:lnTo>
                  <a:lnTo>
                    <a:pt x="158" y="444"/>
                  </a:lnTo>
                  <a:lnTo>
                    <a:pt x="152" y="442"/>
                  </a:lnTo>
                  <a:lnTo>
                    <a:pt x="150" y="440"/>
                  </a:lnTo>
                  <a:lnTo>
                    <a:pt x="146" y="438"/>
                  </a:lnTo>
                  <a:lnTo>
                    <a:pt x="144" y="436"/>
                  </a:lnTo>
                  <a:lnTo>
                    <a:pt x="143" y="433"/>
                  </a:lnTo>
                  <a:lnTo>
                    <a:pt x="141" y="425"/>
                  </a:lnTo>
                  <a:lnTo>
                    <a:pt x="140" y="415"/>
                  </a:lnTo>
                  <a:lnTo>
                    <a:pt x="120" y="420"/>
                  </a:lnTo>
                  <a:lnTo>
                    <a:pt x="99" y="425"/>
                  </a:lnTo>
                  <a:lnTo>
                    <a:pt x="77" y="431"/>
                  </a:lnTo>
                  <a:lnTo>
                    <a:pt x="53" y="439"/>
                  </a:lnTo>
                  <a:lnTo>
                    <a:pt x="50" y="441"/>
                  </a:lnTo>
                  <a:lnTo>
                    <a:pt x="43" y="445"/>
                  </a:lnTo>
                  <a:lnTo>
                    <a:pt x="40" y="446"/>
                  </a:lnTo>
                  <a:lnTo>
                    <a:pt x="37" y="448"/>
                  </a:lnTo>
                  <a:lnTo>
                    <a:pt x="34" y="448"/>
                  </a:lnTo>
                  <a:lnTo>
                    <a:pt x="33" y="446"/>
                  </a:lnTo>
                  <a:lnTo>
                    <a:pt x="0" y="483"/>
                  </a:lnTo>
                  <a:lnTo>
                    <a:pt x="4" y="488"/>
                  </a:lnTo>
                  <a:lnTo>
                    <a:pt x="8" y="493"/>
                  </a:lnTo>
                  <a:lnTo>
                    <a:pt x="13" y="498"/>
                  </a:lnTo>
                  <a:lnTo>
                    <a:pt x="18" y="503"/>
                  </a:lnTo>
                  <a:lnTo>
                    <a:pt x="29" y="509"/>
                  </a:lnTo>
                  <a:lnTo>
                    <a:pt x="40" y="515"/>
                  </a:lnTo>
                  <a:lnTo>
                    <a:pt x="62" y="524"/>
                  </a:lnTo>
                  <a:lnTo>
                    <a:pt x="79" y="532"/>
                  </a:lnTo>
                  <a:lnTo>
                    <a:pt x="77" y="540"/>
                  </a:lnTo>
                  <a:lnTo>
                    <a:pt x="74" y="547"/>
                  </a:lnTo>
                  <a:lnTo>
                    <a:pt x="71" y="552"/>
                  </a:lnTo>
                  <a:lnTo>
                    <a:pt x="67" y="556"/>
                  </a:lnTo>
                  <a:lnTo>
                    <a:pt x="64" y="562"/>
                  </a:lnTo>
                  <a:lnTo>
                    <a:pt x="62" y="567"/>
                  </a:lnTo>
                  <a:lnTo>
                    <a:pt x="61" y="574"/>
                  </a:lnTo>
                  <a:lnTo>
                    <a:pt x="60" y="582"/>
                  </a:lnTo>
                  <a:lnTo>
                    <a:pt x="61" y="589"/>
                  </a:lnTo>
                  <a:lnTo>
                    <a:pt x="65" y="597"/>
                  </a:lnTo>
                  <a:lnTo>
                    <a:pt x="71" y="605"/>
                  </a:lnTo>
                  <a:lnTo>
                    <a:pt x="77" y="614"/>
                  </a:lnTo>
                  <a:lnTo>
                    <a:pt x="84" y="621"/>
                  </a:lnTo>
                  <a:lnTo>
                    <a:pt x="90" y="626"/>
                  </a:lnTo>
                  <a:lnTo>
                    <a:pt x="96" y="630"/>
                  </a:lnTo>
                  <a:lnTo>
                    <a:pt x="99" y="631"/>
                  </a:lnTo>
                  <a:lnTo>
                    <a:pt x="100" y="647"/>
                  </a:lnTo>
                  <a:lnTo>
                    <a:pt x="102" y="662"/>
                  </a:lnTo>
                  <a:lnTo>
                    <a:pt x="106" y="677"/>
                  </a:lnTo>
                  <a:lnTo>
                    <a:pt x="111" y="689"/>
                  </a:lnTo>
                  <a:lnTo>
                    <a:pt x="117" y="700"/>
                  </a:lnTo>
                  <a:lnTo>
                    <a:pt x="123" y="710"/>
                  </a:lnTo>
                  <a:lnTo>
                    <a:pt x="131" y="719"/>
                  </a:lnTo>
                  <a:lnTo>
                    <a:pt x="140" y="728"/>
                  </a:lnTo>
                  <a:lnTo>
                    <a:pt x="149" y="736"/>
                  </a:lnTo>
                  <a:lnTo>
                    <a:pt x="158" y="743"/>
                  </a:lnTo>
                  <a:lnTo>
                    <a:pt x="168" y="750"/>
                  </a:lnTo>
                  <a:lnTo>
                    <a:pt x="178" y="756"/>
                  </a:lnTo>
                  <a:lnTo>
                    <a:pt x="199" y="767"/>
                  </a:lnTo>
                  <a:lnTo>
                    <a:pt x="219" y="778"/>
                  </a:lnTo>
                  <a:lnTo>
                    <a:pt x="184" y="815"/>
                  </a:lnTo>
                  <a:lnTo>
                    <a:pt x="146" y="856"/>
                  </a:lnTo>
                  <a:lnTo>
                    <a:pt x="128" y="875"/>
                  </a:lnTo>
                  <a:lnTo>
                    <a:pt x="109" y="892"/>
                  </a:lnTo>
                  <a:lnTo>
                    <a:pt x="100" y="899"/>
                  </a:lnTo>
                  <a:lnTo>
                    <a:pt x="90" y="905"/>
                  </a:lnTo>
                  <a:lnTo>
                    <a:pt x="82" y="910"/>
                  </a:lnTo>
                  <a:lnTo>
                    <a:pt x="73" y="914"/>
                  </a:lnTo>
                  <a:lnTo>
                    <a:pt x="74" y="917"/>
                  </a:lnTo>
                  <a:lnTo>
                    <a:pt x="75" y="920"/>
                  </a:lnTo>
                  <a:lnTo>
                    <a:pt x="77" y="923"/>
                  </a:lnTo>
                  <a:lnTo>
                    <a:pt x="80" y="926"/>
                  </a:lnTo>
                  <a:lnTo>
                    <a:pt x="88" y="934"/>
                  </a:lnTo>
                  <a:lnTo>
                    <a:pt x="96" y="942"/>
                  </a:lnTo>
                  <a:lnTo>
                    <a:pt x="105" y="951"/>
                  </a:lnTo>
                  <a:lnTo>
                    <a:pt x="112" y="958"/>
                  </a:lnTo>
                  <a:lnTo>
                    <a:pt x="118" y="965"/>
                  </a:lnTo>
                  <a:lnTo>
                    <a:pt x="120" y="970"/>
                  </a:lnTo>
                  <a:lnTo>
                    <a:pt x="116" y="976"/>
                  </a:lnTo>
                  <a:lnTo>
                    <a:pt x="112" y="981"/>
                  </a:lnTo>
                  <a:lnTo>
                    <a:pt x="110" y="987"/>
                  </a:lnTo>
                  <a:lnTo>
                    <a:pt x="109" y="993"/>
                  </a:lnTo>
                  <a:lnTo>
                    <a:pt x="109" y="1005"/>
                  </a:lnTo>
                  <a:lnTo>
                    <a:pt x="111" y="1017"/>
                  </a:lnTo>
                  <a:lnTo>
                    <a:pt x="113" y="1029"/>
                  </a:lnTo>
                  <a:lnTo>
                    <a:pt x="116" y="1042"/>
                  </a:lnTo>
                  <a:lnTo>
                    <a:pt x="117" y="1048"/>
                  </a:lnTo>
                  <a:lnTo>
                    <a:pt x="116" y="1054"/>
                  </a:lnTo>
                  <a:lnTo>
                    <a:pt x="114" y="1062"/>
                  </a:lnTo>
                  <a:lnTo>
                    <a:pt x="113" y="1069"/>
                  </a:lnTo>
                  <a:lnTo>
                    <a:pt x="120" y="1090"/>
                  </a:lnTo>
                  <a:lnTo>
                    <a:pt x="130" y="1115"/>
                  </a:lnTo>
                  <a:lnTo>
                    <a:pt x="142" y="1139"/>
                  </a:lnTo>
                  <a:lnTo>
                    <a:pt x="153" y="1160"/>
                  </a:lnTo>
                  <a:lnTo>
                    <a:pt x="192" y="1180"/>
                  </a:lnTo>
                  <a:lnTo>
                    <a:pt x="232" y="1180"/>
                  </a:lnTo>
                  <a:lnTo>
                    <a:pt x="240" y="1204"/>
                  </a:lnTo>
                  <a:lnTo>
                    <a:pt x="279" y="1192"/>
                  </a:lnTo>
                  <a:lnTo>
                    <a:pt x="312" y="1204"/>
                  </a:lnTo>
                  <a:lnTo>
                    <a:pt x="319" y="1253"/>
                  </a:lnTo>
                  <a:lnTo>
                    <a:pt x="365" y="1291"/>
                  </a:lnTo>
                  <a:lnTo>
                    <a:pt x="399" y="1309"/>
                  </a:lnTo>
                  <a:lnTo>
                    <a:pt x="425" y="1327"/>
                  </a:lnTo>
                  <a:lnTo>
                    <a:pt x="399" y="1346"/>
                  </a:lnTo>
                  <a:lnTo>
                    <a:pt x="352" y="1333"/>
                  </a:lnTo>
                  <a:lnTo>
                    <a:pt x="358" y="1358"/>
                  </a:lnTo>
                  <a:lnTo>
                    <a:pt x="373" y="1370"/>
                  </a:lnTo>
                  <a:lnTo>
                    <a:pt x="373" y="1401"/>
                  </a:lnTo>
                  <a:lnTo>
                    <a:pt x="365" y="1401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53" name="Freeform 23"/>
            <p:cNvSpPr>
              <a:spLocks/>
            </p:cNvSpPr>
            <p:nvPr>
              <p:custDataLst>
                <p:tags r:id="rId38"/>
              </p:custDataLst>
            </p:nvPr>
          </p:nvSpPr>
          <p:spPr bwMode="auto">
            <a:xfrm>
              <a:off x="5912482" y="2945252"/>
              <a:ext cx="280987" cy="247650"/>
            </a:xfrm>
            <a:custGeom>
              <a:avLst/>
              <a:gdLst>
                <a:gd name="T0" fmla="*/ 2147483647 w 647"/>
                <a:gd name="T1" fmla="*/ 2147483647 h 470"/>
                <a:gd name="T2" fmla="*/ 2147483647 w 647"/>
                <a:gd name="T3" fmla="*/ 2147483647 h 470"/>
                <a:gd name="T4" fmla="*/ 2147483647 w 647"/>
                <a:gd name="T5" fmla="*/ 2147483647 h 470"/>
                <a:gd name="T6" fmla="*/ 2147483647 w 647"/>
                <a:gd name="T7" fmla="*/ 2147483647 h 470"/>
                <a:gd name="T8" fmla="*/ 2147483647 w 647"/>
                <a:gd name="T9" fmla="*/ 2147483647 h 470"/>
                <a:gd name="T10" fmla="*/ 2147483647 w 647"/>
                <a:gd name="T11" fmla="*/ 2147483647 h 470"/>
                <a:gd name="T12" fmla="*/ 2147483647 w 647"/>
                <a:gd name="T13" fmla="*/ 2147483647 h 470"/>
                <a:gd name="T14" fmla="*/ 2147483647 w 647"/>
                <a:gd name="T15" fmla="*/ 2147483647 h 470"/>
                <a:gd name="T16" fmla="*/ 2147483647 w 647"/>
                <a:gd name="T17" fmla="*/ 2147483647 h 470"/>
                <a:gd name="T18" fmla="*/ 2147483647 w 647"/>
                <a:gd name="T19" fmla="*/ 2147483647 h 470"/>
                <a:gd name="T20" fmla="*/ 2147483647 w 647"/>
                <a:gd name="T21" fmla="*/ 2147483647 h 470"/>
                <a:gd name="T22" fmla="*/ 2147483647 w 647"/>
                <a:gd name="T23" fmla="*/ 2147483647 h 470"/>
                <a:gd name="T24" fmla="*/ 2147483647 w 647"/>
                <a:gd name="T25" fmla="*/ 2147483647 h 470"/>
                <a:gd name="T26" fmla="*/ 2147483647 w 647"/>
                <a:gd name="T27" fmla="*/ 2147483647 h 470"/>
                <a:gd name="T28" fmla="*/ 2147483647 w 647"/>
                <a:gd name="T29" fmla="*/ 2147483647 h 470"/>
                <a:gd name="T30" fmla="*/ 2147483647 w 647"/>
                <a:gd name="T31" fmla="*/ 2147483647 h 470"/>
                <a:gd name="T32" fmla="*/ 2147483647 w 647"/>
                <a:gd name="T33" fmla="*/ 2147483647 h 470"/>
                <a:gd name="T34" fmla="*/ 2147483647 w 647"/>
                <a:gd name="T35" fmla="*/ 2147483647 h 470"/>
                <a:gd name="T36" fmla="*/ 2147483647 w 647"/>
                <a:gd name="T37" fmla="*/ 2147483647 h 470"/>
                <a:gd name="T38" fmla="*/ 2147483647 w 647"/>
                <a:gd name="T39" fmla="*/ 2147483647 h 470"/>
                <a:gd name="T40" fmla="*/ 2147483647 w 647"/>
                <a:gd name="T41" fmla="*/ 2147483647 h 470"/>
                <a:gd name="T42" fmla="*/ 2147483647 w 647"/>
                <a:gd name="T43" fmla="*/ 2147483647 h 470"/>
                <a:gd name="T44" fmla="*/ 2147483647 w 647"/>
                <a:gd name="T45" fmla="*/ 2147483647 h 470"/>
                <a:gd name="T46" fmla="*/ 2147483647 w 647"/>
                <a:gd name="T47" fmla="*/ 2147483647 h 470"/>
                <a:gd name="T48" fmla="*/ 2147483647 w 647"/>
                <a:gd name="T49" fmla="*/ 2147483647 h 470"/>
                <a:gd name="T50" fmla="*/ 2147483647 w 647"/>
                <a:gd name="T51" fmla="*/ 2147483647 h 470"/>
                <a:gd name="T52" fmla="*/ 2147483647 w 647"/>
                <a:gd name="T53" fmla="*/ 2147483647 h 470"/>
                <a:gd name="T54" fmla="*/ 2147483647 w 647"/>
                <a:gd name="T55" fmla="*/ 2147483647 h 470"/>
                <a:gd name="T56" fmla="*/ 2147483647 w 647"/>
                <a:gd name="T57" fmla="*/ 2147483647 h 470"/>
                <a:gd name="T58" fmla="*/ 2147483647 w 647"/>
                <a:gd name="T59" fmla="*/ 2147483647 h 470"/>
                <a:gd name="T60" fmla="*/ 2147483647 w 647"/>
                <a:gd name="T61" fmla="*/ 2147483647 h 470"/>
                <a:gd name="T62" fmla="*/ 2147483647 w 647"/>
                <a:gd name="T63" fmla="*/ 2147483647 h 470"/>
                <a:gd name="T64" fmla="*/ 2147483647 w 647"/>
                <a:gd name="T65" fmla="*/ 2147483647 h 470"/>
                <a:gd name="T66" fmla="*/ 2147483647 w 647"/>
                <a:gd name="T67" fmla="*/ 2147483647 h 470"/>
                <a:gd name="T68" fmla="*/ 2147483647 w 647"/>
                <a:gd name="T69" fmla="*/ 2147483647 h 470"/>
                <a:gd name="T70" fmla="*/ 2147483647 w 647"/>
                <a:gd name="T71" fmla="*/ 2147483647 h 470"/>
                <a:gd name="T72" fmla="*/ 2147483647 w 647"/>
                <a:gd name="T73" fmla="*/ 2147483647 h 470"/>
                <a:gd name="T74" fmla="*/ 2147483647 w 647"/>
                <a:gd name="T75" fmla="*/ 2147483647 h 470"/>
                <a:gd name="T76" fmla="*/ 2147483647 w 647"/>
                <a:gd name="T77" fmla="*/ 2147483647 h 470"/>
                <a:gd name="T78" fmla="*/ 2147483647 w 647"/>
                <a:gd name="T79" fmla="*/ 2147483647 h 470"/>
                <a:gd name="T80" fmla="*/ 2147483647 w 647"/>
                <a:gd name="T81" fmla="*/ 2147483647 h 470"/>
                <a:gd name="T82" fmla="*/ 2147483647 w 647"/>
                <a:gd name="T83" fmla="*/ 2147483647 h 470"/>
                <a:gd name="T84" fmla="*/ 2147483647 w 647"/>
                <a:gd name="T85" fmla="*/ 2147483647 h 470"/>
                <a:gd name="T86" fmla="*/ 2147483647 w 647"/>
                <a:gd name="T87" fmla="*/ 2147483647 h 470"/>
                <a:gd name="T88" fmla="*/ 2147483647 w 647"/>
                <a:gd name="T89" fmla="*/ 2147483647 h 470"/>
                <a:gd name="T90" fmla="*/ 2147483647 w 647"/>
                <a:gd name="T91" fmla="*/ 2147483647 h 470"/>
                <a:gd name="T92" fmla="*/ 0 w 647"/>
                <a:gd name="T93" fmla="*/ 2147483647 h 470"/>
                <a:gd name="T94" fmla="*/ 2147483647 w 647"/>
                <a:gd name="T95" fmla="*/ 2147483647 h 470"/>
                <a:gd name="T96" fmla="*/ 2147483647 w 647"/>
                <a:gd name="T97" fmla="*/ 2147483647 h 470"/>
                <a:gd name="T98" fmla="*/ 2147483647 w 647"/>
                <a:gd name="T99" fmla="*/ 2147483647 h 470"/>
                <a:gd name="T100" fmla="*/ 2147483647 w 647"/>
                <a:gd name="T101" fmla="*/ 0 h 470"/>
                <a:gd name="T102" fmla="*/ 2147483647 w 647"/>
                <a:gd name="T103" fmla="*/ 2147483647 h 470"/>
                <a:gd name="T104" fmla="*/ 2147483647 w 647"/>
                <a:gd name="T105" fmla="*/ 2147483647 h 470"/>
                <a:gd name="T106" fmla="*/ 2147483647 w 647"/>
                <a:gd name="T107" fmla="*/ 2147483647 h 470"/>
                <a:gd name="T108" fmla="*/ 2147483647 w 647"/>
                <a:gd name="T109" fmla="*/ 2147483647 h 470"/>
                <a:gd name="T110" fmla="*/ 2147483647 w 647"/>
                <a:gd name="T111" fmla="*/ 2147483647 h 470"/>
                <a:gd name="T112" fmla="*/ 2147483647 w 647"/>
                <a:gd name="T113" fmla="*/ 2147483647 h 4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647" h="470">
                  <a:moveTo>
                    <a:pt x="399" y="14"/>
                  </a:moveTo>
                  <a:lnTo>
                    <a:pt x="402" y="20"/>
                  </a:lnTo>
                  <a:lnTo>
                    <a:pt x="406" y="27"/>
                  </a:lnTo>
                  <a:lnTo>
                    <a:pt x="413" y="33"/>
                  </a:lnTo>
                  <a:lnTo>
                    <a:pt x="421" y="39"/>
                  </a:lnTo>
                  <a:lnTo>
                    <a:pt x="428" y="45"/>
                  </a:lnTo>
                  <a:lnTo>
                    <a:pt x="438" y="51"/>
                  </a:lnTo>
                  <a:lnTo>
                    <a:pt x="448" y="56"/>
                  </a:lnTo>
                  <a:lnTo>
                    <a:pt x="458" y="60"/>
                  </a:lnTo>
                  <a:lnTo>
                    <a:pt x="480" y="70"/>
                  </a:lnTo>
                  <a:lnTo>
                    <a:pt x="501" y="76"/>
                  </a:lnTo>
                  <a:lnTo>
                    <a:pt x="512" y="78"/>
                  </a:lnTo>
                  <a:lnTo>
                    <a:pt x="521" y="80"/>
                  </a:lnTo>
                  <a:lnTo>
                    <a:pt x="530" y="81"/>
                  </a:lnTo>
                  <a:lnTo>
                    <a:pt x="538" y="81"/>
                  </a:lnTo>
                  <a:lnTo>
                    <a:pt x="548" y="88"/>
                  </a:lnTo>
                  <a:lnTo>
                    <a:pt x="561" y="99"/>
                  </a:lnTo>
                  <a:lnTo>
                    <a:pt x="562" y="99"/>
                  </a:lnTo>
                  <a:lnTo>
                    <a:pt x="564" y="99"/>
                  </a:lnTo>
                  <a:lnTo>
                    <a:pt x="566" y="98"/>
                  </a:lnTo>
                  <a:lnTo>
                    <a:pt x="567" y="97"/>
                  </a:lnTo>
                  <a:lnTo>
                    <a:pt x="570" y="93"/>
                  </a:lnTo>
                  <a:lnTo>
                    <a:pt x="572" y="89"/>
                  </a:lnTo>
                  <a:lnTo>
                    <a:pt x="575" y="85"/>
                  </a:lnTo>
                  <a:lnTo>
                    <a:pt x="578" y="81"/>
                  </a:lnTo>
                  <a:lnTo>
                    <a:pt x="580" y="79"/>
                  </a:lnTo>
                  <a:lnTo>
                    <a:pt x="583" y="78"/>
                  </a:lnTo>
                  <a:lnTo>
                    <a:pt x="590" y="80"/>
                  </a:lnTo>
                  <a:lnTo>
                    <a:pt x="596" y="80"/>
                  </a:lnTo>
                  <a:lnTo>
                    <a:pt x="603" y="80"/>
                  </a:lnTo>
                  <a:lnTo>
                    <a:pt x="609" y="80"/>
                  </a:lnTo>
                  <a:lnTo>
                    <a:pt x="617" y="79"/>
                  </a:lnTo>
                  <a:lnTo>
                    <a:pt x="624" y="79"/>
                  </a:lnTo>
                  <a:lnTo>
                    <a:pt x="631" y="80"/>
                  </a:lnTo>
                  <a:lnTo>
                    <a:pt x="638" y="81"/>
                  </a:lnTo>
                  <a:lnTo>
                    <a:pt x="640" y="84"/>
                  </a:lnTo>
                  <a:lnTo>
                    <a:pt x="642" y="89"/>
                  </a:lnTo>
                  <a:lnTo>
                    <a:pt x="645" y="95"/>
                  </a:lnTo>
                  <a:lnTo>
                    <a:pt x="646" y="103"/>
                  </a:lnTo>
                  <a:lnTo>
                    <a:pt x="647" y="111"/>
                  </a:lnTo>
                  <a:lnTo>
                    <a:pt x="647" y="118"/>
                  </a:lnTo>
                  <a:lnTo>
                    <a:pt x="646" y="123"/>
                  </a:lnTo>
                  <a:lnTo>
                    <a:pt x="645" y="124"/>
                  </a:lnTo>
                  <a:lnTo>
                    <a:pt x="631" y="127"/>
                  </a:lnTo>
                  <a:lnTo>
                    <a:pt x="618" y="131"/>
                  </a:lnTo>
                  <a:lnTo>
                    <a:pt x="607" y="135"/>
                  </a:lnTo>
                  <a:lnTo>
                    <a:pt x="596" y="140"/>
                  </a:lnTo>
                  <a:lnTo>
                    <a:pt x="586" y="146"/>
                  </a:lnTo>
                  <a:lnTo>
                    <a:pt x="577" y="152"/>
                  </a:lnTo>
                  <a:lnTo>
                    <a:pt x="569" y="158"/>
                  </a:lnTo>
                  <a:lnTo>
                    <a:pt x="560" y="165"/>
                  </a:lnTo>
                  <a:lnTo>
                    <a:pt x="533" y="191"/>
                  </a:lnTo>
                  <a:lnTo>
                    <a:pt x="512" y="210"/>
                  </a:lnTo>
                  <a:lnTo>
                    <a:pt x="504" y="214"/>
                  </a:lnTo>
                  <a:lnTo>
                    <a:pt x="499" y="218"/>
                  </a:lnTo>
                  <a:lnTo>
                    <a:pt x="493" y="222"/>
                  </a:lnTo>
                  <a:lnTo>
                    <a:pt x="489" y="227"/>
                  </a:lnTo>
                  <a:lnTo>
                    <a:pt x="481" y="236"/>
                  </a:lnTo>
                  <a:lnTo>
                    <a:pt x="477" y="245"/>
                  </a:lnTo>
                  <a:lnTo>
                    <a:pt x="474" y="254"/>
                  </a:lnTo>
                  <a:lnTo>
                    <a:pt x="473" y="263"/>
                  </a:lnTo>
                  <a:lnTo>
                    <a:pt x="472" y="272"/>
                  </a:lnTo>
                  <a:lnTo>
                    <a:pt x="473" y="282"/>
                  </a:lnTo>
                  <a:lnTo>
                    <a:pt x="473" y="292"/>
                  </a:lnTo>
                  <a:lnTo>
                    <a:pt x="474" y="301"/>
                  </a:lnTo>
                  <a:lnTo>
                    <a:pt x="473" y="311"/>
                  </a:lnTo>
                  <a:lnTo>
                    <a:pt x="472" y="320"/>
                  </a:lnTo>
                  <a:lnTo>
                    <a:pt x="469" y="330"/>
                  </a:lnTo>
                  <a:lnTo>
                    <a:pt x="463" y="340"/>
                  </a:lnTo>
                  <a:lnTo>
                    <a:pt x="460" y="345"/>
                  </a:lnTo>
                  <a:lnTo>
                    <a:pt x="456" y="349"/>
                  </a:lnTo>
                  <a:lnTo>
                    <a:pt x="450" y="354"/>
                  </a:lnTo>
                  <a:lnTo>
                    <a:pt x="445" y="358"/>
                  </a:lnTo>
                  <a:lnTo>
                    <a:pt x="426" y="372"/>
                  </a:lnTo>
                  <a:lnTo>
                    <a:pt x="411" y="384"/>
                  </a:lnTo>
                  <a:lnTo>
                    <a:pt x="399" y="394"/>
                  </a:lnTo>
                  <a:lnTo>
                    <a:pt x="390" y="404"/>
                  </a:lnTo>
                  <a:lnTo>
                    <a:pt x="383" y="411"/>
                  </a:lnTo>
                  <a:lnTo>
                    <a:pt x="379" y="417"/>
                  </a:lnTo>
                  <a:lnTo>
                    <a:pt x="376" y="422"/>
                  </a:lnTo>
                  <a:lnTo>
                    <a:pt x="374" y="425"/>
                  </a:lnTo>
                  <a:lnTo>
                    <a:pt x="373" y="430"/>
                  </a:lnTo>
                  <a:lnTo>
                    <a:pt x="373" y="432"/>
                  </a:lnTo>
                  <a:lnTo>
                    <a:pt x="369" y="432"/>
                  </a:lnTo>
                  <a:lnTo>
                    <a:pt x="358" y="432"/>
                  </a:lnTo>
                  <a:lnTo>
                    <a:pt x="333" y="430"/>
                  </a:lnTo>
                  <a:lnTo>
                    <a:pt x="310" y="429"/>
                  </a:lnTo>
                  <a:lnTo>
                    <a:pt x="290" y="429"/>
                  </a:lnTo>
                  <a:lnTo>
                    <a:pt x="272" y="431"/>
                  </a:lnTo>
                  <a:lnTo>
                    <a:pt x="257" y="434"/>
                  </a:lnTo>
                  <a:lnTo>
                    <a:pt x="245" y="437"/>
                  </a:lnTo>
                  <a:lnTo>
                    <a:pt x="234" y="441"/>
                  </a:lnTo>
                  <a:lnTo>
                    <a:pt x="224" y="446"/>
                  </a:lnTo>
                  <a:lnTo>
                    <a:pt x="209" y="456"/>
                  </a:lnTo>
                  <a:lnTo>
                    <a:pt x="198" y="464"/>
                  </a:lnTo>
                  <a:lnTo>
                    <a:pt x="193" y="467"/>
                  </a:lnTo>
                  <a:lnTo>
                    <a:pt x="189" y="469"/>
                  </a:lnTo>
                  <a:lnTo>
                    <a:pt x="183" y="470"/>
                  </a:lnTo>
                  <a:lnTo>
                    <a:pt x="179" y="469"/>
                  </a:lnTo>
                  <a:lnTo>
                    <a:pt x="176" y="468"/>
                  </a:lnTo>
                  <a:lnTo>
                    <a:pt x="172" y="465"/>
                  </a:lnTo>
                  <a:lnTo>
                    <a:pt x="169" y="461"/>
                  </a:lnTo>
                  <a:lnTo>
                    <a:pt x="166" y="456"/>
                  </a:lnTo>
                  <a:lnTo>
                    <a:pt x="159" y="444"/>
                  </a:lnTo>
                  <a:lnTo>
                    <a:pt x="153" y="432"/>
                  </a:lnTo>
                  <a:lnTo>
                    <a:pt x="148" y="426"/>
                  </a:lnTo>
                  <a:lnTo>
                    <a:pt x="144" y="420"/>
                  </a:lnTo>
                  <a:lnTo>
                    <a:pt x="140" y="414"/>
                  </a:lnTo>
                  <a:lnTo>
                    <a:pt x="134" y="409"/>
                  </a:lnTo>
                  <a:lnTo>
                    <a:pt x="129" y="404"/>
                  </a:lnTo>
                  <a:lnTo>
                    <a:pt x="122" y="400"/>
                  </a:lnTo>
                  <a:lnTo>
                    <a:pt x="114" y="397"/>
                  </a:lnTo>
                  <a:lnTo>
                    <a:pt x="107" y="396"/>
                  </a:lnTo>
                  <a:lnTo>
                    <a:pt x="114" y="379"/>
                  </a:lnTo>
                  <a:lnTo>
                    <a:pt x="121" y="365"/>
                  </a:lnTo>
                  <a:lnTo>
                    <a:pt x="124" y="351"/>
                  </a:lnTo>
                  <a:lnTo>
                    <a:pt x="126" y="336"/>
                  </a:lnTo>
                  <a:lnTo>
                    <a:pt x="126" y="309"/>
                  </a:lnTo>
                  <a:lnTo>
                    <a:pt x="126" y="278"/>
                  </a:lnTo>
                  <a:lnTo>
                    <a:pt x="127" y="267"/>
                  </a:lnTo>
                  <a:lnTo>
                    <a:pt x="132" y="250"/>
                  </a:lnTo>
                  <a:lnTo>
                    <a:pt x="138" y="229"/>
                  </a:lnTo>
                  <a:lnTo>
                    <a:pt x="147" y="206"/>
                  </a:lnTo>
                  <a:lnTo>
                    <a:pt x="155" y="184"/>
                  </a:lnTo>
                  <a:lnTo>
                    <a:pt x="163" y="163"/>
                  </a:lnTo>
                  <a:lnTo>
                    <a:pt x="168" y="149"/>
                  </a:lnTo>
                  <a:lnTo>
                    <a:pt x="172" y="143"/>
                  </a:lnTo>
                  <a:lnTo>
                    <a:pt x="172" y="137"/>
                  </a:lnTo>
                  <a:lnTo>
                    <a:pt x="172" y="131"/>
                  </a:lnTo>
                  <a:lnTo>
                    <a:pt x="153" y="130"/>
                  </a:lnTo>
                  <a:lnTo>
                    <a:pt x="135" y="127"/>
                  </a:lnTo>
                  <a:lnTo>
                    <a:pt x="116" y="123"/>
                  </a:lnTo>
                  <a:lnTo>
                    <a:pt x="99" y="118"/>
                  </a:lnTo>
                  <a:lnTo>
                    <a:pt x="80" y="113"/>
                  </a:lnTo>
                  <a:lnTo>
                    <a:pt x="62" y="109"/>
                  </a:lnTo>
                  <a:lnTo>
                    <a:pt x="42" y="106"/>
                  </a:lnTo>
                  <a:lnTo>
                    <a:pt x="20" y="105"/>
                  </a:lnTo>
                  <a:lnTo>
                    <a:pt x="17" y="93"/>
                  </a:lnTo>
                  <a:lnTo>
                    <a:pt x="10" y="72"/>
                  </a:lnTo>
                  <a:lnTo>
                    <a:pt x="3" y="50"/>
                  </a:lnTo>
                  <a:lnTo>
                    <a:pt x="0" y="38"/>
                  </a:lnTo>
                  <a:lnTo>
                    <a:pt x="8" y="37"/>
                  </a:lnTo>
                  <a:lnTo>
                    <a:pt x="15" y="36"/>
                  </a:lnTo>
                  <a:lnTo>
                    <a:pt x="23" y="34"/>
                  </a:lnTo>
                  <a:lnTo>
                    <a:pt x="29" y="32"/>
                  </a:lnTo>
                  <a:lnTo>
                    <a:pt x="41" y="26"/>
                  </a:lnTo>
                  <a:lnTo>
                    <a:pt x="51" y="20"/>
                  </a:lnTo>
                  <a:lnTo>
                    <a:pt x="59" y="13"/>
                  </a:lnTo>
                  <a:lnTo>
                    <a:pt x="68" y="7"/>
                  </a:lnTo>
                  <a:lnTo>
                    <a:pt x="73" y="4"/>
                  </a:lnTo>
                  <a:lnTo>
                    <a:pt x="77" y="2"/>
                  </a:lnTo>
                  <a:lnTo>
                    <a:pt x="81" y="1"/>
                  </a:lnTo>
                  <a:lnTo>
                    <a:pt x="86" y="0"/>
                  </a:lnTo>
                  <a:lnTo>
                    <a:pt x="102" y="1"/>
                  </a:lnTo>
                  <a:lnTo>
                    <a:pt x="118" y="3"/>
                  </a:lnTo>
                  <a:lnTo>
                    <a:pt x="132" y="7"/>
                  </a:lnTo>
                  <a:lnTo>
                    <a:pt x="145" y="11"/>
                  </a:lnTo>
                  <a:lnTo>
                    <a:pt x="158" y="14"/>
                  </a:lnTo>
                  <a:lnTo>
                    <a:pt x="171" y="17"/>
                  </a:lnTo>
                  <a:lnTo>
                    <a:pt x="185" y="19"/>
                  </a:lnTo>
                  <a:lnTo>
                    <a:pt x="199" y="20"/>
                  </a:lnTo>
                  <a:lnTo>
                    <a:pt x="209" y="20"/>
                  </a:lnTo>
                  <a:lnTo>
                    <a:pt x="217" y="22"/>
                  </a:lnTo>
                  <a:lnTo>
                    <a:pt x="226" y="25"/>
                  </a:lnTo>
                  <a:lnTo>
                    <a:pt x="235" y="29"/>
                  </a:lnTo>
                  <a:lnTo>
                    <a:pt x="243" y="32"/>
                  </a:lnTo>
                  <a:lnTo>
                    <a:pt x="250" y="35"/>
                  </a:lnTo>
                  <a:lnTo>
                    <a:pt x="258" y="37"/>
                  </a:lnTo>
                  <a:lnTo>
                    <a:pt x="266" y="38"/>
                  </a:lnTo>
                  <a:lnTo>
                    <a:pt x="372" y="38"/>
                  </a:lnTo>
                  <a:lnTo>
                    <a:pt x="385" y="26"/>
                  </a:lnTo>
                  <a:lnTo>
                    <a:pt x="399" y="14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54" name="Freeform 24"/>
            <p:cNvSpPr>
              <a:spLocks/>
            </p:cNvSpPr>
            <p:nvPr>
              <p:custDataLst>
                <p:tags r:id="rId39"/>
              </p:custDataLst>
            </p:nvPr>
          </p:nvSpPr>
          <p:spPr bwMode="auto">
            <a:xfrm>
              <a:off x="8544557" y="3683439"/>
              <a:ext cx="207962" cy="455613"/>
            </a:xfrm>
            <a:custGeom>
              <a:avLst/>
              <a:gdLst>
                <a:gd name="T0" fmla="*/ 2147483647 w 479"/>
                <a:gd name="T1" fmla="*/ 2147483647 h 868"/>
                <a:gd name="T2" fmla="*/ 2147483647 w 479"/>
                <a:gd name="T3" fmla="*/ 2147483647 h 868"/>
                <a:gd name="T4" fmla="*/ 2147483647 w 479"/>
                <a:gd name="T5" fmla="*/ 2147483647 h 868"/>
                <a:gd name="T6" fmla="*/ 2147483647 w 479"/>
                <a:gd name="T7" fmla="*/ 2147483647 h 868"/>
                <a:gd name="T8" fmla="*/ 2147483647 w 479"/>
                <a:gd name="T9" fmla="*/ 2147483647 h 868"/>
                <a:gd name="T10" fmla="*/ 2147483647 w 479"/>
                <a:gd name="T11" fmla="*/ 2147483647 h 868"/>
                <a:gd name="T12" fmla="*/ 2147483647 w 479"/>
                <a:gd name="T13" fmla="*/ 2147483647 h 868"/>
                <a:gd name="T14" fmla="*/ 2147483647 w 479"/>
                <a:gd name="T15" fmla="*/ 2147483647 h 868"/>
                <a:gd name="T16" fmla="*/ 2147483647 w 479"/>
                <a:gd name="T17" fmla="*/ 2147483647 h 868"/>
                <a:gd name="T18" fmla="*/ 2147483647 w 479"/>
                <a:gd name="T19" fmla="*/ 2147483647 h 868"/>
                <a:gd name="T20" fmla="*/ 2147483647 w 479"/>
                <a:gd name="T21" fmla="*/ 2147483647 h 868"/>
                <a:gd name="T22" fmla="*/ 2147483647 w 479"/>
                <a:gd name="T23" fmla="*/ 2147483647 h 868"/>
                <a:gd name="T24" fmla="*/ 2147483647 w 479"/>
                <a:gd name="T25" fmla="*/ 2147483647 h 868"/>
                <a:gd name="T26" fmla="*/ 2147483647 w 479"/>
                <a:gd name="T27" fmla="*/ 2147483647 h 868"/>
                <a:gd name="T28" fmla="*/ 2147483647 w 479"/>
                <a:gd name="T29" fmla="*/ 2147483647 h 868"/>
                <a:gd name="T30" fmla="*/ 2147483647 w 479"/>
                <a:gd name="T31" fmla="*/ 2147483647 h 868"/>
                <a:gd name="T32" fmla="*/ 2147483647 w 479"/>
                <a:gd name="T33" fmla="*/ 2147483647 h 868"/>
                <a:gd name="T34" fmla="*/ 2147483647 w 479"/>
                <a:gd name="T35" fmla="*/ 2147483647 h 868"/>
                <a:gd name="T36" fmla="*/ 2147483647 w 479"/>
                <a:gd name="T37" fmla="*/ 2147483647 h 868"/>
                <a:gd name="T38" fmla="*/ 2147483647 w 479"/>
                <a:gd name="T39" fmla="*/ 2147483647 h 868"/>
                <a:gd name="T40" fmla="*/ 2147483647 w 479"/>
                <a:gd name="T41" fmla="*/ 2147483647 h 868"/>
                <a:gd name="T42" fmla="*/ 2147483647 w 479"/>
                <a:gd name="T43" fmla="*/ 2147483647 h 868"/>
                <a:gd name="T44" fmla="*/ 2147483647 w 479"/>
                <a:gd name="T45" fmla="*/ 2147483647 h 868"/>
                <a:gd name="T46" fmla="*/ 2147483647 w 479"/>
                <a:gd name="T47" fmla="*/ 2147483647 h 868"/>
                <a:gd name="T48" fmla="*/ 2147483647 w 479"/>
                <a:gd name="T49" fmla="*/ 2147483647 h 868"/>
                <a:gd name="T50" fmla="*/ 2147483647 w 479"/>
                <a:gd name="T51" fmla="*/ 2147483647 h 868"/>
                <a:gd name="T52" fmla="*/ 2147483647 w 479"/>
                <a:gd name="T53" fmla="*/ 2147483647 h 868"/>
                <a:gd name="T54" fmla="*/ 2147483647 w 479"/>
                <a:gd name="T55" fmla="*/ 2147483647 h 868"/>
                <a:gd name="T56" fmla="*/ 2147483647 w 479"/>
                <a:gd name="T57" fmla="*/ 2147483647 h 868"/>
                <a:gd name="T58" fmla="*/ 2147483647 w 479"/>
                <a:gd name="T59" fmla="*/ 2147483647 h 868"/>
                <a:gd name="T60" fmla="*/ 2147483647 w 479"/>
                <a:gd name="T61" fmla="*/ 2147483647 h 868"/>
                <a:gd name="T62" fmla="*/ 2147483647 w 479"/>
                <a:gd name="T63" fmla="*/ 2147483647 h 868"/>
                <a:gd name="T64" fmla="*/ 2147483647 w 479"/>
                <a:gd name="T65" fmla="*/ 2147483647 h 868"/>
                <a:gd name="T66" fmla="*/ 2147483647 w 479"/>
                <a:gd name="T67" fmla="*/ 2147483647 h 868"/>
                <a:gd name="T68" fmla="*/ 2147483647 w 479"/>
                <a:gd name="T69" fmla="*/ 2147483647 h 868"/>
                <a:gd name="T70" fmla="*/ 2147483647 w 479"/>
                <a:gd name="T71" fmla="*/ 2147483647 h 868"/>
                <a:gd name="T72" fmla="*/ 2147483647 w 479"/>
                <a:gd name="T73" fmla="*/ 2147483647 h 868"/>
                <a:gd name="T74" fmla="*/ 2147483647 w 479"/>
                <a:gd name="T75" fmla="*/ 2147483647 h 868"/>
                <a:gd name="T76" fmla="*/ 2147483647 w 479"/>
                <a:gd name="T77" fmla="*/ 2147483647 h 868"/>
                <a:gd name="T78" fmla="*/ 2147483647 w 479"/>
                <a:gd name="T79" fmla="*/ 2147483647 h 868"/>
                <a:gd name="T80" fmla="*/ 2147483647 w 479"/>
                <a:gd name="T81" fmla="*/ 2147483647 h 868"/>
                <a:gd name="T82" fmla="*/ 2147483647 w 479"/>
                <a:gd name="T83" fmla="*/ 0 h 868"/>
                <a:gd name="T84" fmla="*/ 2147483647 w 479"/>
                <a:gd name="T85" fmla="*/ 2147483647 h 868"/>
                <a:gd name="T86" fmla="*/ 2147483647 w 479"/>
                <a:gd name="T87" fmla="*/ 2147483647 h 868"/>
                <a:gd name="T88" fmla="*/ 2147483647 w 479"/>
                <a:gd name="T89" fmla="*/ 2147483647 h 868"/>
                <a:gd name="T90" fmla="*/ 2147483647 w 479"/>
                <a:gd name="T91" fmla="*/ 2147483647 h 868"/>
                <a:gd name="T92" fmla="*/ 2147483647 w 479"/>
                <a:gd name="T93" fmla="*/ 2147483647 h 868"/>
                <a:gd name="T94" fmla="*/ 2147483647 w 479"/>
                <a:gd name="T95" fmla="*/ 2147483647 h 868"/>
                <a:gd name="T96" fmla="*/ 2147483647 w 479"/>
                <a:gd name="T97" fmla="*/ 2147483647 h 868"/>
                <a:gd name="T98" fmla="*/ 2147483647 w 479"/>
                <a:gd name="T99" fmla="*/ 2147483647 h 868"/>
                <a:gd name="T100" fmla="*/ 2147483647 w 479"/>
                <a:gd name="T101" fmla="*/ 2147483647 h 868"/>
                <a:gd name="T102" fmla="*/ 2147483647 w 479"/>
                <a:gd name="T103" fmla="*/ 2147483647 h 868"/>
                <a:gd name="T104" fmla="*/ 2147483647 w 479"/>
                <a:gd name="T105" fmla="*/ 2147483647 h 868"/>
                <a:gd name="T106" fmla="*/ 2147483647 w 479"/>
                <a:gd name="T107" fmla="*/ 2147483647 h 868"/>
                <a:gd name="T108" fmla="*/ 2147483647 w 479"/>
                <a:gd name="T109" fmla="*/ 2147483647 h 868"/>
                <a:gd name="T110" fmla="*/ 2147483647 w 479"/>
                <a:gd name="T111" fmla="*/ 2147483647 h 86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479" h="868">
                  <a:moveTo>
                    <a:pt x="445" y="357"/>
                  </a:moveTo>
                  <a:lnTo>
                    <a:pt x="425" y="357"/>
                  </a:lnTo>
                  <a:lnTo>
                    <a:pt x="408" y="357"/>
                  </a:lnTo>
                  <a:lnTo>
                    <a:pt x="391" y="357"/>
                  </a:lnTo>
                  <a:lnTo>
                    <a:pt x="379" y="357"/>
                  </a:lnTo>
                  <a:lnTo>
                    <a:pt x="370" y="358"/>
                  </a:lnTo>
                  <a:lnTo>
                    <a:pt x="360" y="359"/>
                  </a:lnTo>
                  <a:lnTo>
                    <a:pt x="349" y="362"/>
                  </a:lnTo>
                  <a:lnTo>
                    <a:pt x="338" y="367"/>
                  </a:lnTo>
                  <a:lnTo>
                    <a:pt x="333" y="370"/>
                  </a:lnTo>
                  <a:lnTo>
                    <a:pt x="329" y="374"/>
                  </a:lnTo>
                  <a:lnTo>
                    <a:pt x="324" y="377"/>
                  </a:lnTo>
                  <a:lnTo>
                    <a:pt x="320" y="381"/>
                  </a:lnTo>
                  <a:lnTo>
                    <a:pt x="316" y="385"/>
                  </a:lnTo>
                  <a:lnTo>
                    <a:pt x="314" y="390"/>
                  </a:lnTo>
                  <a:lnTo>
                    <a:pt x="313" y="395"/>
                  </a:lnTo>
                  <a:lnTo>
                    <a:pt x="312" y="400"/>
                  </a:lnTo>
                  <a:lnTo>
                    <a:pt x="313" y="410"/>
                  </a:lnTo>
                  <a:lnTo>
                    <a:pt x="314" y="419"/>
                  </a:lnTo>
                  <a:lnTo>
                    <a:pt x="316" y="428"/>
                  </a:lnTo>
                  <a:lnTo>
                    <a:pt x="320" y="436"/>
                  </a:lnTo>
                  <a:lnTo>
                    <a:pt x="327" y="451"/>
                  </a:lnTo>
                  <a:lnTo>
                    <a:pt x="336" y="464"/>
                  </a:lnTo>
                  <a:lnTo>
                    <a:pt x="344" y="477"/>
                  </a:lnTo>
                  <a:lnTo>
                    <a:pt x="352" y="492"/>
                  </a:lnTo>
                  <a:lnTo>
                    <a:pt x="355" y="499"/>
                  </a:lnTo>
                  <a:lnTo>
                    <a:pt x="357" y="507"/>
                  </a:lnTo>
                  <a:lnTo>
                    <a:pt x="358" y="515"/>
                  </a:lnTo>
                  <a:lnTo>
                    <a:pt x="359" y="523"/>
                  </a:lnTo>
                  <a:lnTo>
                    <a:pt x="359" y="530"/>
                  </a:lnTo>
                  <a:lnTo>
                    <a:pt x="359" y="539"/>
                  </a:lnTo>
                  <a:lnTo>
                    <a:pt x="360" y="544"/>
                  </a:lnTo>
                  <a:lnTo>
                    <a:pt x="361" y="548"/>
                  </a:lnTo>
                  <a:lnTo>
                    <a:pt x="364" y="552"/>
                  </a:lnTo>
                  <a:lnTo>
                    <a:pt x="366" y="555"/>
                  </a:lnTo>
                  <a:lnTo>
                    <a:pt x="354" y="552"/>
                  </a:lnTo>
                  <a:lnTo>
                    <a:pt x="344" y="547"/>
                  </a:lnTo>
                  <a:lnTo>
                    <a:pt x="336" y="541"/>
                  </a:lnTo>
                  <a:lnTo>
                    <a:pt x="329" y="533"/>
                  </a:lnTo>
                  <a:lnTo>
                    <a:pt x="323" y="526"/>
                  </a:lnTo>
                  <a:lnTo>
                    <a:pt x="319" y="517"/>
                  </a:lnTo>
                  <a:lnTo>
                    <a:pt x="315" y="508"/>
                  </a:lnTo>
                  <a:lnTo>
                    <a:pt x="312" y="499"/>
                  </a:lnTo>
                  <a:lnTo>
                    <a:pt x="311" y="495"/>
                  </a:lnTo>
                  <a:lnTo>
                    <a:pt x="309" y="492"/>
                  </a:lnTo>
                  <a:lnTo>
                    <a:pt x="307" y="489"/>
                  </a:lnTo>
                  <a:lnTo>
                    <a:pt x="303" y="486"/>
                  </a:lnTo>
                  <a:lnTo>
                    <a:pt x="297" y="479"/>
                  </a:lnTo>
                  <a:lnTo>
                    <a:pt x="288" y="475"/>
                  </a:lnTo>
                  <a:lnTo>
                    <a:pt x="269" y="467"/>
                  </a:lnTo>
                  <a:lnTo>
                    <a:pt x="247" y="459"/>
                  </a:lnTo>
                  <a:lnTo>
                    <a:pt x="237" y="455"/>
                  </a:lnTo>
                  <a:lnTo>
                    <a:pt x="228" y="450"/>
                  </a:lnTo>
                  <a:lnTo>
                    <a:pt x="218" y="445"/>
                  </a:lnTo>
                  <a:lnTo>
                    <a:pt x="210" y="439"/>
                  </a:lnTo>
                  <a:lnTo>
                    <a:pt x="202" y="431"/>
                  </a:lnTo>
                  <a:lnTo>
                    <a:pt x="198" y="422"/>
                  </a:lnTo>
                  <a:lnTo>
                    <a:pt x="196" y="417"/>
                  </a:lnTo>
                  <a:lnTo>
                    <a:pt x="195" y="412"/>
                  </a:lnTo>
                  <a:lnTo>
                    <a:pt x="193" y="406"/>
                  </a:lnTo>
                  <a:lnTo>
                    <a:pt x="192" y="400"/>
                  </a:lnTo>
                  <a:lnTo>
                    <a:pt x="153" y="394"/>
                  </a:lnTo>
                  <a:lnTo>
                    <a:pt x="153" y="450"/>
                  </a:lnTo>
                  <a:lnTo>
                    <a:pt x="154" y="463"/>
                  </a:lnTo>
                  <a:lnTo>
                    <a:pt x="156" y="477"/>
                  </a:lnTo>
                  <a:lnTo>
                    <a:pt x="158" y="492"/>
                  </a:lnTo>
                  <a:lnTo>
                    <a:pt x="159" y="505"/>
                  </a:lnTo>
                  <a:lnTo>
                    <a:pt x="159" y="512"/>
                  </a:lnTo>
                  <a:lnTo>
                    <a:pt x="158" y="518"/>
                  </a:lnTo>
                  <a:lnTo>
                    <a:pt x="156" y="524"/>
                  </a:lnTo>
                  <a:lnTo>
                    <a:pt x="154" y="529"/>
                  </a:lnTo>
                  <a:lnTo>
                    <a:pt x="150" y="539"/>
                  </a:lnTo>
                  <a:lnTo>
                    <a:pt x="143" y="551"/>
                  </a:lnTo>
                  <a:lnTo>
                    <a:pt x="136" y="562"/>
                  </a:lnTo>
                  <a:lnTo>
                    <a:pt x="132" y="575"/>
                  </a:lnTo>
                  <a:lnTo>
                    <a:pt x="130" y="583"/>
                  </a:lnTo>
                  <a:lnTo>
                    <a:pt x="128" y="591"/>
                  </a:lnTo>
                  <a:lnTo>
                    <a:pt x="127" y="600"/>
                  </a:lnTo>
                  <a:lnTo>
                    <a:pt x="127" y="610"/>
                  </a:lnTo>
                  <a:lnTo>
                    <a:pt x="128" y="621"/>
                  </a:lnTo>
                  <a:lnTo>
                    <a:pt x="130" y="630"/>
                  </a:lnTo>
                  <a:lnTo>
                    <a:pt x="134" y="637"/>
                  </a:lnTo>
                  <a:lnTo>
                    <a:pt x="140" y="643"/>
                  </a:lnTo>
                  <a:lnTo>
                    <a:pt x="146" y="647"/>
                  </a:lnTo>
                  <a:lnTo>
                    <a:pt x="154" y="650"/>
                  </a:lnTo>
                  <a:lnTo>
                    <a:pt x="163" y="653"/>
                  </a:lnTo>
                  <a:lnTo>
                    <a:pt x="173" y="653"/>
                  </a:lnTo>
                  <a:lnTo>
                    <a:pt x="173" y="667"/>
                  </a:lnTo>
                  <a:lnTo>
                    <a:pt x="174" y="679"/>
                  </a:lnTo>
                  <a:lnTo>
                    <a:pt x="175" y="685"/>
                  </a:lnTo>
                  <a:lnTo>
                    <a:pt x="176" y="689"/>
                  </a:lnTo>
                  <a:lnTo>
                    <a:pt x="177" y="693"/>
                  </a:lnTo>
                  <a:lnTo>
                    <a:pt x="179" y="696"/>
                  </a:lnTo>
                  <a:lnTo>
                    <a:pt x="179" y="721"/>
                  </a:lnTo>
                  <a:lnTo>
                    <a:pt x="185" y="730"/>
                  </a:lnTo>
                  <a:lnTo>
                    <a:pt x="191" y="740"/>
                  </a:lnTo>
                  <a:lnTo>
                    <a:pt x="199" y="750"/>
                  </a:lnTo>
                  <a:lnTo>
                    <a:pt x="208" y="760"/>
                  </a:lnTo>
                  <a:lnTo>
                    <a:pt x="217" y="771"/>
                  </a:lnTo>
                  <a:lnTo>
                    <a:pt x="226" y="780"/>
                  </a:lnTo>
                  <a:lnTo>
                    <a:pt x="236" y="790"/>
                  </a:lnTo>
                  <a:lnTo>
                    <a:pt x="247" y="799"/>
                  </a:lnTo>
                  <a:lnTo>
                    <a:pt x="258" y="808"/>
                  </a:lnTo>
                  <a:lnTo>
                    <a:pt x="269" y="816"/>
                  </a:lnTo>
                  <a:lnTo>
                    <a:pt x="281" y="825"/>
                  </a:lnTo>
                  <a:lnTo>
                    <a:pt x="292" y="832"/>
                  </a:lnTo>
                  <a:lnTo>
                    <a:pt x="304" y="838"/>
                  </a:lnTo>
                  <a:lnTo>
                    <a:pt x="316" y="843"/>
                  </a:lnTo>
                  <a:lnTo>
                    <a:pt x="327" y="847"/>
                  </a:lnTo>
                  <a:lnTo>
                    <a:pt x="340" y="850"/>
                  </a:lnTo>
                  <a:lnTo>
                    <a:pt x="333" y="854"/>
                  </a:lnTo>
                  <a:lnTo>
                    <a:pt x="327" y="858"/>
                  </a:lnTo>
                  <a:lnTo>
                    <a:pt x="320" y="861"/>
                  </a:lnTo>
                  <a:lnTo>
                    <a:pt x="312" y="864"/>
                  </a:lnTo>
                  <a:lnTo>
                    <a:pt x="298" y="867"/>
                  </a:lnTo>
                  <a:lnTo>
                    <a:pt x="286" y="868"/>
                  </a:lnTo>
                  <a:lnTo>
                    <a:pt x="281" y="868"/>
                  </a:lnTo>
                  <a:lnTo>
                    <a:pt x="277" y="867"/>
                  </a:lnTo>
                  <a:lnTo>
                    <a:pt x="273" y="866"/>
                  </a:lnTo>
                  <a:lnTo>
                    <a:pt x="269" y="864"/>
                  </a:lnTo>
                  <a:lnTo>
                    <a:pt x="262" y="859"/>
                  </a:lnTo>
                  <a:lnTo>
                    <a:pt x="254" y="853"/>
                  </a:lnTo>
                  <a:lnTo>
                    <a:pt x="245" y="848"/>
                  </a:lnTo>
                  <a:lnTo>
                    <a:pt x="234" y="843"/>
                  </a:lnTo>
                  <a:lnTo>
                    <a:pt x="229" y="841"/>
                  </a:lnTo>
                  <a:lnTo>
                    <a:pt x="222" y="839"/>
                  </a:lnTo>
                  <a:lnTo>
                    <a:pt x="214" y="838"/>
                  </a:lnTo>
                  <a:lnTo>
                    <a:pt x="207" y="838"/>
                  </a:lnTo>
                  <a:lnTo>
                    <a:pt x="203" y="830"/>
                  </a:lnTo>
                  <a:lnTo>
                    <a:pt x="200" y="823"/>
                  </a:lnTo>
                  <a:lnTo>
                    <a:pt x="196" y="815"/>
                  </a:lnTo>
                  <a:lnTo>
                    <a:pt x="191" y="809"/>
                  </a:lnTo>
                  <a:lnTo>
                    <a:pt x="180" y="797"/>
                  </a:lnTo>
                  <a:lnTo>
                    <a:pt x="168" y="785"/>
                  </a:lnTo>
                  <a:lnTo>
                    <a:pt x="137" y="759"/>
                  </a:lnTo>
                  <a:lnTo>
                    <a:pt x="100" y="727"/>
                  </a:lnTo>
                  <a:lnTo>
                    <a:pt x="95" y="728"/>
                  </a:lnTo>
                  <a:lnTo>
                    <a:pt x="89" y="729"/>
                  </a:lnTo>
                  <a:lnTo>
                    <a:pt x="86" y="730"/>
                  </a:lnTo>
                  <a:lnTo>
                    <a:pt x="83" y="730"/>
                  </a:lnTo>
                  <a:lnTo>
                    <a:pt x="78" y="729"/>
                  </a:lnTo>
                  <a:lnTo>
                    <a:pt x="74" y="727"/>
                  </a:lnTo>
                  <a:lnTo>
                    <a:pt x="74" y="714"/>
                  </a:lnTo>
                  <a:lnTo>
                    <a:pt x="74" y="700"/>
                  </a:lnTo>
                  <a:lnTo>
                    <a:pt x="74" y="688"/>
                  </a:lnTo>
                  <a:lnTo>
                    <a:pt x="74" y="678"/>
                  </a:lnTo>
                  <a:lnTo>
                    <a:pt x="74" y="671"/>
                  </a:lnTo>
                  <a:lnTo>
                    <a:pt x="75" y="665"/>
                  </a:lnTo>
                  <a:lnTo>
                    <a:pt x="77" y="659"/>
                  </a:lnTo>
                  <a:lnTo>
                    <a:pt x="80" y="653"/>
                  </a:lnTo>
                  <a:lnTo>
                    <a:pt x="83" y="645"/>
                  </a:lnTo>
                  <a:lnTo>
                    <a:pt x="85" y="638"/>
                  </a:lnTo>
                  <a:lnTo>
                    <a:pt x="86" y="631"/>
                  </a:lnTo>
                  <a:lnTo>
                    <a:pt x="87" y="622"/>
                  </a:lnTo>
                  <a:lnTo>
                    <a:pt x="88" y="617"/>
                  </a:lnTo>
                  <a:lnTo>
                    <a:pt x="92" y="604"/>
                  </a:lnTo>
                  <a:lnTo>
                    <a:pt x="99" y="583"/>
                  </a:lnTo>
                  <a:lnTo>
                    <a:pt x="107" y="558"/>
                  </a:lnTo>
                  <a:lnTo>
                    <a:pt x="113" y="528"/>
                  </a:lnTo>
                  <a:lnTo>
                    <a:pt x="120" y="498"/>
                  </a:lnTo>
                  <a:lnTo>
                    <a:pt x="123" y="481"/>
                  </a:lnTo>
                  <a:lnTo>
                    <a:pt x="124" y="466"/>
                  </a:lnTo>
                  <a:lnTo>
                    <a:pt x="127" y="452"/>
                  </a:lnTo>
                  <a:lnTo>
                    <a:pt x="127" y="438"/>
                  </a:lnTo>
                  <a:lnTo>
                    <a:pt x="108" y="404"/>
                  </a:lnTo>
                  <a:lnTo>
                    <a:pt x="86" y="369"/>
                  </a:lnTo>
                  <a:lnTo>
                    <a:pt x="76" y="352"/>
                  </a:lnTo>
                  <a:lnTo>
                    <a:pt x="67" y="335"/>
                  </a:lnTo>
                  <a:lnTo>
                    <a:pt x="64" y="327"/>
                  </a:lnTo>
                  <a:lnTo>
                    <a:pt x="62" y="319"/>
                  </a:lnTo>
                  <a:lnTo>
                    <a:pt x="61" y="310"/>
                  </a:lnTo>
                  <a:lnTo>
                    <a:pt x="60" y="302"/>
                  </a:lnTo>
                  <a:lnTo>
                    <a:pt x="61" y="295"/>
                  </a:lnTo>
                  <a:lnTo>
                    <a:pt x="62" y="290"/>
                  </a:lnTo>
                  <a:lnTo>
                    <a:pt x="64" y="285"/>
                  </a:lnTo>
                  <a:lnTo>
                    <a:pt x="66" y="281"/>
                  </a:lnTo>
                  <a:lnTo>
                    <a:pt x="69" y="277"/>
                  </a:lnTo>
                  <a:lnTo>
                    <a:pt x="72" y="274"/>
                  </a:lnTo>
                  <a:lnTo>
                    <a:pt x="73" y="270"/>
                  </a:lnTo>
                  <a:lnTo>
                    <a:pt x="74" y="265"/>
                  </a:lnTo>
                  <a:lnTo>
                    <a:pt x="73" y="249"/>
                  </a:lnTo>
                  <a:lnTo>
                    <a:pt x="71" y="236"/>
                  </a:lnTo>
                  <a:lnTo>
                    <a:pt x="66" y="224"/>
                  </a:lnTo>
                  <a:lnTo>
                    <a:pt x="62" y="213"/>
                  </a:lnTo>
                  <a:lnTo>
                    <a:pt x="56" y="202"/>
                  </a:lnTo>
                  <a:lnTo>
                    <a:pt x="50" y="193"/>
                  </a:lnTo>
                  <a:lnTo>
                    <a:pt x="43" y="184"/>
                  </a:lnTo>
                  <a:lnTo>
                    <a:pt x="36" y="176"/>
                  </a:lnTo>
                  <a:lnTo>
                    <a:pt x="30" y="167"/>
                  </a:lnTo>
                  <a:lnTo>
                    <a:pt x="23" y="158"/>
                  </a:lnTo>
                  <a:lnTo>
                    <a:pt x="17" y="148"/>
                  </a:lnTo>
                  <a:lnTo>
                    <a:pt x="11" y="138"/>
                  </a:lnTo>
                  <a:lnTo>
                    <a:pt x="7" y="127"/>
                  </a:lnTo>
                  <a:lnTo>
                    <a:pt x="4" y="115"/>
                  </a:lnTo>
                  <a:lnTo>
                    <a:pt x="1" y="102"/>
                  </a:lnTo>
                  <a:lnTo>
                    <a:pt x="0" y="86"/>
                  </a:lnTo>
                  <a:lnTo>
                    <a:pt x="1" y="73"/>
                  </a:lnTo>
                  <a:lnTo>
                    <a:pt x="4" y="62"/>
                  </a:lnTo>
                  <a:lnTo>
                    <a:pt x="7" y="52"/>
                  </a:lnTo>
                  <a:lnTo>
                    <a:pt x="11" y="44"/>
                  </a:lnTo>
                  <a:lnTo>
                    <a:pt x="17" y="35"/>
                  </a:lnTo>
                  <a:lnTo>
                    <a:pt x="24" y="29"/>
                  </a:lnTo>
                  <a:lnTo>
                    <a:pt x="32" y="24"/>
                  </a:lnTo>
                  <a:lnTo>
                    <a:pt x="40" y="20"/>
                  </a:lnTo>
                  <a:lnTo>
                    <a:pt x="49" y="16"/>
                  </a:lnTo>
                  <a:lnTo>
                    <a:pt x="58" y="13"/>
                  </a:lnTo>
                  <a:lnTo>
                    <a:pt x="68" y="11"/>
                  </a:lnTo>
                  <a:lnTo>
                    <a:pt x="78" y="8"/>
                  </a:lnTo>
                  <a:lnTo>
                    <a:pt x="99" y="4"/>
                  </a:lnTo>
                  <a:lnTo>
                    <a:pt x="120" y="0"/>
                  </a:lnTo>
                  <a:lnTo>
                    <a:pt x="129" y="5"/>
                  </a:lnTo>
                  <a:lnTo>
                    <a:pt x="136" y="11"/>
                  </a:lnTo>
                  <a:lnTo>
                    <a:pt x="143" y="17"/>
                  </a:lnTo>
                  <a:lnTo>
                    <a:pt x="150" y="23"/>
                  </a:lnTo>
                  <a:lnTo>
                    <a:pt x="156" y="28"/>
                  </a:lnTo>
                  <a:lnTo>
                    <a:pt x="163" y="32"/>
                  </a:lnTo>
                  <a:lnTo>
                    <a:pt x="166" y="34"/>
                  </a:lnTo>
                  <a:lnTo>
                    <a:pt x="170" y="35"/>
                  </a:lnTo>
                  <a:lnTo>
                    <a:pt x="175" y="36"/>
                  </a:lnTo>
                  <a:lnTo>
                    <a:pt x="179" y="36"/>
                  </a:lnTo>
                  <a:lnTo>
                    <a:pt x="184" y="55"/>
                  </a:lnTo>
                  <a:lnTo>
                    <a:pt x="188" y="75"/>
                  </a:lnTo>
                  <a:lnTo>
                    <a:pt x="190" y="97"/>
                  </a:lnTo>
                  <a:lnTo>
                    <a:pt x="193" y="118"/>
                  </a:lnTo>
                  <a:lnTo>
                    <a:pt x="197" y="136"/>
                  </a:lnTo>
                  <a:lnTo>
                    <a:pt x="201" y="153"/>
                  </a:lnTo>
                  <a:lnTo>
                    <a:pt x="203" y="158"/>
                  </a:lnTo>
                  <a:lnTo>
                    <a:pt x="207" y="163"/>
                  </a:lnTo>
                  <a:lnTo>
                    <a:pt x="209" y="166"/>
                  </a:lnTo>
                  <a:lnTo>
                    <a:pt x="213" y="166"/>
                  </a:lnTo>
                  <a:lnTo>
                    <a:pt x="217" y="166"/>
                  </a:lnTo>
                  <a:lnTo>
                    <a:pt x="220" y="165"/>
                  </a:lnTo>
                  <a:lnTo>
                    <a:pt x="223" y="163"/>
                  </a:lnTo>
                  <a:lnTo>
                    <a:pt x="225" y="161"/>
                  </a:lnTo>
                  <a:lnTo>
                    <a:pt x="231" y="155"/>
                  </a:lnTo>
                  <a:lnTo>
                    <a:pt x="234" y="147"/>
                  </a:lnTo>
                  <a:lnTo>
                    <a:pt x="241" y="132"/>
                  </a:lnTo>
                  <a:lnTo>
                    <a:pt x="246" y="123"/>
                  </a:lnTo>
                  <a:lnTo>
                    <a:pt x="253" y="124"/>
                  </a:lnTo>
                  <a:lnTo>
                    <a:pt x="258" y="126"/>
                  </a:lnTo>
                  <a:lnTo>
                    <a:pt x="264" y="129"/>
                  </a:lnTo>
                  <a:lnTo>
                    <a:pt x="268" y="132"/>
                  </a:lnTo>
                  <a:lnTo>
                    <a:pt x="273" y="136"/>
                  </a:lnTo>
                  <a:lnTo>
                    <a:pt x="277" y="138"/>
                  </a:lnTo>
                  <a:lnTo>
                    <a:pt x="281" y="141"/>
                  </a:lnTo>
                  <a:lnTo>
                    <a:pt x="286" y="141"/>
                  </a:lnTo>
                  <a:lnTo>
                    <a:pt x="289" y="141"/>
                  </a:lnTo>
                  <a:lnTo>
                    <a:pt x="292" y="140"/>
                  </a:lnTo>
                  <a:lnTo>
                    <a:pt x="296" y="138"/>
                  </a:lnTo>
                  <a:lnTo>
                    <a:pt x="298" y="136"/>
                  </a:lnTo>
                  <a:lnTo>
                    <a:pt x="302" y="130"/>
                  </a:lnTo>
                  <a:lnTo>
                    <a:pt x="305" y="123"/>
                  </a:lnTo>
                  <a:lnTo>
                    <a:pt x="310" y="116"/>
                  </a:lnTo>
                  <a:lnTo>
                    <a:pt x="314" y="111"/>
                  </a:lnTo>
                  <a:lnTo>
                    <a:pt x="316" y="108"/>
                  </a:lnTo>
                  <a:lnTo>
                    <a:pt x="319" y="107"/>
                  </a:lnTo>
                  <a:lnTo>
                    <a:pt x="322" y="105"/>
                  </a:lnTo>
                  <a:lnTo>
                    <a:pt x="325" y="105"/>
                  </a:lnTo>
                  <a:lnTo>
                    <a:pt x="337" y="106"/>
                  </a:lnTo>
                  <a:lnTo>
                    <a:pt x="346" y="108"/>
                  </a:lnTo>
                  <a:lnTo>
                    <a:pt x="354" y="111"/>
                  </a:lnTo>
                  <a:lnTo>
                    <a:pt x="359" y="116"/>
                  </a:lnTo>
                  <a:lnTo>
                    <a:pt x="367" y="125"/>
                  </a:lnTo>
                  <a:lnTo>
                    <a:pt x="372" y="135"/>
                  </a:lnTo>
                  <a:lnTo>
                    <a:pt x="387" y="157"/>
                  </a:lnTo>
                  <a:lnTo>
                    <a:pt x="403" y="178"/>
                  </a:lnTo>
                  <a:lnTo>
                    <a:pt x="421" y="200"/>
                  </a:lnTo>
                  <a:lnTo>
                    <a:pt x="438" y="223"/>
                  </a:lnTo>
                  <a:lnTo>
                    <a:pt x="446" y="235"/>
                  </a:lnTo>
                  <a:lnTo>
                    <a:pt x="454" y="246"/>
                  </a:lnTo>
                  <a:lnTo>
                    <a:pt x="460" y="258"/>
                  </a:lnTo>
                  <a:lnTo>
                    <a:pt x="467" y="271"/>
                  </a:lnTo>
                  <a:lnTo>
                    <a:pt x="471" y="283"/>
                  </a:lnTo>
                  <a:lnTo>
                    <a:pt x="476" y="295"/>
                  </a:lnTo>
                  <a:lnTo>
                    <a:pt x="478" y="307"/>
                  </a:lnTo>
                  <a:lnTo>
                    <a:pt x="479" y="321"/>
                  </a:lnTo>
                  <a:lnTo>
                    <a:pt x="478" y="325"/>
                  </a:lnTo>
                  <a:lnTo>
                    <a:pt x="476" y="330"/>
                  </a:lnTo>
                  <a:lnTo>
                    <a:pt x="472" y="334"/>
                  </a:lnTo>
                  <a:lnTo>
                    <a:pt x="468" y="338"/>
                  </a:lnTo>
                  <a:lnTo>
                    <a:pt x="459" y="345"/>
                  </a:lnTo>
                  <a:lnTo>
                    <a:pt x="452" y="351"/>
                  </a:lnTo>
                  <a:lnTo>
                    <a:pt x="445" y="357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55" name="Line 26" descr="Horizontal dunkel"/>
            <p:cNvSpPr>
              <a:spLocks noChangeShapeType="1"/>
            </p:cNvSpPr>
            <p:nvPr>
              <p:custDataLst>
                <p:tags r:id="rId40"/>
              </p:custDataLst>
            </p:nvPr>
          </p:nvSpPr>
          <p:spPr bwMode="auto">
            <a:xfrm>
              <a:off x="3115307" y="2992877"/>
              <a:ext cx="3175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25656" name="Freeform 27"/>
            <p:cNvSpPr>
              <a:spLocks/>
            </p:cNvSpPr>
            <p:nvPr>
              <p:custDataLst>
                <p:tags r:id="rId41"/>
              </p:custDataLst>
            </p:nvPr>
          </p:nvSpPr>
          <p:spPr bwMode="auto">
            <a:xfrm>
              <a:off x="3118482" y="2989702"/>
              <a:ext cx="3175" cy="55562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2147483647 h 24"/>
                <a:gd name="T4" fmla="*/ 2147483647 w 6"/>
                <a:gd name="T5" fmla="*/ 2147483647 h 24"/>
                <a:gd name="T6" fmla="*/ 2147483647 w 6"/>
                <a:gd name="T7" fmla="*/ 2147483647 h 24"/>
                <a:gd name="T8" fmla="*/ 2147483647 w 6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19"/>
                  </a:lnTo>
                  <a:lnTo>
                    <a:pt x="1" y="14"/>
                  </a:lnTo>
                  <a:lnTo>
                    <a:pt x="3" y="8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57" name="Freeform 28"/>
            <p:cNvSpPr>
              <a:spLocks/>
            </p:cNvSpPr>
            <p:nvPr>
              <p:custDataLst>
                <p:tags r:id="rId42"/>
              </p:custDataLst>
            </p:nvPr>
          </p:nvSpPr>
          <p:spPr bwMode="auto">
            <a:xfrm>
              <a:off x="3094669" y="3043677"/>
              <a:ext cx="23813" cy="57150"/>
            </a:xfrm>
            <a:custGeom>
              <a:avLst/>
              <a:gdLst>
                <a:gd name="T0" fmla="*/ 0 w 47"/>
                <a:gd name="T1" fmla="*/ 2147483647 h 67"/>
                <a:gd name="T2" fmla="*/ 0 w 47"/>
                <a:gd name="T3" fmla="*/ 2147483647 h 67"/>
                <a:gd name="T4" fmla="*/ 2147483647 w 47"/>
                <a:gd name="T5" fmla="*/ 2147483647 h 67"/>
                <a:gd name="T6" fmla="*/ 2147483647 w 47"/>
                <a:gd name="T7" fmla="*/ 2147483647 h 67"/>
                <a:gd name="T8" fmla="*/ 2147483647 w 47"/>
                <a:gd name="T9" fmla="*/ 2147483647 h 67"/>
                <a:gd name="T10" fmla="*/ 2147483647 w 47"/>
                <a:gd name="T11" fmla="*/ 2147483647 h 67"/>
                <a:gd name="T12" fmla="*/ 2147483647 w 47"/>
                <a:gd name="T13" fmla="*/ 2147483647 h 67"/>
                <a:gd name="T14" fmla="*/ 2147483647 w 47"/>
                <a:gd name="T15" fmla="*/ 2147483647 h 67"/>
                <a:gd name="T16" fmla="*/ 2147483647 w 47"/>
                <a:gd name="T17" fmla="*/ 0 h 67"/>
                <a:gd name="T18" fmla="*/ 2147483647 w 47"/>
                <a:gd name="T19" fmla="*/ 2147483647 h 67"/>
                <a:gd name="T20" fmla="*/ 2147483647 w 47"/>
                <a:gd name="T21" fmla="*/ 2147483647 h 67"/>
                <a:gd name="T22" fmla="*/ 2147483647 w 47"/>
                <a:gd name="T23" fmla="*/ 2147483647 h 67"/>
                <a:gd name="T24" fmla="*/ 2147483647 w 47"/>
                <a:gd name="T25" fmla="*/ 2147483647 h 67"/>
                <a:gd name="T26" fmla="*/ 2147483647 w 47"/>
                <a:gd name="T27" fmla="*/ 2147483647 h 67"/>
                <a:gd name="T28" fmla="*/ 2147483647 w 47"/>
                <a:gd name="T29" fmla="*/ 2147483647 h 67"/>
                <a:gd name="T30" fmla="*/ 0 w 47"/>
                <a:gd name="T31" fmla="*/ 2147483647 h 67"/>
                <a:gd name="T32" fmla="*/ 0 w 47"/>
                <a:gd name="T33" fmla="*/ 2147483647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47" h="67">
                  <a:moveTo>
                    <a:pt x="0" y="24"/>
                  </a:moveTo>
                  <a:lnTo>
                    <a:pt x="0" y="30"/>
                  </a:lnTo>
                  <a:lnTo>
                    <a:pt x="2" y="36"/>
                  </a:lnTo>
                  <a:lnTo>
                    <a:pt x="3" y="42"/>
                  </a:lnTo>
                  <a:lnTo>
                    <a:pt x="5" y="47"/>
                  </a:lnTo>
                  <a:lnTo>
                    <a:pt x="9" y="58"/>
                  </a:lnTo>
                  <a:lnTo>
                    <a:pt x="14" y="67"/>
                  </a:lnTo>
                  <a:lnTo>
                    <a:pt x="47" y="67"/>
                  </a:lnTo>
                  <a:lnTo>
                    <a:pt x="47" y="0"/>
                  </a:lnTo>
                  <a:lnTo>
                    <a:pt x="36" y="2"/>
                  </a:lnTo>
                  <a:lnTo>
                    <a:pt x="26" y="4"/>
                  </a:lnTo>
                  <a:lnTo>
                    <a:pt x="18" y="7"/>
                  </a:lnTo>
                  <a:lnTo>
                    <a:pt x="11" y="9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0" y="2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58" name="Freeform 29"/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4420232" y="3038914"/>
              <a:ext cx="49212" cy="57150"/>
            </a:xfrm>
            <a:custGeom>
              <a:avLst/>
              <a:gdLst>
                <a:gd name="T0" fmla="*/ 0 w 112"/>
                <a:gd name="T1" fmla="*/ 2147483647 h 36"/>
                <a:gd name="T2" fmla="*/ 2147483647 w 112"/>
                <a:gd name="T3" fmla="*/ 2147483647 h 36"/>
                <a:gd name="T4" fmla="*/ 2147483647 w 112"/>
                <a:gd name="T5" fmla="*/ 2147483647 h 36"/>
                <a:gd name="T6" fmla="*/ 2147483647 w 112"/>
                <a:gd name="T7" fmla="*/ 2147483647 h 36"/>
                <a:gd name="T8" fmla="*/ 2147483647 w 112"/>
                <a:gd name="T9" fmla="*/ 2147483647 h 36"/>
                <a:gd name="T10" fmla="*/ 2147483647 w 112"/>
                <a:gd name="T11" fmla="*/ 2147483647 h 36"/>
                <a:gd name="T12" fmla="*/ 2147483647 w 112"/>
                <a:gd name="T13" fmla="*/ 2147483647 h 36"/>
                <a:gd name="T14" fmla="*/ 2147483647 w 112"/>
                <a:gd name="T15" fmla="*/ 2147483647 h 36"/>
                <a:gd name="T16" fmla="*/ 2147483647 w 112"/>
                <a:gd name="T17" fmla="*/ 2147483647 h 36"/>
                <a:gd name="T18" fmla="*/ 2147483647 w 112"/>
                <a:gd name="T19" fmla="*/ 2147483647 h 36"/>
                <a:gd name="T20" fmla="*/ 2147483647 w 112"/>
                <a:gd name="T21" fmla="*/ 2147483647 h 36"/>
                <a:gd name="T22" fmla="*/ 2147483647 w 112"/>
                <a:gd name="T23" fmla="*/ 0 h 36"/>
                <a:gd name="T24" fmla="*/ 2147483647 w 112"/>
                <a:gd name="T25" fmla="*/ 0 h 36"/>
                <a:gd name="T26" fmla="*/ 2147483647 w 112"/>
                <a:gd name="T27" fmla="*/ 2147483647 h 36"/>
                <a:gd name="T28" fmla="*/ 2147483647 w 112"/>
                <a:gd name="T29" fmla="*/ 2147483647 h 36"/>
                <a:gd name="T30" fmla="*/ 2147483647 w 112"/>
                <a:gd name="T31" fmla="*/ 2147483647 h 36"/>
                <a:gd name="T32" fmla="*/ 2147483647 w 112"/>
                <a:gd name="T33" fmla="*/ 2147483647 h 36"/>
                <a:gd name="T34" fmla="*/ 2147483647 w 112"/>
                <a:gd name="T35" fmla="*/ 2147483647 h 36"/>
                <a:gd name="T36" fmla="*/ 2147483647 w 112"/>
                <a:gd name="T37" fmla="*/ 2147483647 h 36"/>
                <a:gd name="T38" fmla="*/ 2147483647 w 112"/>
                <a:gd name="T39" fmla="*/ 2147483647 h 36"/>
                <a:gd name="T40" fmla="*/ 2147483647 w 112"/>
                <a:gd name="T41" fmla="*/ 2147483647 h 36"/>
                <a:gd name="T42" fmla="*/ 2147483647 w 112"/>
                <a:gd name="T43" fmla="*/ 2147483647 h 36"/>
                <a:gd name="T44" fmla="*/ 2147483647 w 112"/>
                <a:gd name="T45" fmla="*/ 2147483647 h 36"/>
                <a:gd name="T46" fmla="*/ 0 w 112"/>
                <a:gd name="T47" fmla="*/ 2147483647 h 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12" h="36">
                  <a:moveTo>
                    <a:pt x="0" y="36"/>
                  </a:moveTo>
                  <a:lnTo>
                    <a:pt x="59" y="36"/>
                  </a:lnTo>
                  <a:lnTo>
                    <a:pt x="67" y="30"/>
                  </a:lnTo>
                  <a:lnTo>
                    <a:pt x="75" y="26"/>
                  </a:lnTo>
                  <a:lnTo>
                    <a:pt x="84" y="23"/>
                  </a:lnTo>
                  <a:lnTo>
                    <a:pt x="91" y="20"/>
                  </a:lnTo>
                  <a:lnTo>
                    <a:pt x="98" y="17"/>
                  </a:lnTo>
                  <a:lnTo>
                    <a:pt x="104" y="13"/>
                  </a:lnTo>
                  <a:lnTo>
                    <a:pt x="107" y="11"/>
                  </a:lnTo>
                  <a:lnTo>
                    <a:pt x="109" y="8"/>
                  </a:lnTo>
                  <a:lnTo>
                    <a:pt x="111" y="4"/>
                  </a:lnTo>
                  <a:lnTo>
                    <a:pt x="112" y="0"/>
                  </a:lnTo>
                  <a:lnTo>
                    <a:pt x="100" y="0"/>
                  </a:lnTo>
                  <a:lnTo>
                    <a:pt x="85" y="1"/>
                  </a:lnTo>
                  <a:lnTo>
                    <a:pt x="67" y="3"/>
                  </a:lnTo>
                  <a:lnTo>
                    <a:pt x="48" y="7"/>
                  </a:lnTo>
                  <a:lnTo>
                    <a:pt x="40" y="9"/>
                  </a:lnTo>
                  <a:lnTo>
                    <a:pt x="31" y="11"/>
                  </a:lnTo>
                  <a:lnTo>
                    <a:pt x="23" y="14"/>
                  </a:lnTo>
                  <a:lnTo>
                    <a:pt x="17" y="18"/>
                  </a:lnTo>
                  <a:lnTo>
                    <a:pt x="10" y="22"/>
                  </a:lnTo>
                  <a:lnTo>
                    <a:pt x="6" y="26"/>
                  </a:lnTo>
                  <a:lnTo>
                    <a:pt x="1" y="31"/>
                  </a:lnTo>
                  <a:lnTo>
                    <a:pt x="0" y="36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59" name="Freeform 30"/>
            <p:cNvSpPr>
              <a:spLocks/>
            </p:cNvSpPr>
            <p:nvPr>
              <p:custDataLst>
                <p:tags r:id="rId44"/>
              </p:custDataLst>
            </p:nvPr>
          </p:nvSpPr>
          <p:spPr bwMode="auto">
            <a:xfrm>
              <a:off x="7158669" y="2596002"/>
              <a:ext cx="874713" cy="452437"/>
            </a:xfrm>
            <a:custGeom>
              <a:avLst/>
              <a:gdLst>
                <a:gd name="T0" fmla="*/ 2147483647 w 2006"/>
                <a:gd name="T1" fmla="*/ 2147483647 h 863"/>
                <a:gd name="T2" fmla="*/ 2147483647 w 2006"/>
                <a:gd name="T3" fmla="*/ 2147483647 h 863"/>
                <a:gd name="T4" fmla="*/ 2147483647 w 2006"/>
                <a:gd name="T5" fmla="*/ 2147483647 h 863"/>
                <a:gd name="T6" fmla="*/ 2147483647 w 2006"/>
                <a:gd name="T7" fmla="*/ 2147483647 h 863"/>
                <a:gd name="T8" fmla="*/ 2147483647 w 2006"/>
                <a:gd name="T9" fmla="*/ 2147483647 h 863"/>
                <a:gd name="T10" fmla="*/ 2147483647 w 2006"/>
                <a:gd name="T11" fmla="*/ 2147483647 h 863"/>
                <a:gd name="T12" fmla="*/ 2147483647 w 2006"/>
                <a:gd name="T13" fmla="*/ 2147483647 h 863"/>
                <a:gd name="T14" fmla="*/ 2147483647 w 2006"/>
                <a:gd name="T15" fmla="*/ 2147483647 h 863"/>
                <a:gd name="T16" fmla="*/ 2147483647 w 2006"/>
                <a:gd name="T17" fmla="*/ 2147483647 h 863"/>
                <a:gd name="T18" fmla="*/ 2147483647 w 2006"/>
                <a:gd name="T19" fmla="*/ 2147483647 h 863"/>
                <a:gd name="T20" fmla="*/ 2147483647 w 2006"/>
                <a:gd name="T21" fmla="*/ 2147483647 h 863"/>
                <a:gd name="T22" fmla="*/ 2147483647 w 2006"/>
                <a:gd name="T23" fmla="*/ 2147483647 h 863"/>
                <a:gd name="T24" fmla="*/ 2147483647 w 2006"/>
                <a:gd name="T25" fmla="*/ 2147483647 h 863"/>
                <a:gd name="T26" fmla="*/ 2147483647 w 2006"/>
                <a:gd name="T27" fmla="*/ 2147483647 h 863"/>
                <a:gd name="T28" fmla="*/ 2147483647 w 2006"/>
                <a:gd name="T29" fmla="*/ 2147483647 h 863"/>
                <a:gd name="T30" fmla="*/ 2147483647 w 2006"/>
                <a:gd name="T31" fmla="*/ 2147483647 h 863"/>
                <a:gd name="T32" fmla="*/ 2147483647 w 2006"/>
                <a:gd name="T33" fmla="*/ 2147483647 h 863"/>
                <a:gd name="T34" fmla="*/ 2147483647 w 2006"/>
                <a:gd name="T35" fmla="*/ 2147483647 h 863"/>
                <a:gd name="T36" fmla="*/ 2147483647 w 2006"/>
                <a:gd name="T37" fmla="*/ 2147483647 h 863"/>
                <a:gd name="T38" fmla="*/ 2147483647 w 2006"/>
                <a:gd name="T39" fmla="*/ 2147483647 h 863"/>
                <a:gd name="T40" fmla="*/ 2147483647 w 2006"/>
                <a:gd name="T41" fmla="*/ 2147483647 h 863"/>
                <a:gd name="T42" fmla="*/ 2147483647 w 2006"/>
                <a:gd name="T43" fmla="*/ 2147483647 h 863"/>
                <a:gd name="T44" fmla="*/ 2147483647 w 2006"/>
                <a:gd name="T45" fmla="*/ 2147483647 h 863"/>
                <a:gd name="T46" fmla="*/ 2147483647 w 2006"/>
                <a:gd name="T47" fmla="*/ 2147483647 h 863"/>
                <a:gd name="T48" fmla="*/ 2147483647 w 2006"/>
                <a:gd name="T49" fmla="*/ 2147483647 h 863"/>
                <a:gd name="T50" fmla="*/ 2147483647 w 2006"/>
                <a:gd name="T51" fmla="*/ 2147483647 h 863"/>
                <a:gd name="T52" fmla="*/ 2147483647 w 2006"/>
                <a:gd name="T53" fmla="*/ 2147483647 h 863"/>
                <a:gd name="T54" fmla="*/ 2147483647 w 2006"/>
                <a:gd name="T55" fmla="*/ 2147483647 h 863"/>
                <a:gd name="T56" fmla="*/ 2147483647 w 2006"/>
                <a:gd name="T57" fmla="*/ 2147483647 h 863"/>
                <a:gd name="T58" fmla="*/ 2147483647 w 2006"/>
                <a:gd name="T59" fmla="*/ 2147483647 h 863"/>
                <a:gd name="T60" fmla="*/ 2147483647 w 2006"/>
                <a:gd name="T61" fmla="*/ 2147483647 h 863"/>
                <a:gd name="T62" fmla="*/ 2147483647 w 2006"/>
                <a:gd name="T63" fmla="*/ 2147483647 h 863"/>
                <a:gd name="T64" fmla="*/ 2147483647 w 2006"/>
                <a:gd name="T65" fmla="*/ 2147483647 h 863"/>
                <a:gd name="T66" fmla="*/ 2147483647 w 2006"/>
                <a:gd name="T67" fmla="*/ 2147483647 h 863"/>
                <a:gd name="T68" fmla="*/ 2147483647 w 2006"/>
                <a:gd name="T69" fmla="*/ 2147483647 h 863"/>
                <a:gd name="T70" fmla="*/ 2147483647 w 2006"/>
                <a:gd name="T71" fmla="*/ 2147483647 h 863"/>
                <a:gd name="T72" fmla="*/ 2147483647 w 2006"/>
                <a:gd name="T73" fmla="*/ 2147483647 h 863"/>
                <a:gd name="T74" fmla="*/ 2147483647 w 2006"/>
                <a:gd name="T75" fmla="*/ 2147483647 h 863"/>
                <a:gd name="T76" fmla="*/ 2147483647 w 2006"/>
                <a:gd name="T77" fmla="*/ 2147483647 h 863"/>
                <a:gd name="T78" fmla="*/ 2147483647 w 2006"/>
                <a:gd name="T79" fmla="*/ 2147483647 h 863"/>
                <a:gd name="T80" fmla="*/ 2147483647 w 2006"/>
                <a:gd name="T81" fmla="*/ 2147483647 h 863"/>
                <a:gd name="T82" fmla="*/ 2147483647 w 2006"/>
                <a:gd name="T83" fmla="*/ 2147483647 h 863"/>
                <a:gd name="T84" fmla="*/ 2147483647 w 2006"/>
                <a:gd name="T85" fmla="*/ 2147483647 h 863"/>
                <a:gd name="T86" fmla="*/ 2147483647 w 2006"/>
                <a:gd name="T87" fmla="*/ 2147483647 h 863"/>
                <a:gd name="T88" fmla="*/ 2147483647 w 2006"/>
                <a:gd name="T89" fmla="*/ 2147483647 h 863"/>
                <a:gd name="T90" fmla="*/ 2147483647 w 2006"/>
                <a:gd name="T91" fmla="*/ 2147483647 h 863"/>
                <a:gd name="T92" fmla="*/ 2147483647 w 2006"/>
                <a:gd name="T93" fmla="*/ 2147483647 h 863"/>
                <a:gd name="T94" fmla="*/ 2147483647 w 2006"/>
                <a:gd name="T95" fmla="*/ 2147483647 h 863"/>
                <a:gd name="T96" fmla="*/ 2147483647 w 2006"/>
                <a:gd name="T97" fmla="*/ 2147483647 h 863"/>
                <a:gd name="T98" fmla="*/ 2147483647 w 2006"/>
                <a:gd name="T99" fmla="*/ 2147483647 h 863"/>
                <a:gd name="T100" fmla="*/ 2147483647 w 2006"/>
                <a:gd name="T101" fmla="*/ 2147483647 h 863"/>
                <a:gd name="T102" fmla="*/ 2147483647 w 2006"/>
                <a:gd name="T103" fmla="*/ 2147483647 h 863"/>
                <a:gd name="T104" fmla="*/ 2147483647 w 2006"/>
                <a:gd name="T105" fmla="*/ 2147483647 h 863"/>
                <a:gd name="T106" fmla="*/ 2147483647 w 2006"/>
                <a:gd name="T107" fmla="*/ 2147483647 h 863"/>
                <a:gd name="T108" fmla="*/ 2147483647 w 2006"/>
                <a:gd name="T109" fmla="*/ 2147483647 h 863"/>
                <a:gd name="T110" fmla="*/ 2147483647 w 2006"/>
                <a:gd name="T111" fmla="*/ 2147483647 h 863"/>
                <a:gd name="T112" fmla="*/ 2147483647 w 2006"/>
                <a:gd name="T113" fmla="*/ 2147483647 h 863"/>
                <a:gd name="T114" fmla="*/ 2147483647 w 2006"/>
                <a:gd name="T115" fmla="*/ 2147483647 h 8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06" h="863">
                  <a:moveTo>
                    <a:pt x="571" y="826"/>
                  </a:moveTo>
                  <a:lnTo>
                    <a:pt x="538" y="826"/>
                  </a:lnTo>
                  <a:lnTo>
                    <a:pt x="512" y="789"/>
                  </a:lnTo>
                  <a:lnTo>
                    <a:pt x="438" y="764"/>
                  </a:lnTo>
                  <a:lnTo>
                    <a:pt x="433" y="765"/>
                  </a:lnTo>
                  <a:lnTo>
                    <a:pt x="427" y="766"/>
                  </a:lnTo>
                  <a:lnTo>
                    <a:pt x="424" y="767"/>
                  </a:lnTo>
                  <a:lnTo>
                    <a:pt x="421" y="767"/>
                  </a:lnTo>
                  <a:lnTo>
                    <a:pt x="416" y="766"/>
                  </a:lnTo>
                  <a:lnTo>
                    <a:pt x="412" y="764"/>
                  </a:lnTo>
                  <a:lnTo>
                    <a:pt x="405" y="772"/>
                  </a:lnTo>
                  <a:lnTo>
                    <a:pt x="397" y="778"/>
                  </a:lnTo>
                  <a:lnTo>
                    <a:pt x="393" y="782"/>
                  </a:lnTo>
                  <a:lnTo>
                    <a:pt x="391" y="786"/>
                  </a:lnTo>
                  <a:lnTo>
                    <a:pt x="390" y="794"/>
                  </a:lnTo>
                  <a:lnTo>
                    <a:pt x="392" y="802"/>
                  </a:lnTo>
                  <a:lnTo>
                    <a:pt x="386" y="800"/>
                  </a:lnTo>
                  <a:lnTo>
                    <a:pt x="381" y="798"/>
                  </a:lnTo>
                  <a:lnTo>
                    <a:pt x="378" y="795"/>
                  </a:lnTo>
                  <a:lnTo>
                    <a:pt x="375" y="792"/>
                  </a:lnTo>
                  <a:lnTo>
                    <a:pt x="372" y="787"/>
                  </a:lnTo>
                  <a:lnTo>
                    <a:pt x="371" y="783"/>
                  </a:lnTo>
                  <a:lnTo>
                    <a:pt x="370" y="778"/>
                  </a:lnTo>
                  <a:lnTo>
                    <a:pt x="369" y="773"/>
                  </a:lnTo>
                  <a:lnTo>
                    <a:pt x="370" y="751"/>
                  </a:lnTo>
                  <a:lnTo>
                    <a:pt x="372" y="727"/>
                  </a:lnTo>
                  <a:lnTo>
                    <a:pt x="352" y="727"/>
                  </a:lnTo>
                  <a:lnTo>
                    <a:pt x="332" y="726"/>
                  </a:lnTo>
                  <a:lnTo>
                    <a:pt x="327" y="725"/>
                  </a:lnTo>
                  <a:lnTo>
                    <a:pt x="324" y="724"/>
                  </a:lnTo>
                  <a:lnTo>
                    <a:pt x="321" y="722"/>
                  </a:lnTo>
                  <a:lnTo>
                    <a:pt x="318" y="719"/>
                  </a:lnTo>
                  <a:lnTo>
                    <a:pt x="315" y="716"/>
                  </a:lnTo>
                  <a:lnTo>
                    <a:pt x="313" y="712"/>
                  </a:lnTo>
                  <a:lnTo>
                    <a:pt x="312" y="708"/>
                  </a:lnTo>
                  <a:lnTo>
                    <a:pt x="312" y="703"/>
                  </a:lnTo>
                  <a:lnTo>
                    <a:pt x="305" y="702"/>
                  </a:lnTo>
                  <a:lnTo>
                    <a:pt x="299" y="700"/>
                  </a:lnTo>
                  <a:lnTo>
                    <a:pt x="293" y="697"/>
                  </a:lnTo>
                  <a:lnTo>
                    <a:pt x="288" y="692"/>
                  </a:lnTo>
                  <a:lnTo>
                    <a:pt x="280" y="682"/>
                  </a:lnTo>
                  <a:lnTo>
                    <a:pt x="273" y="668"/>
                  </a:lnTo>
                  <a:lnTo>
                    <a:pt x="265" y="656"/>
                  </a:lnTo>
                  <a:lnTo>
                    <a:pt x="256" y="646"/>
                  </a:lnTo>
                  <a:lnTo>
                    <a:pt x="251" y="641"/>
                  </a:lnTo>
                  <a:lnTo>
                    <a:pt x="245" y="638"/>
                  </a:lnTo>
                  <a:lnTo>
                    <a:pt x="240" y="636"/>
                  </a:lnTo>
                  <a:lnTo>
                    <a:pt x="232" y="635"/>
                  </a:lnTo>
                  <a:lnTo>
                    <a:pt x="232" y="623"/>
                  </a:lnTo>
                  <a:lnTo>
                    <a:pt x="232" y="610"/>
                  </a:lnTo>
                  <a:lnTo>
                    <a:pt x="239" y="608"/>
                  </a:lnTo>
                  <a:lnTo>
                    <a:pt x="245" y="604"/>
                  </a:lnTo>
                  <a:lnTo>
                    <a:pt x="251" y="600"/>
                  </a:lnTo>
                  <a:lnTo>
                    <a:pt x="253" y="598"/>
                  </a:lnTo>
                  <a:lnTo>
                    <a:pt x="253" y="594"/>
                  </a:lnTo>
                  <a:lnTo>
                    <a:pt x="254" y="591"/>
                  </a:lnTo>
                  <a:lnTo>
                    <a:pt x="256" y="588"/>
                  </a:lnTo>
                  <a:lnTo>
                    <a:pt x="259" y="585"/>
                  </a:lnTo>
                  <a:lnTo>
                    <a:pt x="268" y="578"/>
                  </a:lnTo>
                  <a:lnTo>
                    <a:pt x="279" y="573"/>
                  </a:lnTo>
                  <a:lnTo>
                    <a:pt x="292" y="568"/>
                  </a:lnTo>
                  <a:lnTo>
                    <a:pt x="309" y="564"/>
                  </a:lnTo>
                  <a:lnTo>
                    <a:pt x="326" y="561"/>
                  </a:lnTo>
                  <a:lnTo>
                    <a:pt x="345" y="561"/>
                  </a:lnTo>
                  <a:lnTo>
                    <a:pt x="338" y="544"/>
                  </a:lnTo>
                  <a:lnTo>
                    <a:pt x="330" y="529"/>
                  </a:lnTo>
                  <a:lnTo>
                    <a:pt x="325" y="520"/>
                  </a:lnTo>
                  <a:lnTo>
                    <a:pt x="322" y="511"/>
                  </a:lnTo>
                  <a:lnTo>
                    <a:pt x="320" y="499"/>
                  </a:lnTo>
                  <a:lnTo>
                    <a:pt x="319" y="487"/>
                  </a:lnTo>
                  <a:lnTo>
                    <a:pt x="307" y="486"/>
                  </a:lnTo>
                  <a:lnTo>
                    <a:pt x="293" y="484"/>
                  </a:lnTo>
                  <a:lnTo>
                    <a:pt x="281" y="481"/>
                  </a:lnTo>
                  <a:lnTo>
                    <a:pt x="269" y="478"/>
                  </a:lnTo>
                  <a:lnTo>
                    <a:pt x="258" y="475"/>
                  </a:lnTo>
                  <a:lnTo>
                    <a:pt x="247" y="472"/>
                  </a:lnTo>
                  <a:lnTo>
                    <a:pt x="236" y="470"/>
                  </a:lnTo>
                  <a:lnTo>
                    <a:pt x="225" y="469"/>
                  </a:lnTo>
                  <a:lnTo>
                    <a:pt x="218" y="469"/>
                  </a:lnTo>
                  <a:lnTo>
                    <a:pt x="209" y="470"/>
                  </a:lnTo>
                  <a:lnTo>
                    <a:pt x="201" y="472"/>
                  </a:lnTo>
                  <a:lnTo>
                    <a:pt x="195" y="474"/>
                  </a:lnTo>
                  <a:lnTo>
                    <a:pt x="180" y="480"/>
                  </a:lnTo>
                  <a:lnTo>
                    <a:pt x="168" y="487"/>
                  </a:lnTo>
                  <a:lnTo>
                    <a:pt x="157" y="495"/>
                  </a:lnTo>
                  <a:lnTo>
                    <a:pt x="146" y="505"/>
                  </a:lnTo>
                  <a:lnTo>
                    <a:pt x="136" y="515"/>
                  </a:lnTo>
                  <a:lnTo>
                    <a:pt x="127" y="524"/>
                  </a:lnTo>
                  <a:lnTo>
                    <a:pt x="133" y="512"/>
                  </a:lnTo>
                  <a:lnTo>
                    <a:pt x="106" y="505"/>
                  </a:lnTo>
                  <a:lnTo>
                    <a:pt x="133" y="487"/>
                  </a:lnTo>
                  <a:lnTo>
                    <a:pt x="106" y="463"/>
                  </a:lnTo>
                  <a:lnTo>
                    <a:pt x="79" y="438"/>
                  </a:lnTo>
                  <a:lnTo>
                    <a:pt x="40" y="438"/>
                  </a:lnTo>
                  <a:lnTo>
                    <a:pt x="27" y="413"/>
                  </a:lnTo>
                  <a:lnTo>
                    <a:pt x="7" y="401"/>
                  </a:lnTo>
                  <a:lnTo>
                    <a:pt x="0" y="370"/>
                  </a:lnTo>
                  <a:lnTo>
                    <a:pt x="0" y="333"/>
                  </a:lnTo>
                  <a:lnTo>
                    <a:pt x="13" y="308"/>
                  </a:lnTo>
                  <a:lnTo>
                    <a:pt x="20" y="283"/>
                  </a:lnTo>
                  <a:lnTo>
                    <a:pt x="53" y="302"/>
                  </a:lnTo>
                  <a:lnTo>
                    <a:pt x="86" y="314"/>
                  </a:lnTo>
                  <a:lnTo>
                    <a:pt x="106" y="308"/>
                  </a:lnTo>
                  <a:lnTo>
                    <a:pt x="79" y="277"/>
                  </a:lnTo>
                  <a:lnTo>
                    <a:pt x="113" y="259"/>
                  </a:lnTo>
                  <a:lnTo>
                    <a:pt x="146" y="228"/>
                  </a:lnTo>
                  <a:lnTo>
                    <a:pt x="179" y="222"/>
                  </a:lnTo>
                  <a:lnTo>
                    <a:pt x="219" y="222"/>
                  </a:lnTo>
                  <a:lnTo>
                    <a:pt x="246" y="210"/>
                  </a:lnTo>
                  <a:lnTo>
                    <a:pt x="292" y="222"/>
                  </a:lnTo>
                  <a:lnTo>
                    <a:pt x="338" y="241"/>
                  </a:lnTo>
                  <a:lnTo>
                    <a:pt x="379" y="277"/>
                  </a:lnTo>
                  <a:lnTo>
                    <a:pt x="425" y="271"/>
                  </a:lnTo>
                  <a:lnTo>
                    <a:pt x="465" y="253"/>
                  </a:lnTo>
                  <a:lnTo>
                    <a:pt x="498" y="253"/>
                  </a:lnTo>
                  <a:lnTo>
                    <a:pt x="538" y="247"/>
                  </a:lnTo>
                  <a:lnTo>
                    <a:pt x="578" y="265"/>
                  </a:lnTo>
                  <a:lnTo>
                    <a:pt x="624" y="277"/>
                  </a:lnTo>
                  <a:lnTo>
                    <a:pt x="671" y="271"/>
                  </a:lnTo>
                  <a:lnTo>
                    <a:pt x="717" y="253"/>
                  </a:lnTo>
                  <a:lnTo>
                    <a:pt x="717" y="228"/>
                  </a:lnTo>
                  <a:lnTo>
                    <a:pt x="684" y="222"/>
                  </a:lnTo>
                  <a:lnTo>
                    <a:pt x="645" y="210"/>
                  </a:lnTo>
                  <a:lnTo>
                    <a:pt x="617" y="198"/>
                  </a:lnTo>
                  <a:lnTo>
                    <a:pt x="658" y="185"/>
                  </a:lnTo>
                  <a:lnTo>
                    <a:pt x="651" y="148"/>
                  </a:lnTo>
                  <a:lnTo>
                    <a:pt x="704" y="142"/>
                  </a:lnTo>
                  <a:lnTo>
                    <a:pt x="638" y="93"/>
                  </a:lnTo>
                  <a:lnTo>
                    <a:pt x="744" y="75"/>
                  </a:lnTo>
                  <a:lnTo>
                    <a:pt x="830" y="68"/>
                  </a:lnTo>
                  <a:lnTo>
                    <a:pt x="844" y="43"/>
                  </a:lnTo>
                  <a:lnTo>
                    <a:pt x="904" y="37"/>
                  </a:lnTo>
                  <a:lnTo>
                    <a:pt x="963" y="25"/>
                  </a:lnTo>
                  <a:lnTo>
                    <a:pt x="983" y="0"/>
                  </a:lnTo>
                  <a:lnTo>
                    <a:pt x="1050" y="13"/>
                  </a:lnTo>
                  <a:lnTo>
                    <a:pt x="1089" y="6"/>
                  </a:lnTo>
                  <a:lnTo>
                    <a:pt x="1116" y="25"/>
                  </a:lnTo>
                  <a:lnTo>
                    <a:pt x="1122" y="75"/>
                  </a:lnTo>
                  <a:lnTo>
                    <a:pt x="1163" y="75"/>
                  </a:lnTo>
                  <a:lnTo>
                    <a:pt x="1176" y="61"/>
                  </a:lnTo>
                  <a:lnTo>
                    <a:pt x="1196" y="75"/>
                  </a:lnTo>
                  <a:lnTo>
                    <a:pt x="1235" y="81"/>
                  </a:lnTo>
                  <a:lnTo>
                    <a:pt x="1255" y="81"/>
                  </a:lnTo>
                  <a:lnTo>
                    <a:pt x="1255" y="117"/>
                  </a:lnTo>
                  <a:lnTo>
                    <a:pt x="1296" y="111"/>
                  </a:lnTo>
                  <a:lnTo>
                    <a:pt x="1335" y="93"/>
                  </a:lnTo>
                  <a:lnTo>
                    <a:pt x="1375" y="61"/>
                  </a:lnTo>
                  <a:lnTo>
                    <a:pt x="1401" y="49"/>
                  </a:lnTo>
                  <a:lnTo>
                    <a:pt x="1401" y="81"/>
                  </a:lnTo>
                  <a:lnTo>
                    <a:pt x="1442" y="99"/>
                  </a:lnTo>
                  <a:lnTo>
                    <a:pt x="1488" y="117"/>
                  </a:lnTo>
                  <a:lnTo>
                    <a:pt x="1528" y="160"/>
                  </a:lnTo>
                  <a:lnTo>
                    <a:pt x="1581" y="204"/>
                  </a:lnTo>
                  <a:lnTo>
                    <a:pt x="1627" y="241"/>
                  </a:lnTo>
                  <a:lnTo>
                    <a:pt x="1647" y="271"/>
                  </a:lnTo>
                  <a:lnTo>
                    <a:pt x="1660" y="241"/>
                  </a:lnTo>
                  <a:lnTo>
                    <a:pt x="1688" y="235"/>
                  </a:lnTo>
                  <a:lnTo>
                    <a:pt x="1708" y="259"/>
                  </a:lnTo>
                  <a:lnTo>
                    <a:pt x="1747" y="271"/>
                  </a:lnTo>
                  <a:lnTo>
                    <a:pt x="1793" y="265"/>
                  </a:lnTo>
                  <a:lnTo>
                    <a:pt x="1821" y="253"/>
                  </a:lnTo>
                  <a:lnTo>
                    <a:pt x="1860" y="283"/>
                  </a:lnTo>
                  <a:lnTo>
                    <a:pt x="1906" y="308"/>
                  </a:lnTo>
                  <a:lnTo>
                    <a:pt x="1947" y="333"/>
                  </a:lnTo>
                  <a:lnTo>
                    <a:pt x="2000" y="339"/>
                  </a:lnTo>
                  <a:lnTo>
                    <a:pt x="2006" y="346"/>
                  </a:lnTo>
                  <a:lnTo>
                    <a:pt x="2005" y="358"/>
                  </a:lnTo>
                  <a:lnTo>
                    <a:pt x="2004" y="373"/>
                  </a:lnTo>
                  <a:lnTo>
                    <a:pt x="2004" y="377"/>
                  </a:lnTo>
                  <a:lnTo>
                    <a:pt x="2002" y="381"/>
                  </a:lnTo>
                  <a:lnTo>
                    <a:pt x="2000" y="385"/>
                  </a:lnTo>
                  <a:lnTo>
                    <a:pt x="1996" y="388"/>
                  </a:lnTo>
                  <a:lnTo>
                    <a:pt x="1993" y="392"/>
                  </a:lnTo>
                  <a:lnTo>
                    <a:pt x="1988" y="395"/>
                  </a:lnTo>
                  <a:lnTo>
                    <a:pt x="1981" y="399"/>
                  </a:lnTo>
                  <a:lnTo>
                    <a:pt x="1973" y="401"/>
                  </a:lnTo>
                  <a:lnTo>
                    <a:pt x="1969" y="401"/>
                  </a:lnTo>
                  <a:lnTo>
                    <a:pt x="1965" y="402"/>
                  </a:lnTo>
                  <a:lnTo>
                    <a:pt x="1962" y="403"/>
                  </a:lnTo>
                  <a:lnTo>
                    <a:pt x="1960" y="404"/>
                  </a:lnTo>
                  <a:lnTo>
                    <a:pt x="1959" y="406"/>
                  </a:lnTo>
                  <a:lnTo>
                    <a:pt x="1958" y="408"/>
                  </a:lnTo>
                  <a:lnTo>
                    <a:pt x="1958" y="410"/>
                  </a:lnTo>
                  <a:lnTo>
                    <a:pt x="1958" y="413"/>
                  </a:lnTo>
                  <a:lnTo>
                    <a:pt x="1963" y="425"/>
                  </a:lnTo>
                  <a:lnTo>
                    <a:pt x="1972" y="438"/>
                  </a:lnTo>
                  <a:lnTo>
                    <a:pt x="1977" y="445"/>
                  </a:lnTo>
                  <a:lnTo>
                    <a:pt x="1981" y="452"/>
                  </a:lnTo>
                  <a:lnTo>
                    <a:pt x="1983" y="460"/>
                  </a:lnTo>
                  <a:lnTo>
                    <a:pt x="1985" y="466"/>
                  </a:lnTo>
                  <a:lnTo>
                    <a:pt x="1985" y="469"/>
                  </a:lnTo>
                  <a:lnTo>
                    <a:pt x="1984" y="471"/>
                  </a:lnTo>
                  <a:lnTo>
                    <a:pt x="1983" y="474"/>
                  </a:lnTo>
                  <a:lnTo>
                    <a:pt x="1982" y="476"/>
                  </a:lnTo>
                  <a:lnTo>
                    <a:pt x="1979" y="478"/>
                  </a:lnTo>
                  <a:lnTo>
                    <a:pt x="1976" y="479"/>
                  </a:lnTo>
                  <a:lnTo>
                    <a:pt x="1971" y="480"/>
                  </a:lnTo>
                  <a:lnTo>
                    <a:pt x="1967" y="481"/>
                  </a:lnTo>
                  <a:lnTo>
                    <a:pt x="1954" y="481"/>
                  </a:lnTo>
                  <a:lnTo>
                    <a:pt x="1939" y="481"/>
                  </a:lnTo>
                  <a:lnTo>
                    <a:pt x="1932" y="481"/>
                  </a:lnTo>
                  <a:lnTo>
                    <a:pt x="1923" y="480"/>
                  </a:lnTo>
                  <a:lnTo>
                    <a:pt x="1913" y="478"/>
                  </a:lnTo>
                  <a:lnTo>
                    <a:pt x="1903" y="476"/>
                  </a:lnTo>
                  <a:lnTo>
                    <a:pt x="1893" y="474"/>
                  </a:lnTo>
                  <a:lnTo>
                    <a:pt x="1883" y="471"/>
                  </a:lnTo>
                  <a:lnTo>
                    <a:pt x="1875" y="467"/>
                  </a:lnTo>
                  <a:lnTo>
                    <a:pt x="1867" y="463"/>
                  </a:lnTo>
                  <a:lnTo>
                    <a:pt x="1865" y="468"/>
                  </a:lnTo>
                  <a:lnTo>
                    <a:pt x="1864" y="474"/>
                  </a:lnTo>
                  <a:lnTo>
                    <a:pt x="1865" y="482"/>
                  </a:lnTo>
                  <a:lnTo>
                    <a:pt x="1865" y="490"/>
                  </a:lnTo>
                  <a:lnTo>
                    <a:pt x="1869" y="508"/>
                  </a:lnTo>
                  <a:lnTo>
                    <a:pt x="1873" y="529"/>
                  </a:lnTo>
                  <a:lnTo>
                    <a:pt x="1878" y="548"/>
                  </a:lnTo>
                  <a:lnTo>
                    <a:pt x="1882" y="564"/>
                  </a:lnTo>
                  <a:lnTo>
                    <a:pt x="1882" y="572"/>
                  </a:lnTo>
                  <a:lnTo>
                    <a:pt x="1882" y="578"/>
                  </a:lnTo>
                  <a:lnTo>
                    <a:pt x="1882" y="583"/>
                  </a:lnTo>
                  <a:lnTo>
                    <a:pt x="1880" y="586"/>
                  </a:lnTo>
                  <a:lnTo>
                    <a:pt x="1854" y="584"/>
                  </a:lnTo>
                  <a:lnTo>
                    <a:pt x="1816" y="584"/>
                  </a:lnTo>
                  <a:lnTo>
                    <a:pt x="1806" y="585"/>
                  </a:lnTo>
                  <a:lnTo>
                    <a:pt x="1798" y="586"/>
                  </a:lnTo>
                  <a:lnTo>
                    <a:pt x="1789" y="588"/>
                  </a:lnTo>
                  <a:lnTo>
                    <a:pt x="1782" y="591"/>
                  </a:lnTo>
                  <a:lnTo>
                    <a:pt x="1776" y="594"/>
                  </a:lnTo>
                  <a:lnTo>
                    <a:pt x="1771" y="598"/>
                  </a:lnTo>
                  <a:lnTo>
                    <a:pt x="1769" y="601"/>
                  </a:lnTo>
                  <a:lnTo>
                    <a:pt x="1768" y="604"/>
                  </a:lnTo>
                  <a:lnTo>
                    <a:pt x="1767" y="607"/>
                  </a:lnTo>
                  <a:lnTo>
                    <a:pt x="1767" y="610"/>
                  </a:lnTo>
                  <a:lnTo>
                    <a:pt x="1778" y="612"/>
                  </a:lnTo>
                  <a:lnTo>
                    <a:pt x="1788" y="615"/>
                  </a:lnTo>
                  <a:lnTo>
                    <a:pt x="1795" y="619"/>
                  </a:lnTo>
                  <a:lnTo>
                    <a:pt x="1801" y="625"/>
                  </a:lnTo>
                  <a:lnTo>
                    <a:pt x="1805" y="631"/>
                  </a:lnTo>
                  <a:lnTo>
                    <a:pt x="1809" y="637"/>
                  </a:lnTo>
                  <a:lnTo>
                    <a:pt x="1812" y="644"/>
                  </a:lnTo>
                  <a:lnTo>
                    <a:pt x="1814" y="650"/>
                  </a:lnTo>
                  <a:lnTo>
                    <a:pt x="1817" y="664"/>
                  </a:lnTo>
                  <a:lnTo>
                    <a:pt x="1822" y="676"/>
                  </a:lnTo>
                  <a:lnTo>
                    <a:pt x="1824" y="682"/>
                  </a:lnTo>
                  <a:lnTo>
                    <a:pt x="1828" y="686"/>
                  </a:lnTo>
                  <a:lnTo>
                    <a:pt x="1834" y="689"/>
                  </a:lnTo>
                  <a:lnTo>
                    <a:pt x="1840" y="691"/>
                  </a:lnTo>
                  <a:lnTo>
                    <a:pt x="1838" y="695"/>
                  </a:lnTo>
                  <a:lnTo>
                    <a:pt x="1837" y="699"/>
                  </a:lnTo>
                  <a:lnTo>
                    <a:pt x="1837" y="702"/>
                  </a:lnTo>
                  <a:lnTo>
                    <a:pt x="1837" y="706"/>
                  </a:lnTo>
                  <a:lnTo>
                    <a:pt x="1839" y="713"/>
                  </a:lnTo>
                  <a:lnTo>
                    <a:pt x="1840" y="721"/>
                  </a:lnTo>
                  <a:lnTo>
                    <a:pt x="1840" y="735"/>
                  </a:lnTo>
                  <a:lnTo>
                    <a:pt x="1838" y="748"/>
                  </a:lnTo>
                  <a:lnTo>
                    <a:pt x="1837" y="754"/>
                  </a:lnTo>
                  <a:lnTo>
                    <a:pt x="1835" y="760"/>
                  </a:lnTo>
                  <a:lnTo>
                    <a:pt x="1832" y="765"/>
                  </a:lnTo>
                  <a:lnTo>
                    <a:pt x="1827" y="770"/>
                  </a:lnTo>
                  <a:lnTo>
                    <a:pt x="1814" y="764"/>
                  </a:lnTo>
                  <a:lnTo>
                    <a:pt x="1741" y="740"/>
                  </a:lnTo>
                  <a:lnTo>
                    <a:pt x="1674" y="740"/>
                  </a:lnTo>
                  <a:lnTo>
                    <a:pt x="1614" y="734"/>
                  </a:lnTo>
                  <a:lnTo>
                    <a:pt x="1534" y="727"/>
                  </a:lnTo>
                  <a:lnTo>
                    <a:pt x="1488" y="715"/>
                  </a:lnTo>
                  <a:lnTo>
                    <a:pt x="1475" y="764"/>
                  </a:lnTo>
                  <a:lnTo>
                    <a:pt x="1414" y="740"/>
                  </a:lnTo>
                  <a:lnTo>
                    <a:pt x="1368" y="734"/>
                  </a:lnTo>
                  <a:lnTo>
                    <a:pt x="1342" y="758"/>
                  </a:lnTo>
                  <a:lnTo>
                    <a:pt x="1342" y="770"/>
                  </a:lnTo>
                  <a:lnTo>
                    <a:pt x="1316" y="795"/>
                  </a:lnTo>
                  <a:lnTo>
                    <a:pt x="1282" y="808"/>
                  </a:lnTo>
                  <a:lnTo>
                    <a:pt x="1255" y="838"/>
                  </a:lnTo>
                  <a:lnTo>
                    <a:pt x="1235" y="863"/>
                  </a:lnTo>
                  <a:lnTo>
                    <a:pt x="1196" y="832"/>
                  </a:lnTo>
                  <a:lnTo>
                    <a:pt x="1142" y="838"/>
                  </a:lnTo>
                  <a:lnTo>
                    <a:pt x="1122" y="808"/>
                  </a:lnTo>
                  <a:lnTo>
                    <a:pt x="1083" y="746"/>
                  </a:lnTo>
                  <a:lnTo>
                    <a:pt x="1050" y="715"/>
                  </a:lnTo>
                  <a:lnTo>
                    <a:pt x="1003" y="685"/>
                  </a:lnTo>
                  <a:lnTo>
                    <a:pt x="963" y="697"/>
                  </a:lnTo>
                  <a:lnTo>
                    <a:pt x="917" y="691"/>
                  </a:lnTo>
                  <a:lnTo>
                    <a:pt x="857" y="697"/>
                  </a:lnTo>
                  <a:lnTo>
                    <a:pt x="730" y="616"/>
                  </a:lnTo>
                  <a:lnTo>
                    <a:pt x="682" y="595"/>
                  </a:lnTo>
                  <a:lnTo>
                    <a:pt x="684" y="586"/>
                  </a:lnTo>
                  <a:lnTo>
                    <a:pt x="638" y="548"/>
                  </a:lnTo>
                  <a:lnTo>
                    <a:pt x="610" y="580"/>
                  </a:lnTo>
                  <a:lnTo>
                    <a:pt x="525" y="604"/>
                  </a:lnTo>
                  <a:lnTo>
                    <a:pt x="565" y="826"/>
                  </a:lnTo>
                  <a:lnTo>
                    <a:pt x="584" y="832"/>
                  </a:lnTo>
                  <a:lnTo>
                    <a:pt x="571" y="82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60" name="Freeform 31"/>
            <p:cNvSpPr>
              <a:spLocks/>
            </p:cNvSpPr>
            <p:nvPr>
              <p:custDataLst>
                <p:tags r:id="rId45"/>
              </p:custDataLst>
            </p:nvPr>
          </p:nvSpPr>
          <p:spPr bwMode="auto">
            <a:xfrm>
              <a:off x="7388857" y="2899214"/>
              <a:ext cx="409575" cy="249238"/>
            </a:xfrm>
            <a:custGeom>
              <a:avLst/>
              <a:gdLst>
                <a:gd name="T0" fmla="*/ 2147483647 w 950"/>
                <a:gd name="T1" fmla="*/ 2147483647 h 468"/>
                <a:gd name="T2" fmla="*/ 2147483647 w 950"/>
                <a:gd name="T3" fmla="*/ 2147483647 h 468"/>
                <a:gd name="T4" fmla="*/ 2147483647 w 950"/>
                <a:gd name="T5" fmla="*/ 2147483647 h 468"/>
                <a:gd name="T6" fmla="*/ 2147483647 w 950"/>
                <a:gd name="T7" fmla="*/ 2147483647 h 468"/>
                <a:gd name="T8" fmla="*/ 2147483647 w 950"/>
                <a:gd name="T9" fmla="*/ 2147483647 h 468"/>
                <a:gd name="T10" fmla="*/ 2147483647 w 950"/>
                <a:gd name="T11" fmla="*/ 2147483647 h 468"/>
                <a:gd name="T12" fmla="*/ 2147483647 w 950"/>
                <a:gd name="T13" fmla="*/ 2147483647 h 468"/>
                <a:gd name="T14" fmla="*/ 2147483647 w 950"/>
                <a:gd name="T15" fmla="*/ 2147483647 h 468"/>
                <a:gd name="T16" fmla="*/ 2147483647 w 950"/>
                <a:gd name="T17" fmla="*/ 2147483647 h 468"/>
                <a:gd name="T18" fmla="*/ 2147483647 w 950"/>
                <a:gd name="T19" fmla="*/ 2147483647 h 468"/>
                <a:gd name="T20" fmla="*/ 0 w 950"/>
                <a:gd name="T21" fmla="*/ 2147483647 h 468"/>
                <a:gd name="T22" fmla="*/ 2147483647 w 950"/>
                <a:gd name="T23" fmla="*/ 2147483647 h 468"/>
                <a:gd name="T24" fmla="*/ 2147483647 w 950"/>
                <a:gd name="T25" fmla="*/ 2147483647 h 468"/>
                <a:gd name="T26" fmla="*/ 2147483647 w 950"/>
                <a:gd name="T27" fmla="*/ 2147483647 h 468"/>
                <a:gd name="T28" fmla="*/ 2147483647 w 950"/>
                <a:gd name="T29" fmla="*/ 2147483647 h 468"/>
                <a:gd name="T30" fmla="*/ 2147483647 w 950"/>
                <a:gd name="T31" fmla="*/ 2147483647 h 468"/>
                <a:gd name="T32" fmla="*/ 2147483647 w 950"/>
                <a:gd name="T33" fmla="*/ 2147483647 h 468"/>
                <a:gd name="T34" fmla="*/ 2147483647 w 950"/>
                <a:gd name="T35" fmla="*/ 2147483647 h 468"/>
                <a:gd name="T36" fmla="*/ 2147483647 w 950"/>
                <a:gd name="T37" fmla="*/ 2147483647 h 468"/>
                <a:gd name="T38" fmla="*/ 2147483647 w 950"/>
                <a:gd name="T39" fmla="*/ 2147483647 h 468"/>
                <a:gd name="T40" fmla="*/ 2147483647 w 950"/>
                <a:gd name="T41" fmla="*/ 2147483647 h 468"/>
                <a:gd name="T42" fmla="*/ 2147483647 w 950"/>
                <a:gd name="T43" fmla="*/ 2147483647 h 468"/>
                <a:gd name="T44" fmla="*/ 2147483647 w 950"/>
                <a:gd name="T45" fmla="*/ 2147483647 h 468"/>
                <a:gd name="T46" fmla="*/ 2147483647 w 950"/>
                <a:gd name="T47" fmla="*/ 2147483647 h 468"/>
                <a:gd name="T48" fmla="*/ 2147483647 w 950"/>
                <a:gd name="T49" fmla="*/ 2147483647 h 468"/>
                <a:gd name="T50" fmla="*/ 2147483647 w 950"/>
                <a:gd name="T51" fmla="*/ 2147483647 h 468"/>
                <a:gd name="T52" fmla="*/ 2147483647 w 950"/>
                <a:gd name="T53" fmla="*/ 2147483647 h 468"/>
                <a:gd name="T54" fmla="*/ 2147483647 w 950"/>
                <a:gd name="T55" fmla="*/ 2147483647 h 468"/>
                <a:gd name="T56" fmla="*/ 2147483647 w 950"/>
                <a:gd name="T57" fmla="*/ 2147483647 h 468"/>
                <a:gd name="T58" fmla="*/ 2147483647 w 950"/>
                <a:gd name="T59" fmla="*/ 2147483647 h 468"/>
                <a:gd name="T60" fmla="*/ 2147483647 w 950"/>
                <a:gd name="T61" fmla="*/ 2147483647 h 468"/>
                <a:gd name="T62" fmla="*/ 2147483647 w 950"/>
                <a:gd name="T63" fmla="*/ 2147483647 h 468"/>
                <a:gd name="T64" fmla="*/ 2147483647 w 950"/>
                <a:gd name="T65" fmla="*/ 2147483647 h 468"/>
                <a:gd name="T66" fmla="*/ 2147483647 w 950"/>
                <a:gd name="T67" fmla="*/ 2147483647 h 468"/>
                <a:gd name="T68" fmla="*/ 2147483647 w 950"/>
                <a:gd name="T69" fmla="*/ 2147483647 h 468"/>
                <a:gd name="T70" fmla="*/ 2147483647 w 950"/>
                <a:gd name="T71" fmla="*/ 2147483647 h 46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950" h="468">
                  <a:moveTo>
                    <a:pt x="664" y="455"/>
                  </a:moveTo>
                  <a:lnTo>
                    <a:pt x="638" y="443"/>
                  </a:lnTo>
                  <a:lnTo>
                    <a:pt x="604" y="431"/>
                  </a:lnTo>
                  <a:lnTo>
                    <a:pt x="558" y="418"/>
                  </a:lnTo>
                  <a:lnTo>
                    <a:pt x="512" y="388"/>
                  </a:lnTo>
                  <a:lnTo>
                    <a:pt x="471" y="376"/>
                  </a:lnTo>
                  <a:lnTo>
                    <a:pt x="425" y="345"/>
                  </a:lnTo>
                  <a:lnTo>
                    <a:pt x="392" y="307"/>
                  </a:lnTo>
                  <a:lnTo>
                    <a:pt x="345" y="258"/>
                  </a:lnTo>
                  <a:lnTo>
                    <a:pt x="305" y="258"/>
                  </a:lnTo>
                  <a:lnTo>
                    <a:pt x="266" y="246"/>
                  </a:lnTo>
                  <a:lnTo>
                    <a:pt x="253" y="209"/>
                  </a:lnTo>
                  <a:lnTo>
                    <a:pt x="219" y="190"/>
                  </a:lnTo>
                  <a:lnTo>
                    <a:pt x="186" y="172"/>
                  </a:lnTo>
                  <a:lnTo>
                    <a:pt x="153" y="166"/>
                  </a:lnTo>
                  <a:lnTo>
                    <a:pt x="133" y="190"/>
                  </a:lnTo>
                  <a:lnTo>
                    <a:pt x="92" y="209"/>
                  </a:lnTo>
                  <a:lnTo>
                    <a:pt x="99" y="240"/>
                  </a:lnTo>
                  <a:lnTo>
                    <a:pt x="59" y="252"/>
                  </a:lnTo>
                  <a:lnTo>
                    <a:pt x="40" y="246"/>
                  </a:lnTo>
                  <a:lnTo>
                    <a:pt x="46" y="240"/>
                  </a:lnTo>
                  <a:lnTo>
                    <a:pt x="0" y="24"/>
                  </a:lnTo>
                  <a:lnTo>
                    <a:pt x="85" y="0"/>
                  </a:lnTo>
                  <a:lnTo>
                    <a:pt x="79" y="6"/>
                  </a:lnTo>
                  <a:lnTo>
                    <a:pt x="86" y="55"/>
                  </a:lnTo>
                  <a:lnTo>
                    <a:pt x="133" y="55"/>
                  </a:lnTo>
                  <a:lnTo>
                    <a:pt x="153" y="30"/>
                  </a:lnTo>
                  <a:lnTo>
                    <a:pt x="157" y="15"/>
                  </a:lnTo>
                  <a:lnTo>
                    <a:pt x="205" y="36"/>
                  </a:lnTo>
                  <a:lnTo>
                    <a:pt x="332" y="117"/>
                  </a:lnTo>
                  <a:lnTo>
                    <a:pt x="392" y="111"/>
                  </a:lnTo>
                  <a:lnTo>
                    <a:pt x="438" y="117"/>
                  </a:lnTo>
                  <a:lnTo>
                    <a:pt x="478" y="105"/>
                  </a:lnTo>
                  <a:lnTo>
                    <a:pt x="525" y="135"/>
                  </a:lnTo>
                  <a:lnTo>
                    <a:pt x="558" y="166"/>
                  </a:lnTo>
                  <a:lnTo>
                    <a:pt x="597" y="228"/>
                  </a:lnTo>
                  <a:lnTo>
                    <a:pt x="617" y="258"/>
                  </a:lnTo>
                  <a:lnTo>
                    <a:pt x="671" y="252"/>
                  </a:lnTo>
                  <a:lnTo>
                    <a:pt x="710" y="283"/>
                  </a:lnTo>
                  <a:lnTo>
                    <a:pt x="730" y="258"/>
                  </a:lnTo>
                  <a:lnTo>
                    <a:pt x="757" y="228"/>
                  </a:lnTo>
                  <a:lnTo>
                    <a:pt x="791" y="215"/>
                  </a:lnTo>
                  <a:lnTo>
                    <a:pt x="817" y="190"/>
                  </a:lnTo>
                  <a:lnTo>
                    <a:pt x="843" y="196"/>
                  </a:lnTo>
                  <a:lnTo>
                    <a:pt x="810" y="228"/>
                  </a:lnTo>
                  <a:lnTo>
                    <a:pt x="824" y="252"/>
                  </a:lnTo>
                  <a:lnTo>
                    <a:pt x="850" y="258"/>
                  </a:lnTo>
                  <a:lnTo>
                    <a:pt x="870" y="240"/>
                  </a:lnTo>
                  <a:lnTo>
                    <a:pt x="910" y="258"/>
                  </a:lnTo>
                  <a:lnTo>
                    <a:pt x="950" y="283"/>
                  </a:lnTo>
                  <a:lnTo>
                    <a:pt x="917" y="313"/>
                  </a:lnTo>
                  <a:lnTo>
                    <a:pt x="883" y="320"/>
                  </a:lnTo>
                  <a:lnTo>
                    <a:pt x="837" y="313"/>
                  </a:lnTo>
                  <a:lnTo>
                    <a:pt x="824" y="283"/>
                  </a:lnTo>
                  <a:lnTo>
                    <a:pt x="804" y="271"/>
                  </a:lnTo>
                  <a:lnTo>
                    <a:pt x="764" y="277"/>
                  </a:lnTo>
                  <a:lnTo>
                    <a:pt x="757" y="301"/>
                  </a:lnTo>
                  <a:lnTo>
                    <a:pt x="737" y="320"/>
                  </a:lnTo>
                  <a:lnTo>
                    <a:pt x="724" y="351"/>
                  </a:lnTo>
                  <a:lnTo>
                    <a:pt x="684" y="357"/>
                  </a:lnTo>
                  <a:lnTo>
                    <a:pt x="671" y="369"/>
                  </a:lnTo>
                  <a:lnTo>
                    <a:pt x="710" y="388"/>
                  </a:lnTo>
                  <a:lnTo>
                    <a:pt x="730" y="406"/>
                  </a:lnTo>
                  <a:lnTo>
                    <a:pt x="743" y="437"/>
                  </a:lnTo>
                  <a:lnTo>
                    <a:pt x="730" y="468"/>
                  </a:lnTo>
                  <a:lnTo>
                    <a:pt x="717" y="468"/>
                  </a:lnTo>
                  <a:lnTo>
                    <a:pt x="712" y="467"/>
                  </a:lnTo>
                  <a:lnTo>
                    <a:pt x="703" y="465"/>
                  </a:lnTo>
                  <a:lnTo>
                    <a:pt x="694" y="462"/>
                  </a:lnTo>
                  <a:lnTo>
                    <a:pt x="684" y="461"/>
                  </a:lnTo>
                  <a:lnTo>
                    <a:pt x="669" y="461"/>
                  </a:lnTo>
                  <a:lnTo>
                    <a:pt x="658" y="461"/>
                  </a:lnTo>
                  <a:lnTo>
                    <a:pt x="664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61" name="Freeform 32"/>
            <p:cNvSpPr>
              <a:spLocks/>
            </p:cNvSpPr>
            <p:nvPr>
              <p:custDataLst>
                <p:tags r:id="rId46"/>
              </p:custDataLst>
            </p:nvPr>
          </p:nvSpPr>
          <p:spPr bwMode="auto">
            <a:xfrm>
              <a:off x="6196644" y="3902514"/>
              <a:ext cx="296863" cy="288925"/>
            </a:xfrm>
            <a:custGeom>
              <a:avLst/>
              <a:gdLst>
                <a:gd name="T0" fmla="*/ 2147483647 w 671"/>
                <a:gd name="T1" fmla="*/ 2147483647 h 549"/>
                <a:gd name="T2" fmla="*/ 2147483647 w 671"/>
                <a:gd name="T3" fmla="*/ 2147483647 h 549"/>
                <a:gd name="T4" fmla="*/ 2147483647 w 671"/>
                <a:gd name="T5" fmla="*/ 2147483647 h 549"/>
                <a:gd name="T6" fmla="*/ 2147483647 w 671"/>
                <a:gd name="T7" fmla="*/ 2147483647 h 549"/>
                <a:gd name="T8" fmla="*/ 2147483647 w 671"/>
                <a:gd name="T9" fmla="*/ 2147483647 h 549"/>
                <a:gd name="T10" fmla="*/ 2147483647 w 671"/>
                <a:gd name="T11" fmla="*/ 2147483647 h 549"/>
                <a:gd name="T12" fmla="*/ 2147483647 w 671"/>
                <a:gd name="T13" fmla="*/ 2147483647 h 549"/>
                <a:gd name="T14" fmla="*/ 2147483647 w 671"/>
                <a:gd name="T15" fmla="*/ 2147483647 h 549"/>
                <a:gd name="T16" fmla="*/ 2147483647 w 671"/>
                <a:gd name="T17" fmla="*/ 2147483647 h 549"/>
                <a:gd name="T18" fmla="*/ 2147483647 w 671"/>
                <a:gd name="T19" fmla="*/ 2147483647 h 549"/>
                <a:gd name="T20" fmla="*/ 2147483647 w 671"/>
                <a:gd name="T21" fmla="*/ 2147483647 h 549"/>
                <a:gd name="T22" fmla="*/ 2147483647 w 671"/>
                <a:gd name="T23" fmla="*/ 2147483647 h 549"/>
                <a:gd name="T24" fmla="*/ 2147483647 w 671"/>
                <a:gd name="T25" fmla="*/ 0 h 549"/>
                <a:gd name="T26" fmla="*/ 2147483647 w 671"/>
                <a:gd name="T27" fmla="*/ 2147483647 h 549"/>
                <a:gd name="T28" fmla="*/ 2147483647 w 671"/>
                <a:gd name="T29" fmla="*/ 2147483647 h 549"/>
                <a:gd name="T30" fmla="*/ 2147483647 w 671"/>
                <a:gd name="T31" fmla="*/ 2147483647 h 549"/>
                <a:gd name="T32" fmla="*/ 2147483647 w 671"/>
                <a:gd name="T33" fmla="*/ 2147483647 h 549"/>
                <a:gd name="T34" fmla="*/ 2147483647 w 671"/>
                <a:gd name="T35" fmla="*/ 2147483647 h 549"/>
                <a:gd name="T36" fmla="*/ 2147483647 w 671"/>
                <a:gd name="T37" fmla="*/ 2147483647 h 549"/>
                <a:gd name="T38" fmla="*/ 2147483647 w 671"/>
                <a:gd name="T39" fmla="*/ 2147483647 h 549"/>
                <a:gd name="T40" fmla="*/ 2147483647 w 671"/>
                <a:gd name="T41" fmla="*/ 2147483647 h 549"/>
                <a:gd name="T42" fmla="*/ 2147483647 w 671"/>
                <a:gd name="T43" fmla="*/ 2147483647 h 549"/>
                <a:gd name="T44" fmla="*/ 2147483647 w 671"/>
                <a:gd name="T45" fmla="*/ 2147483647 h 549"/>
                <a:gd name="T46" fmla="*/ 2147483647 w 671"/>
                <a:gd name="T47" fmla="*/ 2147483647 h 549"/>
                <a:gd name="T48" fmla="*/ 2147483647 w 671"/>
                <a:gd name="T49" fmla="*/ 2147483647 h 549"/>
                <a:gd name="T50" fmla="*/ 2147483647 w 671"/>
                <a:gd name="T51" fmla="*/ 2147483647 h 549"/>
                <a:gd name="T52" fmla="*/ 2147483647 w 671"/>
                <a:gd name="T53" fmla="*/ 2147483647 h 549"/>
                <a:gd name="T54" fmla="*/ 2147483647 w 671"/>
                <a:gd name="T55" fmla="*/ 2147483647 h 549"/>
                <a:gd name="T56" fmla="*/ 2147483647 w 671"/>
                <a:gd name="T57" fmla="*/ 2147483647 h 549"/>
                <a:gd name="T58" fmla="*/ 2147483647 w 671"/>
                <a:gd name="T59" fmla="*/ 2147483647 h 549"/>
                <a:gd name="T60" fmla="*/ 2147483647 w 671"/>
                <a:gd name="T61" fmla="*/ 2147483647 h 549"/>
                <a:gd name="T62" fmla="*/ 2147483647 w 671"/>
                <a:gd name="T63" fmla="*/ 2147483647 h 549"/>
                <a:gd name="T64" fmla="*/ 2147483647 w 671"/>
                <a:gd name="T65" fmla="*/ 2147483647 h 549"/>
                <a:gd name="T66" fmla="*/ 2147483647 w 671"/>
                <a:gd name="T67" fmla="*/ 2147483647 h 549"/>
                <a:gd name="T68" fmla="*/ 2147483647 w 671"/>
                <a:gd name="T69" fmla="*/ 2147483647 h 549"/>
                <a:gd name="T70" fmla="*/ 2147483647 w 671"/>
                <a:gd name="T71" fmla="*/ 2147483647 h 549"/>
                <a:gd name="T72" fmla="*/ 2147483647 w 671"/>
                <a:gd name="T73" fmla="*/ 2147483647 h 549"/>
                <a:gd name="T74" fmla="*/ 2147483647 w 671"/>
                <a:gd name="T75" fmla="*/ 2147483647 h 549"/>
                <a:gd name="T76" fmla="*/ 2147483647 w 671"/>
                <a:gd name="T77" fmla="*/ 2147483647 h 549"/>
                <a:gd name="T78" fmla="*/ 2147483647 w 671"/>
                <a:gd name="T79" fmla="*/ 2147483647 h 549"/>
                <a:gd name="T80" fmla="*/ 2147483647 w 671"/>
                <a:gd name="T81" fmla="*/ 2147483647 h 549"/>
                <a:gd name="T82" fmla="*/ 2147483647 w 671"/>
                <a:gd name="T83" fmla="*/ 2147483647 h 549"/>
                <a:gd name="T84" fmla="*/ 2147483647 w 671"/>
                <a:gd name="T85" fmla="*/ 2147483647 h 549"/>
                <a:gd name="T86" fmla="*/ 2147483647 w 671"/>
                <a:gd name="T87" fmla="*/ 2147483647 h 549"/>
                <a:gd name="T88" fmla="*/ 2147483647 w 671"/>
                <a:gd name="T89" fmla="*/ 2147483647 h 549"/>
                <a:gd name="T90" fmla="*/ 2147483647 w 671"/>
                <a:gd name="T91" fmla="*/ 2147483647 h 549"/>
                <a:gd name="T92" fmla="*/ 2147483647 w 671"/>
                <a:gd name="T93" fmla="*/ 2147483647 h 549"/>
                <a:gd name="T94" fmla="*/ 2147483647 w 671"/>
                <a:gd name="T95" fmla="*/ 2147483647 h 549"/>
                <a:gd name="T96" fmla="*/ 2147483647 w 671"/>
                <a:gd name="T97" fmla="*/ 2147483647 h 549"/>
                <a:gd name="T98" fmla="*/ 2147483647 w 671"/>
                <a:gd name="T99" fmla="*/ 2147483647 h 549"/>
                <a:gd name="T100" fmla="*/ 2147483647 w 671"/>
                <a:gd name="T101" fmla="*/ 2147483647 h 549"/>
                <a:gd name="T102" fmla="*/ 2147483647 w 671"/>
                <a:gd name="T103" fmla="*/ 2147483647 h 549"/>
                <a:gd name="T104" fmla="*/ 2147483647 w 671"/>
                <a:gd name="T105" fmla="*/ 2147483647 h 549"/>
                <a:gd name="T106" fmla="*/ 2147483647 w 671"/>
                <a:gd name="T107" fmla="*/ 2147483647 h 549"/>
                <a:gd name="T108" fmla="*/ 2147483647 w 671"/>
                <a:gd name="T109" fmla="*/ 2147483647 h 549"/>
                <a:gd name="T110" fmla="*/ 2147483647 w 671"/>
                <a:gd name="T111" fmla="*/ 2147483647 h 549"/>
                <a:gd name="T112" fmla="*/ 2147483647 w 671"/>
                <a:gd name="T113" fmla="*/ 2147483647 h 549"/>
                <a:gd name="T114" fmla="*/ 2147483647 w 671"/>
                <a:gd name="T115" fmla="*/ 2147483647 h 549"/>
                <a:gd name="T116" fmla="*/ 2147483647 w 671"/>
                <a:gd name="T117" fmla="*/ 2147483647 h 549"/>
                <a:gd name="T118" fmla="*/ 2147483647 w 671"/>
                <a:gd name="T119" fmla="*/ 2147483647 h 549"/>
                <a:gd name="T120" fmla="*/ 2147483647 w 671"/>
                <a:gd name="T121" fmla="*/ 2147483647 h 549"/>
                <a:gd name="T122" fmla="*/ 0 w 671"/>
                <a:gd name="T123" fmla="*/ 2147483647 h 54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71" h="549">
                  <a:moveTo>
                    <a:pt x="0" y="438"/>
                  </a:moveTo>
                  <a:lnTo>
                    <a:pt x="4" y="405"/>
                  </a:lnTo>
                  <a:lnTo>
                    <a:pt x="6" y="383"/>
                  </a:lnTo>
                  <a:lnTo>
                    <a:pt x="7" y="360"/>
                  </a:lnTo>
                  <a:lnTo>
                    <a:pt x="7" y="327"/>
                  </a:lnTo>
                  <a:lnTo>
                    <a:pt x="8" y="316"/>
                  </a:lnTo>
                  <a:lnTo>
                    <a:pt x="9" y="306"/>
                  </a:lnTo>
                  <a:lnTo>
                    <a:pt x="12" y="296"/>
                  </a:lnTo>
                  <a:lnTo>
                    <a:pt x="17" y="287"/>
                  </a:lnTo>
                  <a:lnTo>
                    <a:pt x="28" y="270"/>
                  </a:lnTo>
                  <a:lnTo>
                    <a:pt x="40" y="254"/>
                  </a:lnTo>
                  <a:lnTo>
                    <a:pt x="52" y="238"/>
                  </a:lnTo>
                  <a:lnTo>
                    <a:pt x="63" y="222"/>
                  </a:lnTo>
                  <a:lnTo>
                    <a:pt x="67" y="214"/>
                  </a:lnTo>
                  <a:lnTo>
                    <a:pt x="71" y="205"/>
                  </a:lnTo>
                  <a:lnTo>
                    <a:pt x="73" y="196"/>
                  </a:lnTo>
                  <a:lnTo>
                    <a:pt x="73" y="185"/>
                  </a:lnTo>
                  <a:lnTo>
                    <a:pt x="73" y="167"/>
                  </a:lnTo>
                  <a:lnTo>
                    <a:pt x="73" y="156"/>
                  </a:lnTo>
                  <a:lnTo>
                    <a:pt x="73" y="148"/>
                  </a:lnTo>
                  <a:lnTo>
                    <a:pt x="73" y="137"/>
                  </a:lnTo>
                  <a:lnTo>
                    <a:pt x="63" y="126"/>
                  </a:lnTo>
                  <a:lnTo>
                    <a:pt x="53" y="117"/>
                  </a:lnTo>
                  <a:lnTo>
                    <a:pt x="54" y="108"/>
                  </a:lnTo>
                  <a:lnTo>
                    <a:pt x="55" y="99"/>
                  </a:lnTo>
                  <a:lnTo>
                    <a:pt x="57" y="89"/>
                  </a:lnTo>
                  <a:lnTo>
                    <a:pt x="61" y="79"/>
                  </a:lnTo>
                  <a:lnTo>
                    <a:pt x="65" y="68"/>
                  </a:lnTo>
                  <a:lnTo>
                    <a:pt x="71" y="59"/>
                  </a:lnTo>
                  <a:lnTo>
                    <a:pt x="76" y="50"/>
                  </a:lnTo>
                  <a:lnTo>
                    <a:pt x="83" y="41"/>
                  </a:lnTo>
                  <a:lnTo>
                    <a:pt x="89" y="33"/>
                  </a:lnTo>
                  <a:lnTo>
                    <a:pt x="96" y="25"/>
                  </a:lnTo>
                  <a:lnTo>
                    <a:pt x="104" y="17"/>
                  </a:lnTo>
                  <a:lnTo>
                    <a:pt x="112" y="12"/>
                  </a:lnTo>
                  <a:lnTo>
                    <a:pt x="120" y="7"/>
                  </a:lnTo>
                  <a:lnTo>
                    <a:pt x="129" y="3"/>
                  </a:lnTo>
                  <a:lnTo>
                    <a:pt x="138" y="1"/>
                  </a:lnTo>
                  <a:lnTo>
                    <a:pt x="146" y="0"/>
                  </a:lnTo>
                  <a:lnTo>
                    <a:pt x="156" y="1"/>
                  </a:lnTo>
                  <a:lnTo>
                    <a:pt x="164" y="3"/>
                  </a:lnTo>
                  <a:lnTo>
                    <a:pt x="173" y="5"/>
                  </a:lnTo>
                  <a:lnTo>
                    <a:pt x="179" y="8"/>
                  </a:lnTo>
                  <a:lnTo>
                    <a:pt x="194" y="16"/>
                  </a:lnTo>
                  <a:lnTo>
                    <a:pt x="206" y="26"/>
                  </a:lnTo>
                  <a:lnTo>
                    <a:pt x="217" y="35"/>
                  </a:lnTo>
                  <a:lnTo>
                    <a:pt x="230" y="42"/>
                  </a:lnTo>
                  <a:lnTo>
                    <a:pt x="236" y="45"/>
                  </a:lnTo>
                  <a:lnTo>
                    <a:pt x="243" y="48"/>
                  </a:lnTo>
                  <a:lnTo>
                    <a:pt x="251" y="49"/>
                  </a:lnTo>
                  <a:lnTo>
                    <a:pt x="259" y="50"/>
                  </a:lnTo>
                  <a:lnTo>
                    <a:pt x="264" y="49"/>
                  </a:lnTo>
                  <a:lnTo>
                    <a:pt x="268" y="47"/>
                  </a:lnTo>
                  <a:lnTo>
                    <a:pt x="272" y="44"/>
                  </a:lnTo>
                  <a:lnTo>
                    <a:pt x="276" y="41"/>
                  </a:lnTo>
                  <a:lnTo>
                    <a:pt x="279" y="37"/>
                  </a:lnTo>
                  <a:lnTo>
                    <a:pt x="284" y="35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300" y="32"/>
                  </a:lnTo>
                  <a:lnTo>
                    <a:pt x="308" y="34"/>
                  </a:lnTo>
                  <a:lnTo>
                    <a:pt x="313" y="36"/>
                  </a:lnTo>
                  <a:lnTo>
                    <a:pt x="318" y="39"/>
                  </a:lnTo>
                  <a:lnTo>
                    <a:pt x="325" y="47"/>
                  </a:lnTo>
                  <a:lnTo>
                    <a:pt x="332" y="56"/>
                  </a:lnTo>
                  <a:lnTo>
                    <a:pt x="337" y="65"/>
                  </a:lnTo>
                  <a:lnTo>
                    <a:pt x="344" y="73"/>
                  </a:lnTo>
                  <a:lnTo>
                    <a:pt x="348" y="76"/>
                  </a:lnTo>
                  <a:lnTo>
                    <a:pt x="353" y="79"/>
                  </a:lnTo>
                  <a:lnTo>
                    <a:pt x="358" y="81"/>
                  </a:lnTo>
                  <a:lnTo>
                    <a:pt x="366" y="81"/>
                  </a:lnTo>
                  <a:lnTo>
                    <a:pt x="370" y="81"/>
                  </a:lnTo>
                  <a:lnTo>
                    <a:pt x="375" y="80"/>
                  </a:lnTo>
                  <a:lnTo>
                    <a:pt x="378" y="77"/>
                  </a:lnTo>
                  <a:lnTo>
                    <a:pt x="381" y="75"/>
                  </a:lnTo>
                  <a:lnTo>
                    <a:pt x="387" y="70"/>
                  </a:lnTo>
                  <a:lnTo>
                    <a:pt x="392" y="63"/>
                  </a:lnTo>
                  <a:lnTo>
                    <a:pt x="397" y="56"/>
                  </a:lnTo>
                  <a:lnTo>
                    <a:pt x="403" y="49"/>
                  </a:lnTo>
                  <a:lnTo>
                    <a:pt x="410" y="43"/>
                  </a:lnTo>
                  <a:lnTo>
                    <a:pt x="419" y="38"/>
                  </a:lnTo>
                  <a:lnTo>
                    <a:pt x="433" y="30"/>
                  </a:lnTo>
                  <a:lnTo>
                    <a:pt x="446" y="25"/>
                  </a:lnTo>
                  <a:lnTo>
                    <a:pt x="458" y="22"/>
                  </a:lnTo>
                  <a:lnTo>
                    <a:pt x="468" y="21"/>
                  </a:lnTo>
                  <a:lnTo>
                    <a:pt x="478" y="22"/>
                  </a:lnTo>
                  <a:lnTo>
                    <a:pt x="487" y="25"/>
                  </a:lnTo>
                  <a:lnTo>
                    <a:pt x="496" y="28"/>
                  </a:lnTo>
                  <a:lnTo>
                    <a:pt x="503" y="31"/>
                  </a:lnTo>
                  <a:lnTo>
                    <a:pt x="511" y="35"/>
                  </a:lnTo>
                  <a:lnTo>
                    <a:pt x="520" y="38"/>
                  </a:lnTo>
                  <a:lnTo>
                    <a:pt x="528" y="41"/>
                  </a:lnTo>
                  <a:lnTo>
                    <a:pt x="537" y="43"/>
                  </a:lnTo>
                  <a:lnTo>
                    <a:pt x="547" y="43"/>
                  </a:lnTo>
                  <a:lnTo>
                    <a:pt x="559" y="42"/>
                  </a:lnTo>
                  <a:lnTo>
                    <a:pt x="571" y="39"/>
                  </a:lnTo>
                  <a:lnTo>
                    <a:pt x="586" y="33"/>
                  </a:lnTo>
                  <a:lnTo>
                    <a:pt x="632" y="74"/>
                  </a:lnTo>
                  <a:lnTo>
                    <a:pt x="646" y="67"/>
                  </a:lnTo>
                  <a:lnTo>
                    <a:pt x="651" y="81"/>
                  </a:lnTo>
                  <a:lnTo>
                    <a:pt x="658" y="93"/>
                  </a:lnTo>
                  <a:lnTo>
                    <a:pt x="665" y="105"/>
                  </a:lnTo>
                  <a:lnTo>
                    <a:pt x="671" y="117"/>
                  </a:lnTo>
                  <a:lnTo>
                    <a:pt x="646" y="152"/>
                  </a:lnTo>
                  <a:lnTo>
                    <a:pt x="623" y="183"/>
                  </a:lnTo>
                  <a:lnTo>
                    <a:pt x="612" y="199"/>
                  </a:lnTo>
                  <a:lnTo>
                    <a:pt x="602" y="216"/>
                  </a:lnTo>
                  <a:lnTo>
                    <a:pt x="593" y="233"/>
                  </a:lnTo>
                  <a:lnTo>
                    <a:pt x="584" y="254"/>
                  </a:lnTo>
                  <a:lnTo>
                    <a:pt x="578" y="273"/>
                  </a:lnTo>
                  <a:lnTo>
                    <a:pt x="570" y="291"/>
                  </a:lnTo>
                  <a:lnTo>
                    <a:pt x="564" y="309"/>
                  </a:lnTo>
                  <a:lnTo>
                    <a:pt x="557" y="326"/>
                  </a:lnTo>
                  <a:lnTo>
                    <a:pt x="550" y="343"/>
                  </a:lnTo>
                  <a:lnTo>
                    <a:pt x="543" y="363"/>
                  </a:lnTo>
                  <a:lnTo>
                    <a:pt x="534" y="383"/>
                  </a:lnTo>
                  <a:lnTo>
                    <a:pt x="525" y="407"/>
                  </a:lnTo>
                  <a:lnTo>
                    <a:pt x="524" y="410"/>
                  </a:lnTo>
                  <a:lnTo>
                    <a:pt x="521" y="416"/>
                  </a:lnTo>
                  <a:lnTo>
                    <a:pt x="516" y="422"/>
                  </a:lnTo>
                  <a:lnTo>
                    <a:pt x="511" y="428"/>
                  </a:lnTo>
                  <a:lnTo>
                    <a:pt x="505" y="434"/>
                  </a:lnTo>
                  <a:lnTo>
                    <a:pt x="500" y="439"/>
                  </a:lnTo>
                  <a:lnTo>
                    <a:pt x="496" y="443"/>
                  </a:lnTo>
                  <a:lnTo>
                    <a:pt x="492" y="444"/>
                  </a:lnTo>
                  <a:lnTo>
                    <a:pt x="482" y="443"/>
                  </a:lnTo>
                  <a:lnTo>
                    <a:pt x="474" y="440"/>
                  </a:lnTo>
                  <a:lnTo>
                    <a:pt x="466" y="436"/>
                  </a:lnTo>
                  <a:lnTo>
                    <a:pt x="459" y="432"/>
                  </a:lnTo>
                  <a:lnTo>
                    <a:pt x="453" y="428"/>
                  </a:lnTo>
                  <a:lnTo>
                    <a:pt x="446" y="424"/>
                  </a:lnTo>
                  <a:lnTo>
                    <a:pt x="440" y="421"/>
                  </a:lnTo>
                  <a:lnTo>
                    <a:pt x="432" y="420"/>
                  </a:lnTo>
                  <a:lnTo>
                    <a:pt x="419" y="421"/>
                  </a:lnTo>
                  <a:lnTo>
                    <a:pt x="408" y="424"/>
                  </a:lnTo>
                  <a:lnTo>
                    <a:pt x="398" y="428"/>
                  </a:lnTo>
                  <a:lnTo>
                    <a:pt x="389" y="434"/>
                  </a:lnTo>
                  <a:lnTo>
                    <a:pt x="381" y="441"/>
                  </a:lnTo>
                  <a:lnTo>
                    <a:pt x="375" y="449"/>
                  </a:lnTo>
                  <a:lnTo>
                    <a:pt x="369" y="458"/>
                  </a:lnTo>
                  <a:lnTo>
                    <a:pt x="364" y="469"/>
                  </a:lnTo>
                  <a:lnTo>
                    <a:pt x="355" y="489"/>
                  </a:lnTo>
                  <a:lnTo>
                    <a:pt x="346" y="510"/>
                  </a:lnTo>
                  <a:lnTo>
                    <a:pt x="342" y="521"/>
                  </a:lnTo>
                  <a:lnTo>
                    <a:pt x="336" y="531"/>
                  </a:lnTo>
                  <a:lnTo>
                    <a:pt x="332" y="541"/>
                  </a:lnTo>
                  <a:lnTo>
                    <a:pt x="325" y="549"/>
                  </a:lnTo>
                  <a:lnTo>
                    <a:pt x="233" y="543"/>
                  </a:lnTo>
                  <a:lnTo>
                    <a:pt x="231" y="545"/>
                  </a:lnTo>
                  <a:lnTo>
                    <a:pt x="229" y="546"/>
                  </a:lnTo>
                  <a:lnTo>
                    <a:pt x="227" y="547"/>
                  </a:lnTo>
                  <a:lnTo>
                    <a:pt x="223" y="548"/>
                  </a:lnTo>
                  <a:lnTo>
                    <a:pt x="217" y="548"/>
                  </a:lnTo>
                  <a:lnTo>
                    <a:pt x="209" y="547"/>
                  </a:lnTo>
                  <a:lnTo>
                    <a:pt x="193" y="545"/>
                  </a:lnTo>
                  <a:lnTo>
                    <a:pt x="179" y="543"/>
                  </a:lnTo>
                  <a:lnTo>
                    <a:pt x="173" y="543"/>
                  </a:lnTo>
                  <a:lnTo>
                    <a:pt x="167" y="542"/>
                  </a:lnTo>
                  <a:lnTo>
                    <a:pt x="161" y="540"/>
                  </a:lnTo>
                  <a:lnTo>
                    <a:pt x="155" y="537"/>
                  </a:lnTo>
                  <a:lnTo>
                    <a:pt x="150" y="534"/>
                  </a:lnTo>
                  <a:lnTo>
                    <a:pt x="144" y="531"/>
                  </a:lnTo>
                  <a:lnTo>
                    <a:pt x="139" y="527"/>
                  </a:lnTo>
                  <a:lnTo>
                    <a:pt x="134" y="521"/>
                  </a:lnTo>
                  <a:lnTo>
                    <a:pt x="129" y="515"/>
                  </a:lnTo>
                  <a:lnTo>
                    <a:pt x="126" y="509"/>
                  </a:lnTo>
                  <a:lnTo>
                    <a:pt x="122" y="503"/>
                  </a:lnTo>
                  <a:lnTo>
                    <a:pt x="119" y="496"/>
                  </a:lnTo>
                  <a:lnTo>
                    <a:pt x="117" y="489"/>
                  </a:lnTo>
                  <a:lnTo>
                    <a:pt x="115" y="481"/>
                  </a:lnTo>
                  <a:lnTo>
                    <a:pt x="113" y="472"/>
                  </a:lnTo>
                  <a:lnTo>
                    <a:pt x="113" y="462"/>
                  </a:lnTo>
                  <a:lnTo>
                    <a:pt x="106" y="462"/>
                  </a:lnTo>
                  <a:lnTo>
                    <a:pt x="100" y="460"/>
                  </a:lnTo>
                  <a:lnTo>
                    <a:pt x="95" y="457"/>
                  </a:lnTo>
                  <a:lnTo>
                    <a:pt x="90" y="454"/>
                  </a:lnTo>
                  <a:lnTo>
                    <a:pt x="83" y="447"/>
                  </a:lnTo>
                  <a:lnTo>
                    <a:pt x="74" y="439"/>
                  </a:lnTo>
                  <a:lnTo>
                    <a:pt x="70" y="435"/>
                  </a:lnTo>
                  <a:lnTo>
                    <a:pt x="63" y="432"/>
                  </a:lnTo>
                  <a:lnTo>
                    <a:pt x="56" y="430"/>
                  </a:lnTo>
                  <a:lnTo>
                    <a:pt x="49" y="429"/>
                  </a:lnTo>
                  <a:lnTo>
                    <a:pt x="39" y="429"/>
                  </a:lnTo>
                  <a:lnTo>
                    <a:pt x="28" y="430"/>
                  </a:lnTo>
                  <a:lnTo>
                    <a:pt x="15" y="433"/>
                  </a:lnTo>
                  <a:lnTo>
                    <a:pt x="0" y="438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62" name="Freeform 33"/>
            <p:cNvSpPr>
              <a:spLocks/>
            </p:cNvSpPr>
            <p:nvPr>
              <p:custDataLst>
                <p:tags r:id="rId47"/>
              </p:custDataLst>
            </p:nvPr>
          </p:nvSpPr>
          <p:spPr bwMode="auto">
            <a:xfrm>
              <a:off x="7039607" y="3767577"/>
              <a:ext cx="152400" cy="169862"/>
            </a:xfrm>
            <a:custGeom>
              <a:avLst/>
              <a:gdLst>
                <a:gd name="T0" fmla="*/ 2147483647 w 358"/>
                <a:gd name="T1" fmla="*/ 2147483647 h 327"/>
                <a:gd name="T2" fmla="*/ 2147483647 w 358"/>
                <a:gd name="T3" fmla="*/ 2147483647 h 327"/>
                <a:gd name="T4" fmla="*/ 2147483647 w 358"/>
                <a:gd name="T5" fmla="*/ 2147483647 h 327"/>
                <a:gd name="T6" fmla="*/ 2147483647 w 358"/>
                <a:gd name="T7" fmla="*/ 2147483647 h 327"/>
                <a:gd name="T8" fmla="*/ 2147483647 w 358"/>
                <a:gd name="T9" fmla="*/ 2147483647 h 327"/>
                <a:gd name="T10" fmla="*/ 2147483647 w 358"/>
                <a:gd name="T11" fmla="*/ 2147483647 h 327"/>
                <a:gd name="T12" fmla="*/ 2147483647 w 358"/>
                <a:gd name="T13" fmla="*/ 2147483647 h 327"/>
                <a:gd name="T14" fmla="*/ 2147483647 w 358"/>
                <a:gd name="T15" fmla="*/ 2147483647 h 327"/>
                <a:gd name="T16" fmla="*/ 2147483647 w 358"/>
                <a:gd name="T17" fmla="*/ 2147483647 h 327"/>
                <a:gd name="T18" fmla="*/ 2147483647 w 358"/>
                <a:gd name="T19" fmla="*/ 2147483647 h 327"/>
                <a:gd name="T20" fmla="*/ 2147483647 w 358"/>
                <a:gd name="T21" fmla="*/ 2147483647 h 327"/>
                <a:gd name="T22" fmla="*/ 2147483647 w 358"/>
                <a:gd name="T23" fmla="*/ 2147483647 h 327"/>
                <a:gd name="T24" fmla="*/ 2147483647 w 358"/>
                <a:gd name="T25" fmla="*/ 2147483647 h 327"/>
                <a:gd name="T26" fmla="*/ 2147483647 w 358"/>
                <a:gd name="T27" fmla="*/ 2147483647 h 327"/>
                <a:gd name="T28" fmla="*/ 2147483647 w 358"/>
                <a:gd name="T29" fmla="*/ 2147483647 h 327"/>
                <a:gd name="T30" fmla="*/ 2147483647 w 358"/>
                <a:gd name="T31" fmla="*/ 2147483647 h 327"/>
                <a:gd name="T32" fmla="*/ 2147483647 w 358"/>
                <a:gd name="T33" fmla="*/ 2147483647 h 327"/>
                <a:gd name="T34" fmla="*/ 2147483647 w 358"/>
                <a:gd name="T35" fmla="*/ 2147483647 h 327"/>
                <a:gd name="T36" fmla="*/ 2147483647 w 358"/>
                <a:gd name="T37" fmla="*/ 2147483647 h 327"/>
                <a:gd name="T38" fmla="*/ 2147483647 w 358"/>
                <a:gd name="T39" fmla="*/ 2147483647 h 327"/>
                <a:gd name="T40" fmla="*/ 2147483647 w 358"/>
                <a:gd name="T41" fmla="*/ 2147483647 h 327"/>
                <a:gd name="T42" fmla="*/ 2147483647 w 358"/>
                <a:gd name="T43" fmla="*/ 2147483647 h 327"/>
                <a:gd name="T44" fmla="*/ 2147483647 w 358"/>
                <a:gd name="T45" fmla="*/ 2147483647 h 327"/>
                <a:gd name="T46" fmla="*/ 2147483647 w 358"/>
                <a:gd name="T47" fmla="*/ 2147483647 h 327"/>
                <a:gd name="T48" fmla="*/ 2147483647 w 358"/>
                <a:gd name="T49" fmla="*/ 2147483647 h 327"/>
                <a:gd name="T50" fmla="*/ 2147483647 w 358"/>
                <a:gd name="T51" fmla="*/ 2147483647 h 327"/>
                <a:gd name="T52" fmla="*/ 2147483647 w 358"/>
                <a:gd name="T53" fmla="*/ 0 h 327"/>
                <a:gd name="T54" fmla="*/ 2147483647 w 358"/>
                <a:gd name="T55" fmla="*/ 2147483647 h 327"/>
                <a:gd name="T56" fmla="*/ 2147483647 w 358"/>
                <a:gd name="T57" fmla="*/ 2147483647 h 327"/>
                <a:gd name="T58" fmla="*/ 2147483647 w 358"/>
                <a:gd name="T59" fmla="*/ 2147483647 h 327"/>
                <a:gd name="T60" fmla="*/ 2147483647 w 358"/>
                <a:gd name="T61" fmla="*/ 2147483647 h 327"/>
                <a:gd name="T62" fmla="*/ 2147483647 w 358"/>
                <a:gd name="T63" fmla="*/ 2147483647 h 327"/>
                <a:gd name="T64" fmla="*/ 2147483647 w 358"/>
                <a:gd name="T65" fmla="*/ 2147483647 h 327"/>
                <a:gd name="T66" fmla="*/ 2147483647 w 358"/>
                <a:gd name="T67" fmla="*/ 2147483647 h 327"/>
                <a:gd name="T68" fmla="*/ 2147483647 w 358"/>
                <a:gd name="T69" fmla="*/ 2147483647 h 327"/>
                <a:gd name="T70" fmla="*/ 2147483647 w 358"/>
                <a:gd name="T71" fmla="*/ 2147483647 h 327"/>
                <a:gd name="T72" fmla="*/ 2147483647 w 358"/>
                <a:gd name="T73" fmla="*/ 2147483647 h 327"/>
                <a:gd name="T74" fmla="*/ 2147483647 w 358"/>
                <a:gd name="T75" fmla="*/ 2147483647 h 327"/>
                <a:gd name="T76" fmla="*/ 0 w 358"/>
                <a:gd name="T77" fmla="*/ 2147483647 h 327"/>
                <a:gd name="T78" fmla="*/ 0 w 358"/>
                <a:gd name="T79" fmla="*/ 2147483647 h 327"/>
                <a:gd name="T80" fmla="*/ 2147483647 w 358"/>
                <a:gd name="T81" fmla="*/ 2147483647 h 327"/>
                <a:gd name="T82" fmla="*/ 2147483647 w 358"/>
                <a:gd name="T83" fmla="*/ 2147483647 h 327"/>
                <a:gd name="T84" fmla="*/ 2147483647 w 358"/>
                <a:gd name="T85" fmla="*/ 2147483647 h 327"/>
                <a:gd name="T86" fmla="*/ 2147483647 w 358"/>
                <a:gd name="T87" fmla="*/ 2147483647 h 327"/>
                <a:gd name="T88" fmla="*/ 2147483647 w 358"/>
                <a:gd name="T89" fmla="*/ 2147483647 h 327"/>
                <a:gd name="T90" fmla="*/ 2147483647 w 358"/>
                <a:gd name="T91" fmla="*/ 2147483647 h 327"/>
                <a:gd name="T92" fmla="*/ 2147483647 w 358"/>
                <a:gd name="T93" fmla="*/ 2147483647 h 327"/>
                <a:gd name="T94" fmla="*/ 2147483647 w 358"/>
                <a:gd name="T95" fmla="*/ 2147483647 h 327"/>
                <a:gd name="T96" fmla="*/ 2147483647 w 358"/>
                <a:gd name="T97" fmla="*/ 2147483647 h 327"/>
                <a:gd name="T98" fmla="*/ 2147483647 w 358"/>
                <a:gd name="T99" fmla="*/ 2147483647 h 327"/>
                <a:gd name="T100" fmla="*/ 2147483647 w 358"/>
                <a:gd name="T101" fmla="*/ 2147483647 h 327"/>
                <a:gd name="T102" fmla="*/ 2147483647 w 358"/>
                <a:gd name="T103" fmla="*/ 2147483647 h 327"/>
                <a:gd name="T104" fmla="*/ 2147483647 w 358"/>
                <a:gd name="T105" fmla="*/ 2147483647 h 327"/>
                <a:gd name="T106" fmla="*/ 2147483647 w 358"/>
                <a:gd name="T107" fmla="*/ 2147483647 h 327"/>
                <a:gd name="T108" fmla="*/ 2147483647 w 358"/>
                <a:gd name="T109" fmla="*/ 2147483647 h 327"/>
                <a:gd name="T110" fmla="*/ 2147483647 w 358"/>
                <a:gd name="T111" fmla="*/ 2147483647 h 327"/>
                <a:gd name="T112" fmla="*/ 2147483647 w 358"/>
                <a:gd name="T113" fmla="*/ 2147483647 h 327"/>
                <a:gd name="T114" fmla="*/ 2147483647 w 358"/>
                <a:gd name="T115" fmla="*/ 2147483647 h 327"/>
                <a:gd name="T116" fmla="*/ 2147483647 w 358"/>
                <a:gd name="T117" fmla="*/ 2147483647 h 327"/>
                <a:gd name="T118" fmla="*/ 2147483647 w 358"/>
                <a:gd name="T119" fmla="*/ 2147483647 h 327"/>
                <a:gd name="T120" fmla="*/ 2147483647 w 358"/>
                <a:gd name="T121" fmla="*/ 2147483647 h 3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58" h="327">
                  <a:moveTo>
                    <a:pt x="325" y="327"/>
                  </a:moveTo>
                  <a:lnTo>
                    <a:pt x="326" y="324"/>
                  </a:lnTo>
                  <a:lnTo>
                    <a:pt x="329" y="322"/>
                  </a:lnTo>
                  <a:lnTo>
                    <a:pt x="331" y="321"/>
                  </a:lnTo>
                  <a:lnTo>
                    <a:pt x="332" y="321"/>
                  </a:lnTo>
                  <a:lnTo>
                    <a:pt x="337" y="318"/>
                  </a:lnTo>
                  <a:lnTo>
                    <a:pt x="342" y="317"/>
                  </a:lnTo>
                  <a:lnTo>
                    <a:pt x="346" y="318"/>
                  </a:lnTo>
                  <a:lnTo>
                    <a:pt x="351" y="319"/>
                  </a:lnTo>
                  <a:lnTo>
                    <a:pt x="356" y="324"/>
                  </a:lnTo>
                  <a:lnTo>
                    <a:pt x="358" y="327"/>
                  </a:lnTo>
                  <a:lnTo>
                    <a:pt x="319" y="285"/>
                  </a:lnTo>
                  <a:lnTo>
                    <a:pt x="302" y="265"/>
                  </a:lnTo>
                  <a:lnTo>
                    <a:pt x="278" y="235"/>
                  </a:lnTo>
                  <a:lnTo>
                    <a:pt x="265" y="219"/>
                  </a:lnTo>
                  <a:lnTo>
                    <a:pt x="253" y="204"/>
                  </a:lnTo>
                  <a:lnTo>
                    <a:pt x="241" y="193"/>
                  </a:lnTo>
                  <a:lnTo>
                    <a:pt x="232" y="186"/>
                  </a:lnTo>
                  <a:lnTo>
                    <a:pt x="225" y="182"/>
                  </a:lnTo>
                  <a:lnTo>
                    <a:pt x="219" y="181"/>
                  </a:lnTo>
                  <a:lnTo>
                    <a:pt x="213" y="180"/>
                  </a:lnTo>
                  <a:lnTo>
                    <a:pt x="208" y="180"/>
                  </a:lnTo>
                  <a:lnTo>
                    <a:pt x="205" y="180"/>
                  </a:lnTo>
                  <a:lnTo>
                    <a:pt x="201" y="179"/>
                  </a:lnTo>
                  <a:lnTo>
                    <a:pt x="200" y="177"/>
                  </a:lnTo>
                  <a:lnTo>
                    <a:pt x="199" y="174"/>
                  </a:lnTo>
                  <a:lnTo>
                    <a:pt x="199" y="172"/>
                  </a:lnTo>
                  <a:lnTo>
                    <a:pt x="198" y="170"/>
                  </a:lnTo>
                  <a:lnTo>
                    <a:pt x="197" y="169"/>
                  </a:lnTo>
                  <a:lnTo>
                    <a:pt x="195" y="169"/>
                  </a:lnTo>
                  <a:lnTo>
                    <a:pt x="190" y="170"/>
                  </a:lnTo>
                  <a:lnTo>
                    <a:pt x="184" y="172"/>
                  </a:lnTo>
                  <a:lnTo>
                    <a:pt x="178" y="173"/>
                  </a:lnTo>
                  <a:lnTo>
                    <a:pt x="171" y="172"/>
                  </a:lnTo>
                  <a:lnTo>
                    <a:pt x="168" y="170"/>
                  </a:lnTo>
                  <a:lnTo>
                    <a:pt x="165" y="168"/>
                  </a:lnTo>
                  <a:lnTo>
                    <a:pt x="162" y="165"/>
                  </a:lnTo>
                  <a:lnTo>
                    <a:pt x="160" y="161"/>
                  </a:lnTo>
                  <a:lnTo>
                    <a:pt x="156" y="152"/>
                  </a:lnTo>
                  <a:lnTo>
                    <a:pt x="152" y="144"/>
                  </a:lnTo>
                  <a:lnTo>
                    <a:pt x="147" y="138"/>
                  </a:lnTo>
                  <a:lnTo>
                    <a:pt x="143" y="131"/>
                  </a:lnTo>
                  <a:lnTo>
                    <a:pt x="138" y="125"/>
                  </a:lnTo>
                  <a:lnTo>
                    <a:pt x="133" y="119"/>
                  </a:lnTo>
                  <a:lnTo>
                    <a:pt x="129" y="112"/>
                  </a:lnTo>
                  <a:lnTo>
                    <a:pt x="127" y="105"/>
                  </a:lnTo>
                  <a:lnTo>
                    <a:pt x="123" y="96"/>
                  </a:lnTo>
                  <a:lnTo>
                    <a:pt x="122" y="84"/>
                  </a:lnTo>
                  <a:lnTo>
                    <a:pt x="121" y="69"/>
                  </a:lnTo>
                  <a:lnTo>
                    <a:pt x="119" y="53"/>
                  </a:lnTo>
                  <a:lnTo>
                    <a:pt x="118" y="37"/>
                  </a:lnTo>
                  <a:lnTo>
                    <a:pt x="117" y="23"/>
                  </a:lnTo>
                  <a:lnTo>
                    <a:pt x="115" y="10"/>
                  </a:lnTo>
                  <a:lnTo>
                    <a:pt x="112" y="0"/>
                  </a:lnTo>
                  <a:lnTo>
                    <a:pt x="93" y="0"/>
                  </a:lnTo>
                  <a:lnTo>
                    <a:pt x="73" y="26"/>
                  </a:lnTo>
                  <a:lnTo>
                    <a:pt x="70" y="28"/>
                  </a:lnTo>
                  <a:lnTo>
                    <a:pt x="61" y="33"/>
                  </a:lnTo>
                  <a:lnTo>
                    <a:pt x="48" y="41"/>
                  </a:lnTo>
                  <a:lnTo>
                    <a:pt x="33" y="50"/>
                  </a:lnTo>
                  <a:lnTo>
                    <a:pt x="27" y="55"/>
                  </a:lnTo>
                  <a:lnTo>
                    <a:pt x="21" y="61"/>
                  </a:lnTo>
                  <a:lnTo>
                    <a:pt x="18" y="66"/>
                  </a:lnTo>
                  <a:lnTo>
                    <a:pt x="17" y="72"/>
                  </a:lnTo>
                  <a:lnTo>
                    <a:pt x="16" y="78"/>
                  </a:lnTo>
                  <a:lnTo>
                    <a:pt x="16" y="83"/>
                  </a:lnTo>
                  <a:lnTo>
                    <a:pt x="18" y="88"/>
                  </a:lnTo>
                  <a:lnTo>
                    <a:pt x="20" y="93"/>
                  </a:lnTo>
                  <a:lnTo>
                    <a:pt x="21" y="96"/>
                  </a:lnTo>
                  <a:lnTo>
                    <a:pt x="22" y="100"/>
                  </a:lnTo>
                  <a:lnTo>
                    <a:pt x="22" y="104"/>
                  </a:lnTo>
                  <a:lnTo>
                    <a:pt x="20" y="110"/>
                  </a:lnTo>
                  <a:lnTo>
                    <a:pt x="18" y="117"/>
                  </a:lnTo>
                  <a:lnTo>
                    <a:pt x="15" y="123"/>
                  </a:lnTo>
                  <a:lnTo>
                    <a:pt x="11" y="130"/>
                  </a:lnTo>
                  <a:lnTo>
                    <a:pt x="7" y="136"/>
                  </a:lnTo>
                  <a:lnTo>
                    <a:pt x="3" y="146"/>
                  </a:lnTo>
                  <a:lnTo>
                    <a:pt x="0" y="155"/>
                  </a:lnTo>
                  <a:lnTo>
                    <a:pt x="0" y="164"/>
                  </a:lnTo>
                  <a:lnTo>
                    <a:pt x="0" y="174"/>
                  </a:lnTo>
                  <a:lnTo>
                    <a:pt x="1" y="176"/>
                  </a:lnTo>
                  <a:lnTo>
                    <a:pt x="5" y="182"/>
                  </a:lnTo>
                  <a:lnTo>
                    <a:pt x="8" y="185"/>
                  </a:lnTo>
                  <a:lnTo>
                    <a:pt x="11" y="187"/>
                  </a:lnTo>
                  <a:lnTo>
                    <a:pt x="15" y="187"/>
                  </a:lnTo>
                  <a:lnTo>
                    <a:pt x="20" y="186"/>
                  </a:lnTo>
                  <a:lnTo>
                    <a:pt x="31" y="177"/>
                  </a:lnTo>
                  <a:lnTo>
                    <a:pt x="44" y="168"/>
                  </a:lnTo>
                  <a:lnTo>
                    <a:pt x="55" y="163"/>
                  </a:lnTo>
                  <a:lnTo>
                    <a:pt x="60" y="161"/>
                  </a:lnTo>
                  <a:lnTo>
                    <a:pt x="73" y="149"/>
                  </a:lnTo>
                  <a:lnTo>
                    <a:pt x="76" y="150"/>
                  </a:lnTo>
                  <a:lnTo>
                    <a:pt x="84" y="155"/>
                  </a:lnTo>
                  <a:lnTo>
                    <a:pt x="93" y="159"/>
                  </a:lnTo>
                  <a:lnTo>
                    <a:pt x="99" y="161"/>
                  </a:lnTo>
                  <a:lnTo>
                    <a:pt x="110" y="164"/>
                  </a:lnTo>
                  <a:lnTo>
                    <a:pt x="126" y="170"/>
                  </a:lnTo>
                  <a:lnTo>
                    <a:pt x="142" y="180"/>
                  </a:lnTo>
                  <a:lnTo>
                    <a:pt x="153" y="186"/>
                  </a:lnTo>
                  <a:lnTo>
                    <a:pt x="163" y="190"/>
                  </a:lnTo>
                  <a:lnTo>
                    <a:pt x="179" y="199"/>
                  </a:lnTo>
                  <a:lnTo>
                    <a:pt x="196" y="209"/>
                  </a:lnTo>
                  <a:lnTo>
                    <a:pt x="206" y="216"/>
                  </a:lnTo>
                  <a:lnTo>
                    <a:pt x="219" y="225"/>
                  </a:lnTo>
                  <a:lnTo>
                    <a:pt x="232" y="235"/>
                  </a:lnTo>
                  <a:lnTo>
                    <a:pt x="245" y="244"/>
                  </a:lnTo>
                  <a:lnTo>
                    <a:pt x="252" y="247"/>
                  </a:lnTo>
                  <a:lnTo>
                    <a:pt x="256" y="254"/>
                  </a:lnTo>
                  <a:lnTo>
                    <a:pt x="266" y="265"/>
                  </a:lnTo>
                  <a:lnTo>
                    <a:pt x="267" y="270"/>
                  </a:lnTo>
                  <a:lnTo>
                    <a:pt x="268" y="274"/>
                  </a:lnTo>
                  <a:lnTo>
                    <a:pt x="269" y="279"/>
                  </a:lnTo>
                  <a:lnTo>
                    <a:pt x="269" y="283"/>
                  </a:lnTo>
                  <a:lnTo>
                    <a:pt x="269" y="286"/>
                  </a:lnTo>
                  <a:lnTo>
                    <a:pt x="269" y="289"/>
                  </a:lnTo>
                  <a:lnTo>
                    <a:pt x="270" y="290"/>
                  </a:lnTo>
                  <a:lnTo>
                    <a:pt x="273" y="291"/>
                  </a:lnTo>
                  <a:lnTo>
                    <a:pt x="276" y="292"/>
                  </a:lnTo>
                  <a:lnTo>
                    <a:pt x="284" y="296"/>
                  </a:lnTo>
                  <a:lnTo>
                    <a:pt x="292" y="302"/>
                  </a:lnTo>
                  <a:lnTo>
                    <a:pt x="301" y="309"/>
                  </a:lnTo>
                  <a:lnTo>
                    <a:pt x="318" y="321"/>
                  </a:lnTo>
                  <a:lnTo>
                    <a:pt x="325" y="32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122" name="Freeform 34"/>
            <p:cNvSpPr>
              <a:spLocks/>
            </p:cNvSpPr>
            <p:nvPr>
              <p:custDataLst>
                <p:tags r:id="rId48"/>
              </p:custDataLst>
            </p:nvPr>
          </p:nvSpPr>
          <p:spPr bwMode="auto">
            <a:xfrm>
              <a:off x="6502011" y="2771462"/>
              <a:ext cx="124484" cy="57351"/>
            </a:xfrm>
            <a:custGeom>
              <a:avLst/>
              <a:gdLst>
                <a:gd name="T0" fmla="*/ 126 w 292"/>
                <a:gd name="T1" fmla="*/ 0 h 99"/>
                <a:gd name="T2" fmla="*/ 153 w 292"/>
                <a:gd name="T3" fmla="*/ 0 h 99"/>
                <a:gd name="T4" fmla="*/ 198 w 292"/>
                <a:gd name="T5" fmla="*/ 1 h 99"/>
                <a:gd name="T6" fmla="*/ 250 w 292"/>
                <a:gd name="T7" fmla="*/ 6 h 99"/>
                <a:gd name="T8" fmla="*/ 292 w 292"/>
                <a:gd name="T9" fmla="*/ 7 h 99"/>
                <a:gd name="T10" fmla="*/ 290 w 292"/>
                <a:gd name="T11" fmla="*/ 20 h 99"/>
                <a:gd name="T12" fmla="*/ 285 w 292"/>
                <a:gd name="T13" fmla="*/ 33 h 99"/>
                <a:gd name="T14" fmla="*/ 279 w 292"/>
                <a:gd name="T15" fmla="*/ 55 h 99"/>
                <a:gd name="T16" fmla="*/ 135 w 292"/>
                <a:gd name="T17" fmla="*/ 70 h 99"/>
                <a:gd name="T18" fmla="*/ 99 w 292"/>
                <a:gd name="T19" fmla="*/ 89 h 99"/>
                <a:gd name="T20" fmla="*/ 79 w 292"/>
                <a:gd name="T21" fmla="*/ 96 h 99"/>
                <a:gd name="T22" fmla="*/ 66 w 292"/>
                <a:gd name="T23" fmla="*/ 98 h 99"/>
                <a:gd name="T24" fmla="*/ 55 w 292"/>
                <a:gd name="T25" fmla="*/ 98 h 99"/>
                <a:gd name="T26" fmla="*/ 45 w 292"/>
                <a:gd name="T27" fmla="*/ 94 h 99"/>
                <a:gd name="T28" fmla="*/ 33 w 292"/>
                <a:gd name="T29" fmla="*/ 86 h 99"/>
                <a:gd name="T30" fmla="*/ 20 w 292"/>
                <a:gd name="T31" fmla="*/ 77 h 99"/>
                <a:gd name="T32" fmla="*/ 7 w 292"/>
                <a:gd name="T33" fmla="*/ 69 h 99"/>
                <a:gd name="T34" fmla="*/ 1 w 292"/>
                <a:gd name="T35" fmla="*/ 57 h 99"/>
                <a:gd name="T36" fmla="*/ 0 w 292"/>
                <a:gd name="T37" fmla="*/ 42 h 99"/>
                <a:gd name="T38" fmla="*/ 1 w 292"/>
                <a:gd name="T39" fmla="*/ 25 h 99"/>
                <a:gd name="T40" fmla="*/ 3 w 292"/>
                <a:gd name="T41" fmla="*/ 20 h 99"/>
                <a:gd name="T42" fmla="*/ 9 w 292"/>
                <a:gd name="T43" fmla="*/ 18 h 99"/>
                <a:gd name="T44" fmla="*/ 15 w 292"/>
                <a:gd name="T45" fmla="*/ 21 h 99"/>
                <a:gd name="T46" fmla="*/ 25 w 292"/>
                <a:gd name="T47" fmla="*/ 28 h 99"/>
                <a:gd name="T48" fmla="*/ 35 w 292"/>
                <a:gd name="T49" fmla="*/ 32 h 99"/>
                <a:gd name="T50" fmla="*/ 45 w 292"/>
                <a:gd name="T51" fmla="*/ 34 h 99"/>
                <a:gd name="T52" fmla="*/ 54 w 292"/>
                <a:gd name="T53" fmla="*/ 33 h 99"/>
                <a:gd name="T54" fmla="*/ 67 w 292"/>
                <a:gd name="T55" fmla="*/ 29 h 99"/>
                <a:gd name="T56" fmla="*/ 81 w 292"/>
                <a:gd name="T57" fmla="*/ 19 h 99"/>
                <a:gd name="T58" fmla="*/ 88 w 292"/>
                <a:gd name="T59" fmla="*/ 11 h 99"/>
                <a:gd name="T60" fmla="*/ 94 w 292"/>
                <a:gd name="T61" fmla="*/ 6 h 99"/>
                <a:gd name="T62" fmla="*/ 109 w 292"/>
                <a:gd name="T63" fmla="*/ 1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92" h="99">
                  <a:moveTo>
                    <a:pt x="113" y="0"/>
                  </a:moveTo>
                  <a:lnTo>
                    <a:pt x="126" y="0"/>
                  </a:lnTo>
                  <a:lnTo>
                    <a:pt x="138" y="0"/>
                  </a:lnTo>
                  <a:lnTo>
                    <a:pt x="153" y="0"/>
                  </a:lnTo>
                  <a:lnTo>
                    <a:pt x="172" y="0"/>
                  </a:lnTo>
                  <a:lnTo>
                    <a:pt x="198" y="1"/>
                  </a:lnTo>
                  <a:lnTo>
                    <a:pt x="224" y="3"/>
                  </a:lnTo>
                  <a:lnTo>
                    <a:pt x="250" y="6"/>
                  </a:lnTo>
                  <a:lnTo>
                    <a:pt x="279" y="7"/>
                  </a:lnTo>
                  <a:lnTo>
                    <a:pt x="292" y="7"/>
                  </a:lnTo>
                  <a:lnTo>
                    <a:pt x="292" y="14"/>
                  </a:lnTo>
                  <a:lnTo>
                    <a:pt x="290" y="20"/>
                  </a:lnTo>
                  <a:lnTo>
                    <a:pt x="288" y="27"/>
                  </a:lnTo>
                  <a:lnTo>
                    <a:pt x="285" y="33"/>
                  </a:lnTo>
                  <a:lnTo>
                    <a:pt x="281" y="45"/>
                  </a:lnTo>
                  <a:lnTo>
                    <a:pt x="279" y="55"/>
                  </a:lnTo>
                  <a:lnTo>
                    <a:pt x="153" y="62"/>
                  </a:lnTo>
                  <a:lnTo>
                    <a:pt x="135" y="70"/>
                  </a:lnTo>
                  <a:lnTo>
                    <a:pt x="111" y="83"/>
                  </a:lnTo>
                  <a:lnTo>
                    <a:pt x="99" y="89"/>
                  </a:lnTo>
                  <a:lnTo>
                    <a:pt x="86" y="94"/>
                  </a:lnTo>
                  <a:lnTo>
                    <a:pt x="79" y="96"/>
                  </a:lnTo>
                  <a:lnTo>
                    <a:pt x="72" y="97"/>
                  </a:lnTo>
                  <a:lnTo>
                    <a:pt x="66" y="98"/>
                  </a:lnTo>
                  <a:lnTo>
                    <a:pt x="60" y="99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5" y="94"/>
                  </a:lnTo>
                  <a:lnTo>
                    <a:pt x="41" y="92"/>
                  </a:lnTo>
                  <a:lnTo>
                    <a:pt x="33" y="86"/>
                  </a:lnTo>
                  <a:lnTo>
                    <a:pt x="26" y="80"/>
                  </a:lnTo>
                  <a:lnTo>
                    <a:pt x="20" y="77"/>
                  </a:lnTo>
                  <a:lnTo>
                    <a:pt x="11" y="72"/>
                  </a:lnTo>
                  <a:lnTo>
                    <a:pt x="7" y="69"/>
                  </a:lnTo>
                  <a:lnTo>
                    <a:pt x="3" y="64"/>
                  </a:lnTo>
                  <a:lnTo>
                    <a:pt x="1" y="57"/>
                  </a:lnTo>
                  <a:lnTo>
                    <a:pt x="0" y="49"/>
                  </a:lnTo>
                  <a:lnTo>
                    <a:pt x="0" y="42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5" y="18"/>
                  </a:lnTo>
                  <a:lnTo>
                    <a:pt x="9" y="18"/>
                  </a:lnTo>
                  <a:lnTo>
                    <a:pt x="11" y="19"/>
                  </a:lnTo>
                  <a:lnTo>
                    <a:pt x="15" y="21"/>
                  </a:lnTo>
                  <a:lnTo>
                    <a:pt x="20" y="25"/>
                  </a:lnTo>
                  <a:lnTo>
                    <a:pt x="25" y="28"/>
                  </a:lnTo>
                  <a:lnTo>
                    <a:pt x="30" y="30"/>
                  </a:lnTo>
                  <a:lnTo>
                    <a:pt x="35" y="32"/>
                  </a:lnTo>
                  <a:lnTo>
                    <a:pt x="40" y="33"/>
                  </a:lnTo>
                  <a:lnTo>
                    <a:pt x="45" y="34"/>
                  </a:lnTo>
                  <a:lnTo>
                    <a:pt x="49" y="34"/>
                  </a:lnTo>
                  <a:lnTo>
                    <a:pt x="54" y="33"/>
                  </a:lnTo>
                  <a:lnTo>
                    <a:pt x="58" y="32"/>
                  </a:lnTo>
                  <a:lnTo>
                    <a:pt x="67" y="29"/>
                  </a:lnTo>
                  <a:lnTo>
                    <a:pt x="75" y="25"/>
                  </a:lnTo>
                  <a:lnTo>
                    <a:pt x="81" y="19"/>
                  </a:lnTo>
                  <a:lnTo>
                    <a:pt x="87" y="13"/>
                  </a:lnTo>
                  <a:lnTo>
                    <a:pt x="88" y="11"/>
                  </a:lnTo>
                  <a:lnTo>
                    <a:pt x="91" y="8"/>
                  </a:lnTo>
                  <a:lnTo>
                    <a:pt x="94" y="6"/>
                  </a:lnTo>
                  <a:lnTo>
                    <a:pt x="100" y="3"/>
                  </a:lnTo>
                  <a:lnTo>
                    <a:pt x="109" y="1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664" name="Freeform 35"/>
            <p:cNvSpPr>
              <a:spLocks/>
            </p:cNvSpPr>
            <p:nvPr>
              <p:custDataLst>
                <p:tags r:id="rId49"/>
              </p:custDataLst>
            </p:nvPr>
          </p:nvSpPr>
          <p:spPr bwMode="auto">
            <a:xfrm>
              <a:off x="7365044" y="3492939"/>
              <a:ext cx="19050" cy="57150"/>
            </a:xfrm>
            <a:custGeom>
              <a:avLst/>
              <a:gdLst>
                <a:gd name="T0" fmla="*/ 2147483647 w 43"/>
                <a:gd name="T1" fmla="*/ 2147483647 h 93"/>
                <a:gd name="T2" fmla="*/ 2147483647 w 43"/>
                <a:gd name="T3" fmla="*/ 2147483647 h 93"/>
                <a:gd name="T4" fmla="*/ 2147483647 w 43"/>
                <a:gd name="T5" fmla="*/ 2147483647 h 93"/>
                <a:gd name="T6" fmla="*/ 2147483647 w 43"/>
                <a:gd name="T7" fmla="*/ 2147483647 h 93"/>
                <a:gd name="T8" fmla="*/ 2147483647 w 43"/>
                <a:gd name="T9" fmla="*/ 2147483647 h 93"/>
                <a:gd name="T10" fmla="*/ 2147483647 w 43"/>
                <a:gd name="T11" fmla="*/ 2147483647 h 93"/>
                <a:gd name="T12" fmla="*/ 2147483647 w 43"/>
                <a:gd name="T13" fmla="*/ 2147483647 h 93"/>
                <a:gd name="T14" fmla="*/ 2147483647 w 43"/>
                <a:gd name="T15" fmla="*/ 2147483647 h 93"/>
                <a:gd name="T16" fmla="*/ 2147483647 w 43"/>
                <a:gd name="T17" fmla="*/ 2147483647 h 93"/>
                <a:gd name="T18" fmla="*/ 2147483647 w 43"/>
                <a:gd name="T19" fmla="*/ 2147483647 h 93"/>
                <a:gd name="T20" fmla="*/ 2147483647 w 43"/>
                <a:gd name="T21" fmla="*/ 2147483647 h 93"/>
                <a:gd name="T22" fmla="*/ 2147483647 w 43"/>
                <a:gd name="T23" fmla="*/ 2147483647 h 93"/>
                <a:gd name="T24" fmla="*/ 2147483647 w 43"/>
                <a:gd name="T25" fmla="*/ 2147483647 h 93"/>
                <a:gd name="T26" fmla="*/ 2147483647 w 43"/>
                <a:gd name="T27" fmla="*/ 2147483647 h 93"/>
                <a:gd name="T28" fmla="*/ 0 w 43"/>
                <a:gd name="T29" fmla="*/ 2147483647 h 93"/>
                <a:gd name="T30" fmla="*/ 2147483647 w 43"/>
                <a:gd name="T31" fmla="*/ 2147483647 h 93"/>
                <a:gd name="T32" fmla="*/ 2147483647 w 43"/>
                <a:gd name="T33" fmla="*/ 2147483647 h 93"/>
                <a:gd name="T34" fmla="*/ 2147483647 w 43"/>
                <a:gd name="T35" fmla="*/ 2147483647 h 93"/>
                <a:gd name="T36" fmla="*/ 2147483647 w 43"/>
                <a:gd name="T37" fmla="*/ 2147483647 h 93"/>
                <a:gd name="T38" fmla="*/ 2147483647 w 43"/>
                <a:gd name="T39" fmla="*/ 2147483647 h 93"/>
                <a:gd name="T40" fmla="*/ 2147483647 w 43"/>
                <a:gd name="T41" fmla="*/ 2147483647 h 93"/>
                <a:gd name="T42" fmla="*/ 2147483647 w 43"/>
                <a:gd name="T43" fmla="*/ 2147483647 h 93"/>
                <a:gd name="T44" fmla="*/ 2147483647 w 43"/>
                <a:gd name="T45" fmla="*/ 2147483647 h 93"/>
                <a:gd name="T46" fmla="*/ 2147483647 w 43"/>
                <a:gd name="T47" fmla="*/ 2147483647 h 93"/>
                <a:gd name="T48" fmla="*/ 2147483647 w 43"/>
                <a:gd name="T49" fmla="*/ 2147483647 h 93"/>
                <a:gd name="T50" fmla="*/ 2147483647 w 43"/>
                <a:gd name="T51" fmla="*/ 2147483647 h 93"/>
                <a:gd name="T52" fmla="*/ 2147483647 w 43"/>
                <a:gd name="T53" fmla="*/ 2147483647 h 93"/>
                <a:gd name="T54" fmla="*/ 2147483647 w 43"/>
                <a:gd name="T55" fmla="*/ 0 h 93"/>
                <a:gd name="T56" fmla="*/ 2147483647 w 43"/>
                <a:gd name="T57" fmla="*/ 0 h 93"/>
                <a:gd name="T58" fmla="*/ 2147483647 w 43"/>
                <a:gd name="T59" fmla="*/ 2147483647 h 93"/>
                <a:gd name="T60" fmla="*/ 2147483647 w 43"/>
                <a:gd name="T61" fmla="*/ 2147483647 h 93"/>
                <a:gd name="T62" fmla="*/ 2147483647 w 43"/>
                <a:gd name="T63" fmla="*/ 2147483647 h 93"/>
                <a:gd name="T64" fmla="*/ 2147483647 w 43"/>
                <a:gd name="T65" fmla="*/ 2147483647 h 93"/>
                <a:gd name="T66" fmla="*/ 2147483647 w 43"/>
                <a:gd name="T67" fmla="*/ 2147483647 h 93"/>
                <a:gd name="T68" fmla="*/ 2147483647 w 43"/>
                <a:gd name="T69" fmla="*/ 2147483647 h 93"/>
                <a:gd name="T70" fmla="*/ 2147483647 w 43"/>
                <a:gd name="T71" fmla="*/ 2147483647 h 93"/>
                <a:gd name="T72" fmla="*/ 2147483647 w 43"/>
                <a:gd name="T73" fmla="*/ 2147483647 h 93"/>
                <a:gd name="T74" fmla="*/ 2147483647 w 43"/>
                <a:gd name="T75" fmla="*/ 2147483647 h 93"/>
                <a:gd name="T76" fmla="*/ 2147483647 w 43"/>
                <a:gd name="T77" fmla="*/ 2147483647 h 93"/>
                <a:gd name="T78" fmla="*/ 2147483647 w 43"/>
                <a:gd name="T79" fmla="*/ 2147483647 h 93"/>
                <a:gd name="T80" fmla="*/ 2147483647 w 43"/>
                <a:gd name="T81" fmla="*/ 2147483647 h 93"/>
                <a:gd name="T82" fmla="*/ 2147483647 w 43"/>
                <a:gd name="T83" fmla="*/ 2147483647 h 93"/>
                <a:gd name="T84" fmla="*/ 2147483647 w 43"/>
                <a:gd name="T85" fmla="*/ 2147483647 h 93"/>
                <a:gd name="T86" fmla="*/ 2147483647 w 43"/>
                <a:gd name="T87" fmla="*/ 2147483647 h 93"/>
                <a:gd name="T88" fmla="*/ 2147483647 w 43"/>
                <a:gd name="T89" fmla="*/ 2147483647 h 93"/>
                <a:gd name="T90" fmla="*/ 2147483647 w 43"/>
                <a:gd name="T91" fmla="*/ 2147483647 h 93"/>
                <a:gd name="T92" fmla="*/ 2147483647 w 43"/>
                <a:gd name="T93" fmla="*/ 2147483647 h 93"/>
                <a:gd name="T94" fmla="*/ 2147483647 w 43"/>
                <a:gd name="T95" fmla="*/ 2147483647 h 93"/>
                <a:gd name="T96" fmla="*/ 2147483647 w 43"/>
                <a:gd name="T97" fmla="*/ 2147483647 h 93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" h="93">
                  <a:moveTo>
                    <a:pt x="39" y="93"/>
                  </a:moveTo>
                  <a:lnTo>
                    <a:pt x="31" y="91"/>
                  </a:lnTo>
                  <a:lnTo>
                    <a:pt x="26" y="89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5" y="79"/>
                  </a:lnTo>
                  <a:lnTo>
                    <a:pt x="14" y="73"/>
                  </a:lnTo>
                  <a:lnTo>
                    <a:pt x="13" y="65"/>
                  </a:lnTo>
                  <a:lnTo>
                    <a:pt x="11" y="55"/>
                  </a:lnTo>
                  <a:lnTo>
                    <a:pt x="11" y="48"/>
                  </a:lnTo>
                  <a:lnTo>
                    <a:pt x="9" y="42"/>
                  </a:lnTo>
                  <a:lnTo>
                    <a:pt x="6" y="38"/>
                  </a:lnTo>
                  <a:lnTo>
                    <a:pt x="4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2" y="29"/>
                  </a:lnTo>
                  <a:lnTo>
                    <a:pt x="5" y="24"/>
                  </a:lnTo>
                  <a:lnTo>
                    <a:pt x="6" y="28"/>
                  </a:lnTo>
                  <a:lnTo>
                    <a:pt x="7" y="29"/>
                  </a:lnTo>
                  <a:lnTo>
                    <a:pt x="8" y="30"/>
                  </a:lnTo>
                  <a:lnTo>
                    <a:pt x="9" y="29"/>
                  </a:lnTo>
                  <a:lnTo>
                    <a:pt x="11" y="25"/>
                  </a:lnTo>
                  <a:lnTo>
                    <a:pt x="14" y="19"/>
                  </a:lnTo>
                  <a:lnTo>
                    <a:pt x="16" y="12"/>
                  </a:lnTo>
                  <a:lnTo>
                    <a:pt x="20" y="6"/>
                  </a:lnTo>
                  <a:lnTo>
                    <a:pt x="22" y="4"/>
                  </a:lnTo>
                  <a:lnTo>
                    <a:pt x="25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3" y="10"/>
                  </a:lnTo>
                  <a:lnTo>
                    <a:pt x="33" y="16"/>
                  </a:lnTo>
                  <a:lnTo>
                    <a:pt x="33" y="20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31"/>
                  </a:lnTo>
                  <a:lnTo>
                    <a:pt x="35" y="36"/>
                  </a:lnTo>
                  <a:lnTo>
                    <a:pt x="39" y="43"/>
                  </a:lnTo>
                  <a:lnTo>
                    <a:pt x="38" y="44"/>
                  </a:lnTo>
                  <a:lnTo>
                    <a:pt x="37" y="45"/>
                  </a:lnTo>
                  <a:lnTo>
                    <a:pt x="37" y="48"/>
                  </a:lnTo>
                  <a:lnTo>
                    <a:pt x="38" y="51"/>
                  </a:lnTo>
                  <a:lnTo>
                    <a:pt x="39" y="59"/>
                  </a:lnTo>
                  <a:lnTo>
                    <a:pt x="41" y="68"/>
                  </a:lnTo>
                  <a:lnTo>
                    <a:pt x="42" y="76"/>
                  </a:lnTo>
                  <a:lnTo>
                    <a:pt x="43" y="85"/>
                  </a:lnTo>
                  <a:lnTo>
                    <a:pt x="43" y="88"/>
                  </a:lnTo>
                  <a:lnTo>
                    <a:pt x="42" y="91"/>
                  </a:lnTo>
                  <a:lnTo>
                    <a:pt x="40" y="92"/>
                  </a:lnTo>
                  <a:lnTo>
                    <a:pt x="39" y="9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65" name="Freeform 36"/>
            <p:cNvSpPr>
              <a:spLocks/>
            </p:cNvSpPr>
            <p:nvPr>
              <p:custDataLst>
                <p:tags r:id="rId50"/>
              </p:custDataLst>
            </p:nvPr>
          </p:nvSpPr>
          <p:spPr bwMode="auto">
            <a:xfrm>
              <a:off x="7484107" y="3497702"/>
              <a:ext cx="14287" cy="57150"/>
            </a:xfrm>
            <a:custGeom>
              <a:avLst/>
              <a:gdLst>
                <a:gd name="T0" fmla="*/ 2147483647 w 40"/>
                <a:gd name="T1" fmla="*/ 2147483647 h 56"/>
                <a:gd name="T2" fmla="*/ 2147483647 w 40"/>
                <a:gd name="T3" fmla="*/ 2147483647 h 56"/>
                <a:gd name="T4" fmla="*/ 2147483647 w 40"/>
                <a:gd name="T5" fmla="*/ 2147483647 h 56"/>
                <a:gd name="T6" fmla="*/ 2147483647 w 40"/>
                <a:gd name="T7" fmla="*/ 2147483647 h 56"/>
                <a:gd name="T8" fmla="*/ 2147483647 w 40"/>
                <a:gd name="T9" fmla="*/ 2147483647 h 56"/>
                <a:gd name="T10" fmla="*/ 2147483647 w 40"/>
                <a:gd name="T11" fmla="*/ 2147483647 h 56"/>
                <a:gd name="T12" fmla="*/ 0 w 40"/>
                <a:gd name="T13" fmla="*/ 2147483647 h 56"/>
                <a:gd name="T14" fmla="*/ 2147483647 w 40"/>
                <a:gd name="T15" fmla="*/ 2147483647 h 56"/>
                <a:gd name="T16" fmla="*/ 2147483647 w 40"/>
                <a:gd name="T17" fmla="*/ 0 h 56"/>
                <a:gd name="T18" fmla="*/ 2147483647 w 40"/>
                <a:gd name="T19" fmla="*/ 2147483647 h 56"/>
                <a:gd name="T20" fmla="*/ 2147483647 w 40"/>
                <a:gd name="T21" fmla="*/ 2147483647 h 56"/>
                <a:gd name="T22" fmla="*/ 2147483647 w 40"/>
                <a:gd name="T23" fmla="*/ 2147483647 h 56"/>
                <a:gd name="T24" fmla="*/ 2147483647 w 40"/>
                <a:gd name="T25" fmla="*/ 2147483647 h 56"/>
                <a:gd name="T26" fmla="*/ 2147483647 w 40"/>
                <a:gd name="T27" fmla="*/ 2147483647 h 56"/>
                <a:gd name="T28" fmla="*/ 2147483647 w 40"/>
                <a:gd name="T29" fmla="*/ 2147483647 h 56"/>
                <a:gd name="T30" fmla="*/ 2147483647 w 40"/>
                <a:gd name="T31" fmla="*/ 2147483647 h 56"/>
                <a:gd name="T32" fmla="*/ 2147483647 w 40"/>
                <a:gd name="T33" fmla="*/ 2147483647 h 56"/>
                <a:gd name="T34" fmla="*/ 2147483647 w 40"/>
                <a:gd name="T35" fmla="*/ 2147483647 h 56"/>
                <a:gd name="T36" fmla="*/ 2147483647 w 40"/>
                <a:gd name="T37" fmla="*/ 2147483647 h 5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40" h="56">
                  <a:moveTo>
                    <a:pt x="40" y="56"/>
                  </a:moveTo>
                  <a:lnTo>
                    <a:pt x="37" y="46"/>
                  </a:lnTo>
                  <a:lnTo>
                    <a:pt x="33" y="38"/>
                  </a:lnTo>
                  <a:lnTo>
                    <a:pt x="28" y="32"/>
                  </a:lnTo>
                  <a:lnTo>
                    <a:pt x="23" y="28"/>
                  </a:lnTo>
                  <a:lnTo>
                    <a:pt x="11" y="21"/>
                  </a:lnTo>
                  <a:lnTo>
                    <a:pt x="0" y="12"/>
                  </a:lnTo>
                  <a:lnTo>
                    <a:pt x="13" y="4"/>
                  </a:lnTo>
                  <a:lnTo>
                    <a:pt x="20" y="0"/>
                  </a:lnTo>
                  <a:lnTo>
                    <a:pt x="28" y="12"/>
                  </a:lnTo>
                  <a:lnTo>
                    <a:pt x="35" y="22"/>
                  </a:lnTo>
                  <a:lnTo>
                    <a:pt x="37" y="25"/>
                  </a:lnTo>
                  <a:lnTo>
                    <a:pt x="39" y="29"/>
                  </a:lnTo>
                  <a:lnTo>
                    <a:pt x="39" y="33"/>
                  </a:lnTo>
                  <a:lnTo>
                    <a:pt x="40" y="37"/>
                  </a:lnTo>
                  <a:lnTo>
                    <a:pt x="40" y="44"/>
                  </a:lnTo>
                  <a:lnTo>
                    <a:pt x="40" y="46"/>
                  </a:lnTo>
                  <a:lnTo>
                    <a:pt x="40" y="49"/>
                  </a:lnTo>
                  <a:lnTo>
                    <a:pt x="4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125" name="Freeform 37"/>
            <p:cNvSpPr>
              <a:spLocks/>
            </p:cNvSpPr>
            <p:nvPr>
              <p:custDataLst>
                <p:tags r:id="rId51"/>
              </p:custDataLst>
            </p:nvPr>
          </p:nvSpPr>
          <p:spPr bwMode="auto">
            <a:xfrm>
              <a:off x="8970935" y="4158010"/>
              <a:ext cx="44686" cy="57351"/>
            </a:xfrm>
            <a:custGeom>
              <a:avLst/>
              <a:gdLst>
                <a:gd name="T0" fmla="*/ 0 w 106"/>
                <a:gd name="T1" fmla="*/ 7 h 71"/>
                <a:gd name="T2" fmla="*/ 12 w 106"/>
                <a:gd name="T3" fmla="*/ 10 h 71"/>
                <a:gd name="T4" fmla="*/ 24 w 106"/>
                <a:gd name="T5" fmla="*/ 12 h 71"/>
                <a:gd name="T6" fmla="*/ 35 w 106"/>
                <a:gd name="T7" fmla="*/ 13 h 71"/>
                <a:gd name="T8" fmla="*/ 45 w 106"/>
                <a:gd name="T9" fmla="*/ 13 h 71"/>
                <a:gd name="T10" fmla="*/ 54 w 106"/>
                <a:gd name="T11" fmla="*/ 11 h 71"/>
                <a:gd name="T12" fmla="*/ 61 w 106"/>
                <a:gd name="T13" fmla="*/ 8 h 71"/>
                <a:gd name="T14" fmla="*/ 68 w 106"/>
                <a:gd name="T15" fmla="*/ 5 h 71"/>
                <a:gd name="T16" fmla="*/ 74 w 106"/>
                <a:gd name="T17" fmla="*/ 0 h 71"/>
                <a:gd name="T18" fmla="*/ 84 w 106"/>
                <a:gd name="T19" fmla="*/ 16 h 71"/>
                <a:gd name="T20" fmla="*/ 94 w 106"/>
                <a:gd name="T21" fmla="*/ 30 h 71"/>
                <a:gd name="T22" fmla="*/ 101 w 106"/>
                <a:gd name="T23" fmla="*/ 44 h 71"/>
                <a:gd name="T24" fmla="*/ 105 w 106"/>
                <a:gd name="T25" fmla="*/ 55 h 71"/>
                <a:gd name="T26" fmla="*/ 106 w 106"/>
                <a:gd name="T27" fmla="*/ 60 h 71"/>
                <a:gd name="T28" fmla="*/ 106 w 106"/>
                <a:gd name="T29" fmla="*/ 63 h 71"/>
                <a:gd name="T30" fmla="*/ 105 w 106"/>
                <a:gd name="T31" fmla="*/ 67 h 71"/>
                <a:gd name="T32" fmla="*/ 103 w 106"/>
                <a:gd name="T33" fmla="*/ 69 h 71"/>
                <a:gd name="T34" fmla="*/ 101 w 106"/>
                <a:gd name="T35" fmla="*/ 70 h 71"/>
                <a:gd name="T36" fmla="*/ 98 w 106"/>
                <a:gd name="T37" fmla="*/ 70 h 71"/>
                <a:gd name="T38" fmla="*/ 92 w 106"/>
                <a:gd name="T39" fmla="*/ 70 h 71"/>
                <a:gd name="T40" fmla="*/ 87 w 106"/>
                <a:gd name="T41" fmla="*/ 68 h 71"/>
                <a:gd name="T42" fmla="*/ 74 w 106"/>
                <a:gd name="T43" fmla="*/ 70 h 71"/>
                <a:gd name="T44" fmla="*/ 63 w 106"/>
                <a:gd name="T45" fmla="*/ 71 h 71"/>
                <a:gd name="T46" fmla="*/ 53 w 106"/>
                <a:gd name="T47" fmla="*/ 69 h 71"/>
                <a:gd name="T48" fmla="*/ 45 w 106"/>
                <a:gd name="T49" fmla="*/ 66 h 71"/>
                <a:gd name="T50" fmla="*/ 37 w 106"/>
                <a:gd name="T51" fmla="*/ 62 h 71"/>
                <a:gd name="T52" fmla="*/ 32 w 106"/>
                <a:gd name="T53" fmla="*/ 57 h 71"/>
                <a:gd name="T54" fmla="*/ 27 w 106"/>
                <a:gd name="T55" fmla="*/ 51 h 71"/>
                <a:gd name="T56" fmla="*/ 24 w 106"/>
                <a:gd name="T57" fmla="*/ 45 h 71"/>
                <a:gd name="T58" fmla="*/ 21 w 106"/>
                <a:gd name="T59" fmla="*/ 38 h 71"/>
                <a:gd name="T60" fmla="*/ 20 w 106"/>
                <a:gd name="T61" fmla="*/ 30 h 71"/>
                <a:gd name="T62" fmla="*/ 19 w 106"/>
                <a:gd name="T63" fmla="*/ 24 h 71"/>
                <a:gd name="T64" fmla="*/ 18 w 106"/>
                <a:gd name="T65" fmla="*/ 19 h 71"/>
                <a:gd name="T66" fmla="*/ 18 w 106"/>
                <a:gd name="T67" fmla="*/ 14 h 71"/>
                <a:gd name="T68" fmla="*/ 19 w 106"/>
                <a:gd name="T69" fmla="*/ 10 h 71"/>
                <a:gd name="T70" fmla="*/ 20 w 106"/>
                <a:gd name="T71" fmla="*/ 7 h 71"/>
                <a:gd name="T72" fmla="*/ 21 w 106"/>
                <a:gd name="T73" fmla="*/ 7 h 71"/>
                <a:gd name="T74" fmla="*/ 20 w 106"/>
                <a:gd name="T75" fmla="*/ 10 h 71"/>
                <a:gd name="T76" fmla="*/ 19 w 106"/>
                <a:gd name="T77" fmla="*/ 16 h 71"/>
                <a:gd name="T78" fmla="*/ 19 w 106"/>
                <a:gd name="T79" fmla="*/ 17 h 71"/>
                <a:gd name="T80" fmla="*/ 19 w 106"/>
                <a:gd name="T81" fmla="*/ 17 h 71"/>
                <a:gd name="T82" fmla="*/ 20 w 106"/>
                <a:gd name="T83" fmla="*/ 17 h 71"/>
                <a:gd name="T84" fmla="*/ 21 w 106"/>
                <a:gd name="T85" fmla="*/ 17 h 71"/>
                <a:gd name="T86" fmla="*/ 23 w 106"/>
                <a:gd name="T87" fmla="*/ 13 h 71"/>
                <a:gd name="T88" fmla="*/ 27 w 106"/>
                <a:gd name="T89" fmla="*/ 7 h 71"/>
                <a:gd name="T90" fmla="*/ 0 w 106"/>
                <a:gd name="T91" fmla="*/ 7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6" h="71">
                  <a:moveTo>
                    <a:pt x="0" y="7"/>
                  </a:moveTo>
                  <a:lnTo>
                    <a:pt x="12" y="10"/>
                  </a:lnTo>
                  <a:lnTo>
                    <a:pt x="24" y="12"/>
                  </a:lnTo>
                  <a:lnTo>
                    <a:pt x="35" y="13"/>
                  </a:lnTo>
                  <a:lnTo>
                    <a:pt x="45" y="13"/>
                  </a:lnTo>
                  <a:lnTo>
                    <a:pt x="54" y="11"/>
                  </a:lnTo>
                  <a:lnTo>
                    <a:pt x="61" y="8"/>
                  </a:lnTo>
                  <a:lnTo>
                    <a:pt x="68" y="5"/>
                  </a:lnTo>
                  <a:lnTo>
                    <a:pt x="74" y="0"/>
                  </a:lnTo>
                  <a:lnTo>
                    <a:pt x="84" y="16"/>
                  </a:lnTo>
                  <a:lnTo>
                    <a:pt x="94" y="30"/>
                  </a:lnTo>
                  <a:lnTo>
                    <a:pt x="101" y="44"/>
                  </a:lnTo>
                  <a:lnTo>
                    <a:pt x="105" y="55"/>
                  </a:lnTo>
                  <a:lnTo>
                    <a:pt x="106" y="60"/>
                  </a:lnTo>
                  <a:lnTo>
                    <a:pt x="106" y="63"/>
                  </a:lnTo>
                  <a:lnTo>
                    <a:pt x="105" y="67"/>
                  </a:lnTo>
                  <a:lnTo>
                    <a:pt x="103" y="69"/>
                  </a:lnTo>
                  <a:lnTo>
                    <a:pt x="101" y="70"/>
                  </a:lnTo>
                  <a:lnTo>
                    <a:pt x="98" y="70"/>
                  </a:lnTo>
                  <a:lnTo>
                    <a:pt x="92" y="70"/>
                  </a:lnTo>
                  <a:lnTo>
                    <a:pt x="87" y="68"/>
                  </a:lnTo>
                  <a:lnTo>
                    <a:pt x="74" y="70"/>
                  </a:lnTo>
                  <a:lnTo>
                    <a:pt x="63" y="71"/>
                  </a:lnTo>
                  <a:lnTo>
                    <a:pt x="53" y="69"/>
                  </a:lnTo>
                  <a:lnTo>
                    <a:pt x="45" y="66"/>
                  </a:lnTo>
                  <a:lnTo>
                    <a:pt x="37" y="62"/>
                  </a:lnTo>
                  <a:lnTo>
                    <a:pt x="32" y="57"/>
                  </a:lnTo>
                  <a:lnTo>
                    <a:pt x="27" y="51"/>
                  </a:lnTo>
                  <a:lnTo>
                    <a:pt x="24" y="45"/>
                  </a:lnTo>
                  <a:lnTo>
                    <a:pt x="21" y="38"/>
                  </a:lnTo>
                  <a:lnTo>
                    <a:pt x="20" y="30"/>
                  </a:lnTo>
                  <a:lnTo>
                    <a:pt x="19" y="24"/>
                  </a:lnTo>
                  <a:lnTo>
                    <a:pt x="18" y="19"/>
                  </a:lnTo>
                  <a:lnTo>
                    <a:pt x="18" y="14"/>
                  </a:lnTo>
                  <a:lnTo>
                    <a:pt x="19" y="10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0" y="10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3" y="13"/>
                  </a:lnTo>
                  <a:lnTo>
                    <a:pt x="27" y="7"/>
                  </a:lnTo>
                  <a:lnTo>
                    <a:pt x="0" y="7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667" name="Freeform 41"/>
            <p:cNvSpPr>
              <a:spLocks/>
            </p:cNvSpPr>
            <p:nvPr>
              <p:custDataLst>
                <p:tags r:id="rId52"/>
              </p:custDataLst>
            </p:nvPr>
          </p:nvSpPr>
          <p:spPr bwMode="auto">
            <a:xfrm>
              <a:off x="4471032" y="3761227"/>
              <a:ext cx="31750" cy="58737"/>
            </a:xfrm>
            <a:custGeom>
              <a:avLst/>
              <a:gdLst>
                <a:gd name="T0" fmla="*/ 0 w 80"/>
                <a:gd name="T1" fmla="*/ 2147483647 h 34"/>
                <a:gd name="T2" fmla="*/ 2147483647 w 80"/>
                <a:gd name="T3" fmla="*/ 2147483647 h 34"/>
                <a:gd name="T4" fmla="*/ 2147483647 w 80"/>
                <a:gd name="T5" fmla="*/ 2147483647 h 34"/>
                <a:gd name="T6" fmla="*/ 2147483647 w 80"/>
                <a:gd name="T7" fmla="*/ 2147483647 h 34"/>
                <a:gd name="T8" fmla="*/ 2147483647 w 80"/>
                <a:gd name="T9" fmla="*/ 2147483647 h 34"/>
                <a:gd name="T10" fmla="*/ 2147483647 w 80"/>
                <a:gd name="T11" fmla="*/ 2147483647 h 34"/>
                <a:gd name="T12" fmla="*/ 2147483647 w 80"/>
                <a:gd name="T13" fmla="*/ 2147483647 h 34"/>
                <a:gd name="T14" fmla="*/ 2147483647 w 80"/>
                <a:gd name="T15" fmla="*/ 2147483647 h 34"/>
                <a:gd name="T16" fmla="*/ 2147483647 w 80"/>
                <a:gd name="T17" fmla="*/ 2147483647 h 34"/>
                <a:gd name="T18" fmla="*/ 2147483647 w 80"/>
                <a:gd name="T19" fmla="*/ 2147483647 h 34"/>
                <a:gd name="T20" fmla="*/ 2147483647 w 80"/>
                <a:gd name="T21" fmla="*/ 2147483647 h 34"/>
                <a:gd name="T22" fmla="*/ 2147483647 w 80"/>
                <a:gd name="T23" fmla="*/ 2147483647 h 34"/>
                <a:gd name="T24" fmla="*/ 2147483647 w 80"/>
                <a:gd name="T25" fmla="*/ 2147483647 h 34"/>
                <a:gd name="T26" fmla="*/ 2147483647 w 80"/>
                <a:gd name="T27" fmla="*/ 2147483647 h 34"/>
                <a:gd name="T28" fmla="*/ 2147483647 w 80"/>
                <a:gd name="T29" fmla="*/ 2147483647 h 34"/>
                <a:gd name="T30" fmla="*/ 2147483647 w 80"/>
                <a:gd name="T31" fmla="*/ 2147483647 h 34"/>
                <a:gd name="T32" fmla="*/ 2147483647 w 80"/>
                <a:gd name="T33" fmla="*/ 2147483647 h 34"/>
                <a:gd name="T34" fmla="*/ 2147483647 w 80"/>
                <a:gd name="T35" fmla="*/ 2147483647 h 34"/>
                <a:gd name="T36" fmla="*/ 2147483647 w 80"/>
                <a:gd name="T37" fmla="*/ 2147483647 h 34"/>
                <a:gd name="T38" fmla="*/ 2147483647 w 80"/>
                <a:gd name="T39" fmla="*/ 0 h 34"/>
                <a:gd name="T40" fmla="*/ 2147483647 w 80"/>
                <a:gd name="T41" fmla="*/ 0 h 34"/>
                <a:gd name="T42" fmla="*/ 2147483647 w 80"/>
                <a:gd name="T43" fmla="*/ 2147483647 h 34"/>
                <a:gd name="T44" fmla="*/ 2147483647 w 80"/>
                <a:gd name="T45" fmla="*/ 2147483647 h 34"/>
                <a:gd name="T46" fmla="*/ 2147483647 w 80"/>
                <a:gd name="T47" fmla="*/ 2147483647 h 34"/>
                <a:gd name="T48" fmla="*/ 2147483647 w 80"/>
                <a:gd name="T49" fmla="*/ 2147483647 h 34"/>
                <a:gd name="T50" fmla="*/ 2147483647 w 80"/>
                <a:gd name="T51" fmla="*/ 2147483647 h 34"/>
                <a:gd name="T52" fmla="*/ 2147483647 w 80"/>
                <a:gd name="T53" fmla="*/ 2147483647 h 34"/>
                <a:gd name="T54" fmla="*/ 2147483647 w 80"/>
                <a:gd name="T55" fmla="*/ 2147483647 h 34"/>
                <a:gd name="T56" fmla="*/ 2147483647 w 80"/>
                <a:gd name="T57" fmla="*/ 2147483647 h 34"/>
                <a:gd name="T58" fmla="*/ 2147483647 w 80"/>
                <a:gd name="T59" fmla="*/ 2147483647 h 34"/>
                <a:gd name="T60" fmla="*/ 0 w 80"/>
                <a:gd name="T61" fmla="*/ 2147483647 h 34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80" h="34">
                  <a:moveTo>
                    <a:pt x="0" y="15"/>
                  </a:moveTo>
                  <a:lnTo>
                    <a:pt x="1" y="19"/>
                  </a:lnTo>
                  <a:lnTo>
                    <a:pt x="2" y="21"/>
                  </a:lnTo>
                  <a:lnTo>
                    <a:pt x="4" y="24"/>
                  </a:lnTo>
                  <a:lnTo>
                    <a:pt x="7" y="26"/>
                  </a:lnTo>
                  <a:lnTo>
                    <a:pt x="13" y="29"/>
                  </a:lnTo>
                  <a:lnTo>
                    <a:pt x="22" y="31"/>
                  </a:lnTo>
                  <a:lnTo>
                    <a:pt x="40" y="33"/>
                  </a:lnTo>
                  <a:lnTo>
                    <a:pt x="54" y="34"/>
                  </a:lnTo>
                  <a:lnTo>
                    <a:pt x="58" y="33"/>
                  </a:lnTo>
                  <a:lnTo>
                    <a:pt x="62" y="32"/>
                  </a:lnTo>
                  <a:lnTo>
                    <a:pt x="65" y="29"/>
                  </a:lnTo>
                  <a:lnTo>
                    <a:pt x="67" y="27"/>
                  </a:lnTo>
                  <a:lnTo>
                    <a:pt x="73" y="21"/>
                  </a:lnTo>
                  <a:lnTo>
                    <a:pt x="80" y="15"/>
                  </a:lnTo>
                  <a:lnTo>
                    <a:pt x="75" y="10"/>
                  </a:lnTo>
                  <a:lnTo>
                    <a:pt x="70" y="7"/>
                  </a:lnTo>
                  <a:lnTo>
                    <a:pt x="65" y="4"/>
                  </a:lnTo>
                  <a:lnTo>
                    <a:pt x="60" y="2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45" y="1"/>
                  </a:lnTo>
                  <a:lnTo>
                    <a:pt x="41" y="2"/>
                  </a:lnTo>
                  <a:lnTo>
                    <a:pt x="34" y="2"/>
                  </a:lnTo>
                  <a:lnTo>
                    <a:pt x="21" y="2"/>
                  </a:lnTo>
                  <a:lnTo>
                    <a:pt x="13" y="3"/>
                  </a:lnTo>
                  <a:lnTo>
                    <a:pt x="7" y="5"/>
                  </a:lnTo>
                  <a:lnTo>
                    <a:pt x="4" y="7"/>
                  </a:lnTo>
                  <a:lnTo>
                    <a:pt x="2" y="9"/>
                  </a:lnTo>
                  <a:lnTo>
                    <a:pt x="1" y="11"/>
                  </a:lnTo>
                  <a:lnTo>
                    <a:pt x="0" y="1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68" name="Freeform 42"/>
            <p:cNvSpPr>
              <a:spLocks/>
            </p:cNvSpPr>
            <p:nvPr>
              <p:custDataLst>
                <p:tags r:id="rId53"/>
              </p:custDataLst>
            </p:nvPr>
          </p:nvSpPr>
          <p:spPr bwMode="auto">
            <a:xfrm>
              <a:off x="4526594" y="3767577"/>
              <a:ext cx="1588" cy="58737"/>
            </a:xfrm>
            <a:custGeom>
              <a:avLst/>
              <a:gdLst>
                <a:gd name="T0" fmla="*/ 0 w 7"/>
                <a:gd name="T1" fmla="*/ 0 h 13"/>
                <a:gd name="T2" fmla="*/ 2147483647 w 7"/>
                <a:gd name="T3" fmla="*/ 2147483647 h 13"/>
                <a:gd name="T4" fmla="*/ 2147483647 w 7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13">
                  <a:moveTo>
                    <a:pt x="0" y="0"/>
                  </a:moveTo>
                  <a:lnTo>
                    <a:pt x="7" y="13"/>
                  </a:lnTo>
                  <a:lnTo>
                    <a:pt x="7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69" name="Freeform 43"/>
            <p:cNvSpPr>
              <a:spLocks/>
            </p:cNvSpPr>
            <p:nvPr>
              <p:custDataLst>
                <p:tags r:id="rId54"/>
              </p:custDataLst>
            </p:nvPr>
          </p:nvSpPr>
          <p:spPr bwMode="auto">
            <a:xfrm>
              <a:off x="4539294" y="3769164"/>
              <a:ext cx="6350" cy="58738"/>
            </a:xfrm>
            <a:custGeom>
              <a:avLst/>
              <a:gdLst>
                <a:gd name="T0" fmla="*/ 0 w 20"/>
                <a:gd name="T1" fmla="*/ 0 h 6"/>
                <a:gd name="T2" fmla="*/ 2147483647 w 20"/>
                <a:gd name="T3" fmla="*/ 2147483647 h 6"/>
                <a:gd name="T4" fmla="*/ 2147483647 w 20"/>
                <a:gd name="T5" fmla="*/ 2147483647 h 6"/>
                <a:gd name="T6" fmla="*/ 0 w 20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0" h="6">
                  <a:moveTo>
                    <a:pt x="0" y="0"/>
                  </a:moveTo>
                  <a:lnTo>
                    <a:pt x="7" y="3"/>
                  </a:lnTo>
                  <a:lnTo>
                    <a:pt x="2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70" name="Freeform 44"/>
            <p:cNvSpPr>
              <a:spLocks/>
            </p:cNvSpPr>
            <p:nvPr>
              <p:custDataLst>
                <p:tags r:id="rId55"/>
              </p:custDataLst>
            </p:nvPr>
          </p:nvSpPr>
          <p:spPr bwMode="auto">
            <a:xfrm>
              <a:off x="4553582" y="3759639"/>
              <a:ext cx="7937" cy="57150"/>
            </a:xfrm>
            <a:custGeom>
              <a:avLst/>
              <a:gdLst>
                <a:gd name="T0" fmla="*/ 0 w 14"/>
                <a:gd name="T1" fmla="*/ 2147483647 h 12"/>
                <a:gd name="T2" fmla="*/ 2147483647 w 14"/>
                <a:gd name="T3" fmla="*/ 0 h 12"/>
                <a:gd name="T4" fmla="*/ 0 w 14"/>
                <a:gd name="T5" fmla="*/ 2147483647 h 1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71" name="Freeform 45"/>
            <p:cNvSpPr>
              <a:spLocks/>
            </p:cNvSpPr>
            <p:nvPr>
              <p:custDataLst>
                <p:tags r:id="rId56"/>
              </p:custDataLst>
            </p:nvPr>
          </p:nvSpPr>
          <p:spPr bwMode="auto">
            <a:xfrm>
              <a:off x="4532944" y="3751702"/>
              <a:ext cx="11113" cy="58737"/>
            </a:xfrm>
            <a:custGeom>
              <a:avLst/>
              <a:gdLst>
                <a:gd name="T0" fmla="*/ 0 w 27"/>
                <a:gd name="T1" fmla="*/ 0 h 7"/>
                <a:gd name="T2" fmla="*/ 0 w 27"/>
                <a:gd name="T3" fmla="*/ 2147483647 h 7"/>
                <a:gd name="T4" fmla="*/ 2147483647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0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7" h="7">
                  <a:moveTo>
                    <a:pt x="0" y="0"/>
                  </a:moveTo>
                  <a:lnTo>
                    <a:pt x="0" y="4"/>
                  </a:lnTo>
                  <a:lnTo>
                    <a:pt x="2" y="6"/>
                  </a:lnTo>
                  <a:lnTo>
                    <a:pt x="7" y="7"/>
                  </a:lnTo>
                  <a:lnTo>
                    <a:pt x="10" y="7"/>
                  </a:lnTo>
                  <a:lnTo>
                    <a:pt x="15" y="6"/>
                  </a:lnTo>
                  <a:lnTo>
                    <a:pt x="19" y="4"/>
                  </a:lnTo>
                  <a:lnTo>
                    <a:pt x="23" y="2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72" name="Freeform 46"/>
            <p:cNvSpPr>
              <a:spLocks/>
            </p:cNvSpPr>
            <p:nvPr>
              <p:custDataLst>
                <p:tags r:id="rId57"/>
              </p:custDataLst>
            </p:nvPr>
          </p:nvSpPr>
          <p:spPr bwMode="auto">
            <a:xfrm>
              <a:off x="4582157" y="3780277"/>
              <a:ext cx="14287" cy="60325"/>
            </a:xfrm>
            <a:custGeom>
              <a:avLst/>
              <a:gdLst>
                <a:gd name="T0" fmla="*/ 0 w 27"/>
                <a:gd name="T1" fmla="*/ 0 h 6"/>
                <a:gd name="T2" fmla="*/ 2147483647 w 27"/>
                <a:gd name="T3" fmla="*/ 2147483647 h 6"/>
                <a:gd name="T4" fmla="*/ 2147483647 w 27"/>
                <a:gd name="T5" fmla="*/ 2147483647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7" h="6">
                  <a:moveTo>
                    <a:pt x="0" y="0"/>
                  </a:moveTo>
                  <a:lnTo>
                    <a:pt x="11" y="3"/>
                  </a:lnTo>
                  <a:lnTo>
                    <a:pt x="27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73" name="Line 47"/>
            <p:cNvSpPr>
              <a:spLocks noChangeShapeType="1"/>
            </p:cNvSpPr>
            <p:nvPr>
              <p:custDataLst>
                <p:tags r:id="rId58"/>
              </p:custDataLst>
            </p:nvPr>
          </p:nvSpPr>
          <p:spPr bwMode="auto">
            <a:xfrm flipH="1" flipV="1">
              <a:off x="4590094" y="3777102"/>
              <a:ext cx="6350" cy="952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25674" name="Line 48"/>
            <p:cNvSpPr>
              <a:spLocks noChangeShapeType="1"/>
            </p:cNvSpPr>
            <p:nvPr>
              <p:custDataLst>
                <p:tags r:id="rId59"/>
              </p:custDataLst>
            </p:nvPr>
          </p:nvSpPr>
          <p:spPr bwMode="auto">
            <a:xfrm flipH="1">
              <a:off x="4590094" y="3802502"/>
              <a:ext cx="6350" cy="1111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25675" name="Freeform 49"/>
            <p:cNvSpPr>
              <a:spLocks/>
            </p:cNvSpPr>
            <p:nvPr>
              <p:custDataLst>
                <p:tags r:id="rId60"/>
              </p:custDataLst>
            </p:nvPr>
          </p:nvSpPr>
          <p:spPr bwMode="auto">
            <a:xfrm>
              <a:off x="4590094" y="3797739"/>
              <a:ext cx="11113" cy="58738"/>
            </a:xfrm>
            <a:custGeom>
              <a:avLst/>
              <a:gdLst>
                <a:gd name="T0" fmla="*/ 0 w 20"/>
                <a:gd name="T1" fmla="*/ 2147483647 h 24"/>
                <a:gd name="T2" fmla="*/ 2147483647 w 20"/>
                <a:gd name="T3" fmla="*/ 2147483647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0 h 2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0" h="24">
                  <a:moveTo>
                    <a:pt x="0" y="24"/>
                  </a:moveTo>
                  <a:lnTo>
                    <a:pt x="2" y="24"/>
                  </a:lnTo>
                  <a:lnTo>
                    <a:pt x="6" y="22"/>
                  </a:lnTo>
                  <a:lnTo>
                    <a:pt x="9" y="20"/>
                  </a:lnTo>
                  <a:lnTo>
                    <a:pt x="12" y="16"/>
                  </a:lnTo>
                  <a:lnTo>
                    <a:pt x="15" y="13"/>
                  </a:lnTo>
                  <a:lnTo>
                    <a:pt x="18" y="9"/>
                  </a:lnTo>
                  <a:lnTo>
                    <a:pt x="19" y="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76" name="Freeform 50"/>
            <p:cNvSpPr>
              <a:spLocks/>
            </p:cNvSpPr>
            <p:nvPr>
              <p:custDataLst>
                <p:tags r:id="rId61"/>
              </p:custDataLst>
            </p:nvPr>
          </p:nvSpPr>
          <p:spPr bwMode="auto">
            <a:xfrm>
              <a:off x="4596444" y="3826314"/>
              <a:ext cx="17463" cy="55563"/>
            </a:xfrm>
            <a:custGeom>
              <a:avLst/>
              <a:gdLst>
                <a:gd name="T0" fmla="*/ 2147483647 w 33"/>
                <a:gd name="T1" fmla="*/ 2147483647 h 25"/>
                <a:gd name="T2" fmla="*/ 0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2147483647 h 25"/>
                <a:gd name="T8" fmla="*/ 2147483647 w 33"/>
                <a:gd name="T9" fmla="*/ 2147483647 h 25"/>
                <a:gd name="T10" fmla="*/ 2147483647 w 33"/>
                <a:gd name="T11" fmla="*/ 2147483647 h 25"/>
                <a:gd name="T12" fmla="*/ 2147483647 w 33"/>
                <a:gd name="T13" fmla="*/ 0 h 25"/>
                <a:gd name="T14" fmla="*/ 2147483647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13" y="7"/>
                  </a:moveTo>
                  <a:lnTo>
                    <a:pt x="0" y="19"/>
                  </a:lnTo>
                  <a:lnTo>
                    <a:pt x="10" y="20"/>
                  </a:lnTo>
                  <a:lnTo>
                    <a:pt x="19" y="22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3" y="7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77" name="Freeform 51"/>
            <p:cNvSpPr>
              <a:spLocks/>
            </p:cNvSpPr>
            <p:nvPr>
              <p:custDataLst>
                <p:tags r:id="rId62"/>
              </p:custDataLst>
            </p:nvPr>
          </p:nvSpPr>
          <p:spPr bwMode="auto">
            <a:xfrm>
              <a:off x="4602794" y="3873939"/>
              <a:ext cx="15875" cy="57150"/>
            </a:xfrm>
            <a:custGeom>
              <a:avLst/>
              <a:gdLst>
                <a:gd name="T0" fmla="*/ 0 w 40"/>
                <a:gd name="T1" fmla="*/ 0 h 18"/>
                <a:gd name="T2" fmla="*/ 2147483647 w 40"/>
                <a:gd name="T3" fmla="*/ 2147483647 h 18"/>
                <a:gd name="T4" fmla="*/ 2147483647 w 40"/>
                <a:gd name="T5" fmla="*/ 2147483647 h 18"/>
                <a:gd name="T6" fmla="*/ 2147483647 w 40"/>
                <a:gd name="T7" fmla="*/ 2147483647 h 18"/>
                <a:gd name="T8" fmla="*/ 2147483647 w 40"/>
                <a:gd name="T9" fmla="*/ 2147483647 h 18"/>
                <a:gd name="T10" fmla="*/ 2147483647 w 40"/>
                <a:gd name="T11" fmla="*/ 2147483647 h 18"/>
                <a:gd name="T12" fmla="*/ 2147483647 w 40"/>
                <a:gd name="T13" fmla="*/ 2147483647 h 18"/>
                <a:gd name="T14" fmla="*/ 2147483647 w 40"/>
                <a:gd name="T15" fmla="*/ 0 h 18"/>
                <a:gd name="T16" fmla="*/ 2147483647 w 40"/>
                <a:gd name="T17" fmla="*/ 0 h 18"/>
                <a:gd name="T18" fmla="*/ 2147483647 w 40"/>
                <a:gd name="T19" fmla="*/ 0 h 18"/>
                <a:gd name="T20" fmla="*/ 2147483647 w 40"/>
                <a:gd name="T21" fmla="*/ 0 h 18"/>
                <a:gd name="T22" fmla="*/ 0 w 40"/>
                <a:gd name="T23" fmla="*/ 0 h 1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0" h="18">
                  <a:moveTo>
                    <a:pt x="0" y="0"/>
                  </a:moveTo>
                  <a:lnTo>
                    <a:pt x="3" y="6"/>
                  </a:lnTo>
                  <a:lnTo>
                    <a:pt x="6" y="11"/>
                  </a:lnTo>
                  <a:lnTo>
                    <a:pt x="10" y="14"/>
                  </a:lnTo>
                  <a:lnTo>
                    <a:pt x="15" y="16"/>
                  </a:lnTo>
                  <a:lnTo>
                    <a:pt x="27" y="18"/>
                  </a:lnTo>
                  <a:lnTo>
                    <a:pt x="40" y="18"/>
                  </a:lnTo>
                  <a:lnTo>
                    <a:pt x="40" y="0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78" name="Freeform 52"/>
            <p:cNvSpPr>
              <a:spLocks/>
            </p:cNvSpPr>
            <p:nvPr>
              <p:custDataLst>
                <p:tags r:id="rId63"/>
              </p:custDataLst>
            </p:nvPr>
          </p:nvSpPr>
          <p:spPr bwMode="auto">
            <a:xfrm>
              <a:off x="4612319" y="3899339"/>
              <a:ext cx="3175" cy="57150"/>
            </a:xfrm>
            <a:custGeom>
              <a:avLst/>
              <a:gdLst>
                <a:gd name="T0" fmla="*/ 2147483647 w 11"/>
                <a:gd name="T1" fmla="*/ 2147483647 h 32"/>
                <a:gd name="T2" fmla="*/ 2147483647 w 11"/>
                <a:gd name="T3" fmla="*/ 2147483647 h 32"/>
                <a:gd name="T4" fmla="*/ 2147483647 w 11"/>
                <a:gd name="T5" fmla="*/ 2147483647 h 32"/>
                <a:gd name="T6" fmla="*/ 2147483647 w 11"/>
                <a:gd name="T7" fmla="*/ 2147483647 h 32"/>
                <a:gd name="T8" fmla="*/ 2147483647 w 11"/>
                <a:gd name="T9" fmla="*/ 2147483647 h 32"/>
                <a:gd name="T10" fmla="*/ 2147483647 w 11"/>
                <a:gd name="T11" fmla="*/ 2147483647 h 32"/>
                <a:gd name="T12" fmla="*/ 2147483647 w 11"/>
                <a:gd name="T13" fmla="*/ 0 h 32"/>
                <a:gd name="T14" fmla="*/ 2147483647 w 11"/>
                <a:gd name="T15" fmla="*/ 2147483647 h 32"/>
                <a:gd name="T16" fmla="*/ 2147483647 w 11"/>
                <a:gd name="T17" fmla="*/ 2147483647 h 32"/>
                <a:gd name="T18" fmla="*/ 2147483647 w 11"/>
                <a:gd name="T19" fmla="*/ 2147483647 h 32"/>
                <a:gd name="T20" fmla="*/ 0 w 11"/>
                <a:gd name="T21" fmla="*/ 2147483647 h 32"/>
                <a:gd name="T22" fmla="*/ 0 w 11"/>
                <a:gd name="T23" fmla="*/ 2147483647 h 32"/>
                <a:gd name="T24" fmla="*/ 2147483647 w 11"/>
                <a:gd name="T25" fmla="*/ 2147483647 h 32"/>
                <a:gd name="T26" fmla="*/ 2147483647 w 11"/>
                <a:gd name="T27" fmla="*/ 2147483647 h 32"/>
                <a:gd name="T28" fmla="*/ 2147483647 w 11"/>
                <a:gd name="T29" fmla="*/ 2147483647 h 3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1" h="32">
                  <a:moveTo>
                    <a:pt x="4" y="32"/>
                  </a:moveTo>
                  <a:lnTo>
                    <a:pt x="6" y="28"/>
                  </a:lnTo>
                  <a:lnTo>
                    <a:pt x="8" y="25"/>
                  </a:lnTo>
                  <a:lnTo>
                    <a:pt x="9" y="22"/>
                  </a:lnTo>
                  <a:lnTo>
                    <a:pt x="10" y="18"/>
                  </a:lnTo>
                  <a:lnTo>
                    <a:pt x="11" y="9"/>
                  </a:lnTo>
                  <a:lnTo>
                    <a:pt x="11" y="0"/>
                  </a:lnTo>
                  <a:lnTo>
                    <a:pt x="6" y="3"/>
                  </a:lnTo>
                  <a:lnTo>
                    <a:pt x="3" y="7"/>
                  </a:lnTo>
                  <a:lnTo>
                    <a:pt x="1" y="11"/>
                  </a:lnTo>
                  <a:lnTo>
                    <a:pt x="0" y="16"/>
                  </a:lnTo>
                  <a:lnTo>
                    <a:pt x="0" y="20"/>
                  </a:lnTo>
                  <a:lnTo>
                    <a:pt x="1" y="24"/>
                  </a:lnTo>
                  <a:lnTo>
                    <a:pt x="2" y="28"/>
                  </a:lnTo>
                  <a:lnTo>
                    <a:pt x="4" y="32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79" name="Freeform 53"/>
            <p:cNvSpPr>
              <a:spLocks/>
            </p:cNvSpPr>
            <p:nvPr>
              <p:custDataLst>
                <p:tags r:id="rId64"/>
              </p:custDataLst>
            </p:nvPr>
          </p:nvSpPr>
          <p:spPr bwMode="auto">
            <a:xfrm>
              <a:off x="4634544" y="3929502"/>
              <a:ext cx="1588" cy="55562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2147483647 h 24"/>
                <a:gd name="T4" fmla="*/ 2147483647 w 14"/>
                <a:gd name="T5" fmla="*/ 2147483647 h 24"/>
                <a:gd name="T6" fmla="*/ 0 w 14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4">
                  <a:moveTo>
                    <a:pt x="0" y="0"/>
                  </a:moveTo>
                  <a:lnTo>
                    <a:pt x="0" y="24"/>
                  </a:lnTo>
                  <a:lnTo>
                    <a:pt x="14" y="12"/>
                  </a:lnTo>
                  <a:lnTo>
                    <a:pt x="0" y="0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80" name="Freeform 54"/>
            <p:cNvSpPr>
              <a:spLocks/>
            </p:cNvSpPr>
            <p:nvPr>
              <p:custDataLst>
                <p:tags r:id="rId65"/>
              </p:custDataLst>
            </p:nvPr>
          </p:nvSpPr>
          <p:spPr bwMode="auto">
            <a:xfrm>
              <a:off x="4596444" y="3942202"/>
              <a:ext cx="15875" cy="58737"/>
            </a:xfrm>
            <a:custGeom>
              <a:avLst/>
              <a:gdLst>
                <a:gd name="T0" fmla="*/ 0 w 27"/>
                <a:gd name="T1" fmla="*/ 2147483647 h 18"/>
                <a:gd name="T2" fmla="*/ 2147483647 w 27"/>
                <a:gd name="T3" fmla="*/ 2147483647 h 18"/>
                <a:gd name="T4" fmla="*/ 2147483647 w 27"/>
                <a:gd name="T5" fmla="*/ 2147483647 h 18"/>
                <a:gd name="T6" fmla="*/ 2147483647 w 27"/>
                <a:gd name="T7" fmla="*/ 2147483647 h 18"/>
                <a:gd name="T8" fmla="*/ 2147483647 w 27"/>
                <a:gd name="T9" fmla="*/ 0 h 18"/>
                <a:gd name="T10" fmla="*/ 2147483647 w 27"/>
                <a:gd name="T11" fmla="*/ 0 h 18"/>
                <a:gd name="T12" fmla="*/ 2147483647 w 27"/>
                <a:gd name="T13" fmla="*/ 2147483647 h 18"/>
                <a:gd name="T14" fmla="*/ 2147483647 w 27"/>
                <a:gd name="T15" fmla="*/ 2147483647 h 18"/>
                <a:gd name="T16" fmla="*/ 2147483647 w 27"/>
                <a:gd name="T17" fmla="*/ 2147483647 h 18"/>
                <a:gd name="T18" fmla="*/ 2147483647 w 27"/>
                <a:gd name="T19" fmla="*/ 2147483647 h 18"/>
                <a:gd name="T20" fmla="*/ 0 w 27"/>
                <a:gd name="T21" fmla="*/ 2147483647 h 1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7" h="18">
                  <a:moveTo>
                    <a:pt x="0" y="12"/>
                  </a:moveTo>
                  <a:lnTo>
                    <a:pt x="7" y="15"/>
                  </a:lnTo>
                  <a:lnTo>
                    <a:pt x="13" y="18"/>
                  </a:lnTo>
                  <a:lnTo>
                    <a:pt x="22" y="7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8" y="1"/>
                  </a:lnTo>
                  <a:lnTo>
                    <a:pt x="13" y="2"/>
                  </a:lnTo>
                  <a:lnTo>
                    <a:pt x="10" y="4"/>
                  </a:lnTo>
                  <a:lnTo>
                    <a:pt x="5" y="8"/>
                  </a:lnTo>
                  <a:lnTo>
                    <a:pt x="0" y="12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81" name="Freeform 55"/>
            <p:cNvSpPr>
              <a:spLocks/>
            </p:cNvSpPr>
            <p:nvPr>
              <p:custDataLst>
                <p:tags r:id="rId66"/>
              </p:custDataLst>
            </p:nvPr>
          </p:nvSpPr>
          <p:spPr bwMode="auto">
            <a:xfrm>
              <a:off x="4582157" y="4007289"/>
              <a:ext cx="23812" cy="57150"/>
            </a:xfrm>
            <a:custGeom>
              <a:avLst/>
              <a:gdLst>
                <a:gd name="T0" fmla="*/ 0 w 47"/>
                <a:gd name="T1" fmla="*/ 2147483647 h 49"/>
                <a:gd name="T2" fmla="*/ 2147483647 w 47"/>
                <a:gd name="T3" fmla="*/ 2147483647 h 49"/>
                <a:gd name="T4" fmla="*/ 2147483647 w 47"/>
                <a:gd name="T5" fmla="*/ 2147483647 h 49"/>
                <a:gd name="T6" fmla="*/ 2147483647 w 47"/>
                <a:gd name="T7" fmla="*/ 2147483647 h 49"/>
                <a:gd name="T8" fmla="*/ 2147483647 w 47"/>
                <a:gd name="T9" fmla="*/ 2147483647 h 49"/>
                <a:gd name="T10" fmla="*/ 2147483647 w 47"/>
                <a:gd name="T11" fmla="*/ 2147483647 h 49"/>
                <a:gd name="T12" fmla="*/ 2147483647 w 47"/>
                <a:gd name="T13" fmla="*/ 2147483647 h 49"/>
                <a:gd name="T14" fmla="*/ 2147483647 w 47"/>
                <a:gd name="T15" fmla="*/ 2147483647 h 49"/>
                <a:gd name="T16" fmla="*/ 2147483647 w 47"/>
                <a:gd name="T17" fmla="*/ 2147483647 h 49"/>
                <a:gd name="T18" fmla="*/ 2147483647 w 47"/>
                <a:gd name="T19" fmla="*/ 2147483647 h 49"/>
                <a:gd name="T20" fmla="*/ 2147483647 w 47"/>
                <a:gd name="T21" fmla="*/ 2147483647 h 49"/>
                <a:gd name="T22" fmla="*/ 2147483647 w 47"/>
                <a:gd name="T23" fmla="*/ 2147483647 h 49"/>
                <a:gd name="T24" fmla="*/ 2147483647 w 47"/>
                <a:gd name="T25" fmla="*/ 2147483647 h 49"/>
                <a:gd name="T26" fmla="*/ 2147483647 w 47"/>
                <a:gd name="T27" fmla="*/ 2147483647 h 49"/>
                <a:gd name="T28" fmla="*/ 2147483647 w 47"/>
                <a:gd name="T29" fmla="*/ 2147483647 h 49"/>
                <a:gd name="T30" fmla="*/ 2147483647 w 47"/>
                <a:gd name="T31" fmla="*/ 2147483647 h 49"/>
                <a:gd name="T32" fmla="*/ 2147483647 w 47"/>
                <a:gd name="T33" fmla="*/ 0 h 49"/>
                <a:gd name="T34" fmla="*/ 2147483647 w 47"/>
                <a:gd name="T35" fmla="*/ 0 h 49"/>
                <a:gd name="T36" fmla="*/ 2147483647 w 47"/>
                <a:gd name="T37" fmla="*/ 2147483647 h 49"/>
                <a:gd name="T38" fmla="*/ 2147483647 w 47"/>
                <a:gd name="T39" fmla="*/ 2147483647 h 49"/>
                <a:gd name="T40" fmla="*/ 2147483647 w 47"/>
                <a:gd name="T41" fmla="*/ 2147483647 h 49"/>
                <a:gd name="T42" fmla="*/ 2147483647 w 47"/>
                <a:gd name="T43" fmla="*/ 2147483647 h 49"/>
                <a:gd name="T44" fmla="*/ 2147483647 w 47"/>
                <a:gd name="T45" fmla="*/ 2147483647 h 49"/>
                <a:gd name="T46" fmla="*/ 0 w 47"/>
                <a:gd name="T47" fmla="*/ 2147483647 h 49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47" h="49">
                  <a:moveTo>
                    <a:pt x="0" y="36"/>
                  </a:moveTo>
                  <a:lnTo>
                    <a:pt x="1" y="39"/>
                  </a:lnTo>
                  <a:lnTo>
                    <a:pt x="2" y="41"/>
                  </a:lnTo>
                  <a:lnTo>
                    <a:pt x="4" y="43"/>
                  </a:lnTo>
                  <a:lnTo>
                    <a:pt x="6" y="45"/>
                  </a:lnTo>
                  <a:lnTo>
                    <a:pt x="12" y="48"/>
                  </a:lnTo>
                  <a:lnTo>
                    <a:pt x="14" y="49"/>
                  </a:lnTo>
                  <a:lnTo>
                    <a:pt x="18" y="49"/>
                  </a:lnTo>
                  <a:lnTo>
                    <a:pt x="24" y="46"/>
                  </a:lnTo>
                  <a:lnTo>
                    <a:pt x="29" y="42"/>
                  </a:lnTo>
                  <a:lnTo>
                    <a:pt x="35" y="39"/>
                  </a:lnTo>
                  <a:lnTo>
                    <a:pt x="39" y="35"/>
                  </a:lnTo>
                  <a:lnTo>
                    <a:pt x="44" y="31"/>
                  </a:lnTo>
                  <a:lnTo>
                    <a:pt x="46" y="27"/>
                  </a:lnTo>
                  <a:lnTo>
                    <a:pt x="47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27" y="0"/>
                  </a:lnTo>
                  <a:lnTo>
                    <a:pt x="17" y="8"/>
                  </a:lnTo>
                  <a:lnTo>
                    <a:pt x="9" y="16"/>
                  </a:lnTo>
                  <a:lnTo>
                    <a:pt x="5" y="20"/>
                  </a:lnTo>
                  <a:lnTo>
                    <a:pt x="2" y="25"/>
                  </a:lnTo>
                  <a:lnTo>
                    <a:pt x="1" y="30"/>
                  </a:lnTo>
                  <a:lnTo>
                    <a:pt x="0" y="36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82" name="Freeform 56"/>
            <p:cNvSpPr>
              <a:spLocks/>
            </p:cNvSpPr>
            <p:nvPr>
              <p:custDataLst>
                <p:tags r:id="rId67"/>
              </p:custDataLst>
            </p:nvPr>
          </p:nvSpPr>
          <p:spPr bwMode="auto">
            <a:xfrm>
              <a:off x="4601207" y="3983477"/>
              <a:ext cx="12700" cy="57150"/>
            </a:xfrm>
            <a:custGeom>
              <a:avLst/>
              <a:gdLst>
                <a:gd name="T0" fmla="*/ 0 w 26"/>
                <a:gd name="T1" fmla="*/ 0 h 9"/>
                <a:gd name="T2" fmla="*/ 0 w 26"/>
                <a:gd name="T3" fmla="*/ 2147483647 h 9"/>
                <a:gd name="T4" fmla="*/ 2147483647 w 26"/>
                <a:gd name="T5" fmla="*/ 2147483647 h 9"/>
                <a:gd name="T6" fmla="*/ 2147483647 w 26"/>
                <a:gd name="T7" fmla="*/ 2147483647 h 9"/>
                <a:gd name="T8" fmla="*/ 2147483647 w 26"/>
                <a:gd name="T9" fmla="*/ 2147483647 h 9"/>
                <a:gd name="T10" fmla="*/ 2147483647 w 26"/>
                <a:gd name="T11" fmla="*/ 2147483647 h 9"/>
                <a:gd name="T12" fmla="*/ 2147483647 w 26"/>
                <a:gd name="T13" fmla="*/ 2147483647 h 9"/>
                <a:gd name="T14" fmla="*/ 2147483647 w 26"/>
                <a:gd name="T15" fmla="*/ 2147483647 h 9"/>
                <a:gd name="T16" fmla="*/ 2147483647 w 26"/>
                <a:gd name="T17" fmla="*/ 0 h 9"/>
                <a:gd name="T18" fmla="*/ 0 w 26"/>
                <a:gd name="T19" fmla="*/ 0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26" h="9">
                  <a:moveTo>
                    <a:pt x="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6" y="8"/>
                  </a:lnTo>
                  <a:lnTo>
                    <a:pt x="11" y="9"/>
                  </a:lnTo>
                  <a:lnTo>
                    <a:pt x="15" y="8"/>
                  </a:lnTo>
                  <a:lnTo>
                    <a:pt x="20" y="7"/>
                  </a:lnTo>
                  <a:lnTo>
                    <a:pt x="23" y="4"/>
                  </a:lnTo>
                  <a:lnTo>
                    <a:pt x="26" y="0"/>
                  </a:lnTo>
                  <a:lnTo>
                    <a:pt x="0" y="0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83" name="Freeform 57"/>
            <p:cNvSpPr>
              <a:spLocks/>
            </p:cNvSpPr>
            <p:nvPr>
              <p:custDataLst>
                <p:tags r:id="rId68"/>
              </p:custDataLst>
            </p:nvPr>
          </p:nvSpPr>
          <p:spPr bwMode="auto">
            <a:xfrm>
              <a:off x="4083682" y="3654864"/>
              <a:ext cx="15875" cy="57150"/>
            </a:xfrm>
            <a:custGeom>
              <a:avLst/>
              <a:gdLst>
                <a:gd name="T0" fmla="*/ 0 w 39"/>
                <a:gd name="T1" fmla="*/ 0 h 18"/>
                <a:gd name="T2" fmla="*/ 0 w 39"/>
                <a:gd name="T3" fmla="*/ 2147483647 h 18"/>
                <a:gd name="T4" fmla="*/ 2147483647 w 39"/>
                <a:gd name="T5" fmla="*/ 2147483647 h 18"/>
                <a:gd name="T6" fmla="*/ 2147483647 w 39"/>
                <a:gd name="T7" fmla="*/ 2147483647 h 18"/>
                <a:gd name="T8" fmla="*/ 2147483647 w 39"/>
                <a:gd name="T9" fmla="*/ 2147483647 h 18"/>
                <a:gd name="T10" fmla="*/ 2147483647 w 39"/>
                <a:gd name="T11" fmla="*/ 2147483647 h 18"/>
                <a:gd name="T12" fmla="*/ 2147483647 w 39"/>
                <a:gd name="T13" fmla="*/ 2147483647 h 18"/>
                <a:gd name="T14" fmla="*/ 2147483647 w 39"/>
                <a:gd name="T15" fmla="*/ 2147483647 h 18"/>
                <a:gd name="T16" fmla="*/ 2147483647 w 39"/>
                <a:gd name="T17" fmla="*/ 2147483647 h 18"/>
                <a:gd name="T18" fmla="*/ 2147483647 w 39"/>
                <a:gd name="T19" fmla="*/ 2147483647 h 18"/>
                <a:gd name="T20" fmla="*/ 2147483647 w 39"/>
                <a:gd name="T21" fmla="*/ 2147483647 h 18"/>
                <a:gd name="T22" fmla="*/ 2147483647 w 39"/>
                <a:gd name="T23" fmla="*/ 2147483647 h 18"/>
                <a:gd name="T24" fmla="*/ 2147483647 w 39"/>
                <a:gd name="T25" fmla="*/ 0 h 18"/>
                <a:gd name="T26" fmla="*/ 0 w 39"/>
                <a:gd name="T27" fmla="*/ 0 h 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18">
                  <a:moveTo>
                    <a:pt x="0" y="0"/>
                  </a:moveTo>
                  <a:lnTo>
                    <a:pt x="0" y="18"/>
                  </a:lnTo>
                  <a:lnTo>
                    <a:pt x="6" y="18"/>
                  </a:lnTo>
                  <a:lnTo>
                    <a:pt x="13" y="18"/>
                  </a:lnTo>
                  <a:lnTo>
                    <a:pt x="23" y="17"/>
                  </a:lnTo>
                  <a:lnTo>
                    <a:pt x="30" y="14"/>
                  </a:lnTo>
                  <a:lnTo>
                    <a:pt x="34" y="12"/>
                  </a:lnTo>
                  <a:lnTo>
                    <a:pt x="37" y="10"/>
                  </a:lnTo>
                  <a:lnTo>
                    <a:pt x="38" y="8"/>
                  </a:lnTo>
                  <a:lnTo>
                    <a:pt x="39" y="6"/>
                  </a:lnTo>
                  <a:lnTo>
                    <a:pt x="29" y="5"/>
                  </a:lnTo>
                  <a:lnTo>
                    <a:pt x="19" y="3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25684" name="Group 58"/>
            <p:cNvGrpSpPr>
              <a:grpSpLocks/>
            </p:cNvGrpSpPr>
            <p:nvPr>
              <p:custDataLst>
                <p:tags r:id="rId69"/>
              </p:custDataLst>
            </p:nvPr>
          </p:nvGrpSpPr>
          <p:grpSpPr bwMode="auto">
            <a:xfrm>
              <a:off x="4209094" y="3488177"/>
              <a:ext cx="131763" cy="195262"/>
              <a:chOff x="1199" y="2121"/>
              <a:chExt cx="97" cy="123"/>
            </a:xfrm>
          </p:grpSpPr>
          <p:sp>
            <p:nvSpPr>
              <p:cNvPr id="26059" name="Freeform 59"/>
              <p:cNvSpPr>
                <a:spLocks/>
              </p:cNvSpPr>
              <p:nvPr/>
            </p:nvSpPr>
            <p:spPr bwMode="auto">
              <a:xfrm>
                <a:off x="1274" y="2236"/>
                <a:ext cx="16" cy="8"/>
              </a:xfrm>
              <a:custGeom>
                <a:avLst/>
                <a:gdLst>
                  <a:gd name="T0" fmla="*/ 0 w 52"/>
                  <a:gd name="T1" fmla="*/ 0 h 25"/>
                  <a:gd name="T2" fmla="*/ 0 w 52"/>
                  <a:gd name="T3" fmla="*/ 0 h 25"/>
                  <a:gd name="T4" fmla="*/ 0 w 52"/>
                  <a:gd name="T5" fmla="*/ 0 h 25"/>
                  <a:gd name="T6" fmla="*/ 0 w 52"/>
                  <a:gd name="T7" fmla="*/ 0 h 25"/>
                  <a:gd name="T8" fmla="*/ 0 w 52"/>
                  <a:gd name="T9" fmla="*/ 0 h 25"/>
                  <a:gd name="T10" fmla="*/ 0 w 52"/>
                  <a:gd name="T11" fmla="*/ 0 h 25"/>
                  <a:gd name="T12" fmla="*/ 0 w 52"/>
                  <a:gd name="T13" fmla="*/ 0 h 25"/>
                  <a:gd name="T14" fmla="*/ 0 w 52"/>
                  <a:gd name="T15" fmla="*/ 0 h 25"/>
                  <a:gd name="T16" fmla="*/ 0 w 52"/>
                  <a:gd name="T17" fmla="*/ 0 h 25"/>
                  <a:gd name="T18" fmla="*/ 0 w 52"/>
                  <a:gd name="T19" fmla="*/ 0 h 25"/>
                  <a:gd name="T20" fmla="*/ 0 w 52"/>
                  <a:gd name="T21" fmla="*/ 0 h 25"/>
                  <a:gd name="T22" fmla="*/ 0 w 52"/>
                  <a:gd name="T23" fmla="*/ 0 h 25"/>
                  <a:gd name="T24" fmla="*/ 0 w 52"/>
                  <a:gd name="T25" fmla="*/ 0 h 25"/>
                  <a:gd name="T26" fmla="*/ 0 w 52"/>
                  <a:gd name="T27" fmla="*/ 0 h 25"/>
                  <a:gd name="T28" fmla="*/ 0 w 52"/>
                  <a:gd name="T29" fmla="*/ 0 h 25"/>
                  <a:gd name="T30" fmla="*/ 0 w 52"/>
                  <a:gd name="T31" fmla="*/ 0 h 25"/>
                  <a:gd name="T32" fmla="*/ 0 w 52"/>
                  <a:gd name="T33" fmla="*/ 0 h 2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2" h="25">
                    <a:moveTo>
                      <a:pt x="0" y="25"/>
                    </a:moveTo>
                    <a:lnTo>
                      <a:pt x="7" y="25"/>
                    </a:lnTo>
                    <a:lnTo>
                      <a:pt x="15" y="24"/>
                    </a:lnTo>
                    <a:lnTo>
                      <a:pt x="23" y="22"/>
                    </a:lnTo>
                    <a:lnTo>
                      <a:pt x="30" y="19"/>
                    </a:lnTo>
                    <a:lnTo>
                      <a:pt x="38" y="15"/>
                    </a:lnTo>
                    <a:lnTo>
                      <a:pt x="43" y="11"/>
                    </a:lnTo>
                    <a:lnTo>
                      <a:pt x="49" y="6"/>
                    </a:lnTo>
                    <a:lnTo>
                      <a:pt x="52" y="0"/>
                    </a:lnTo>
                    <a:lnTo>
                      <a:pt x="40" y="0"/>
                    </a:lnTo>
                    <a:lnTo>
                      <a:pt x="31" y="0"/>
                    </a:lnTo>
                    <a:lnTo>
                      <a:pt x="23" y="1"/>
                    </a:lnTo>
                    <a:lnTo>
                      <a:pt x="16" y="3"/>
                    </a:lnTo>
                    <a:lnTo>
                      <a:pt x="11" y="6"/>
                    </a:lnTo>
                    <a:lnTo>
                      <a:pt x="5" y="10"/>
                    </a:lnTo>
                    <a:lnTo>
                      <a:pt x="2" y="16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60" name="Freeform 60"/>
              <p:cNvSpPr>
                <a:spLocks/>
              </p:cNvSpPr>
              <p:nvPr/>
            </p:nvSpPr>
            <p:spPr bwMode="auto">
              <a:xfrm>
                <a:off x="1199" y="2131"/>
                <a:ext cx="11" cy="4"/>
              </a:xfrm>
              <a:custGeom>
                <a:avLst/>
                <a:gdLst>
                  <a:gd name="T0" fmla="*/ 0 w 33"/>
                  <a:gd name="T1" fmla="*/ 0 h 13"/>
                  <a:gd name="T2" fmla="*/ 0 w 33"/>
                  <a:gd name="T3" fmla="*/ 0 h 13"/>
                  <a:gd name="T4" fmla="*/ 0 w 33"/>
                  <a:gd name="T5" fmla="*/ 0 h 13"/>
                  <a:gd name="T6" fmla="*/ 0 w 33"/>
                  <a:gd name="T7" fmla="*/ 0 h 13"/>
                  <a:gd name="T8" fmla="*/ 0 w 33"/>
                  <a:gd name="T9" fmla="*/ 0 h 13"/>
                  <a:gd name="T10" fmla="*/ 0 w 33"/>
                  <a:gd name="T11" fmla="*/ 0 h 13"/>
                  <a:gd name="T12" fmla="*/ 0 w 33"/>
                  <a:gd name="T13" fmla="*/ 0 h 13"/>
                  <a:gd name="T14" fmla="*/ 0 w 33"/>
                  <a:gd name="T15" fmla="*/ 0 h 13"/>
                  <a:gd name="T16" fmla="*/ 0 w 33"/>
                  <a:gd name="T17" fmla="*/ 0 h 13"/>
                  <a:gd name="T18" fmla="*/ 0 w 33"/>
                  <a:gd name="T19" fmla="*/ 0 h 13"/>
                  <a:gd name="T20" fmla="*/ 0 w 33"/>
                  <a:gd name="T21" fmla="*/ 0 h 1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  <a:lnTo>
                      <a:pt x="9" y="13"/>
                    </a:lnTo>
                    <a:lnTo>
                      <a:pt x="16" y="13"/>
                    </a:lnTo>
                    <a:lnTo>
                      <a:pt x="24" y="11"/>
                    </a:lnTo>
                    <a:lnTo>
                      <a:pt x="33" y="6"/>
                    </a:lnTo>
                    <a:lnTo>
                      <a:pt x="24" y="3"/>
                    </a:lnTo>
                    <a:lnTo>
                      <a:pt x="16" y="1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61" name="Freeform 61"/>
              <p:cNvSpPr>
                <a:spLocks/>
              </p:cNvSpPr>
              <p:nvPr/>
            </p:nvSpPr>
            <p:spPr bwMode="auto">
              <a:xfrm>
                <a:off x="1210" y="2121"/>
                <a:ext cx="20" cy="28"/>
              </a:xfrm>
              <a:custGeom>
                <a:avLst/>
                <a:gdLst>
                  <a:gd name="T0" fmla="*/ 0 w 67"/>
                  <a:gd name="T1" fmla="*/ 0 h 86"/>
                  <a:gd name="T2" fmla="*/ 0 w 67"/>
                  <a:gd name="T3" fmla="*/ 0 h 86"/>
                  <a:gd name="T4" fmla="*/ 0 w 67"/>
                  <a:gd name="T5" fmla="*/ 0 h 86"/>
                  <a:gd name="T6" fmla="*/ 0 w 67"/>
                  <a:gd name="T7" fmla="*/ 0 h 86"/>
                  <a:gd name="T8" fmla="*/ 0 w 67"/>
                  <a:gd name="T9" fmla="*/ 0 h 86"/>
                  <a:gd name="T10" fmla="*/ 0 w 67"/>
                  <a:gd name="T11" fmla="*/ 0 h 86"/>
                  <a:gd name="T12" fmla="*/ 0 w 67"/>
                  <a:gd name="T13" fmla="*/ 0 h 86"/>
                  <a:gd name="T14" fmla="*/ 0 w 67"/>
                  <a:gd name="T15" fmla="*/ 0 h 86"/>
                  <a:gd name="T16" fmla="*/ 0 w 67"/>
                  <a:gd name="T17" fmla="*/ 0 h 86"/>
                  <a:gd name="T18" fmla="*/ 0 w 67"/>
                  <a:gd name="T19" fmla="*/ 0 h 86"/>
                  <a:gd name="T20" fmla="*/ 0 w 67"/>
                  <a:gd name="T21" fmla="*/ 0 h 86"/>
                  <a:gd name="T22" fmla="*/ 0 w 67"/>
                  <a:gd name="T23" fmla="*/ 0 h 86"/>
                  <a:gd name="T24" fmla="*/ 0 w 67"/>
                  <a:gd name="T25" fmla="*/ 0 h 86"/>
                  <a:gd name="T26" fmla="*/ 0 w 67"/>
                  <a:gd name="T27" fmla="*/ 0 h 86"/>
                  <a:gd name="T28" fmla="*/ 0 w 67"/>
                  <a:gd name="T29" fmla="*/ 0 h 86"/>
                  <a:gd name="T30" fmla="*/ 0 w 67"/>
                  <a:gd name="T31" fmla="*/ 0 h 86"/>
                  <a:gd name="T32" fmla="*/ 0 w 67"/>
                  <a:gd name="T33" fmla="*/ 0 h 86"/>
                  <a:gd name="T34" fmla="*/ 0 w 67"/>
                  <a:gd name="T35" fmla="*/ 0 h 86"/>
                  <a:gd name="T36" fmla="*/ 0 w 67"/>
                  <a:gd name="T37" fmla="*/ 0 h 86"/>
                  <a:gd name="T38" fmla="*/ 0 w 67"/>
                  <a:gd name="T39" fmla="*/ 0 h 86"/>
                  <a:gd name="T40" fmla="*/ 0 w 67"/>
                  <a:gd name="T41" fmla="*/ 0 h 86"/>
                  <a:gd name="T42" fmla="*/ 0 w 67"/>
                  <a:gd name="T43" fmla="*/ 0 h 86"/>
                  <a:gd name="T44" fmla="*/ 0 w 67"/>
                  <a:gd name="T45" fmla="*/ 0 h 86"/>
                  <a:gd name="T46" fmla="*/ 0 w 67"/>
                  <a:gd name="T47" fmla="*/ 0 h 86"/>
                  <a:gd name="T48" fmla="*/ 0 w 67"/>
                  <a:gd name="T49" fmla="*/ 0 h 86"/>
                  <a:gd name="T50" fmla="*/ 0 w 67"/>
                  <a:gd name="T51" fmla="*/ 0 h 86"/>
                  <a:gd name="T52" fmla="*/ 0 w 67"/>
                  <a:gd name="T53" fmla="*/ 0 h 86"/>
                  <a:gd name="T54" fmla="*/ 0 w 67"/>
                  <a:gd name="T55" fmla="*/ 0 h 86"/>
                  <a:gd name="T56" fmla="*/ 0 w 67"/>
                  <a:gd name="T57" fmla="*/ 0 h 8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67" h="86">
                    <a:moveTo>
                      <a:pt x="26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29" y="4"/>
                    </a:lnTo>
                    <a:lnTo>
                      <a:pt x="33" y="8"/>
                    </a:lnTo>
                    <a:lnTo>
                      <a:pt x="36" y="11"/>
                    </a:lnTo>
                    <a:lnTo>
                      <a:pt x="39" y="14"/>
                    </a:lnTo>
                    <a:lnTo>
                      <a:pt x="47" y="17"/>
                    </a:lnTo>
                    <a:lnTo>
                      <a:pt x="54" y="18"/>
                    </a:lnTo>
                    <a:lnTo>
                      <a:pt x="58" y="30"/>
                    </a:lnTo>
                    <a:lnTo>
                      <a:pt x="62" y="40"/>
                    </a:lnTo>
                    <a:lnTo>
                      <a:pt x="63" y="45"/>
                    </a:lnTo>
                    <a:lnTo>
                      <a:pt x="66" y="50"/>
                    </a:lnTo>
                    <a:lnTo>
                      <a:pt x="66" y="55"/>
                    </a:lnTo>
                    <a:lnTo>
                      <a:pt x="67" y="61"/>
                    </a:lnTo>
                    <a:lnTo>
                      <a:pt x="63" y="74"/>
                    </a:lnTo>
                    <a:lnTo>
                      <a:pt x="60" y="86"/>
                    </a:lnTo>
                    <a:lnTo>
                      <a:pt x="55" y="69"/>
                    </a:lnTo>
                    <a:lnTo>
                      <a:pt x="51" y="54"/>
                    </a:lnTo>
                    <a:lnTo>
                      <a:pt x="50" y="47"/>
                    </a:lnTo>
                    <a:lnTo>
                      <a:pt x="50" y="41"/>
                    </a:lnTo>
                    <a:lnTo>
                      <a:pt x="51" y="35"/>
                    </a:lnTo>
                    <a:lnTo>
                      <a:pt x="54" y="30"/>
                    </a:lnTo>
                    <a:lnTo>
                      <a:pt x="44" y="30"/>
                    </a:lnTo>
                    <a:lnTo>
                      <a:pt x="35" y="29"/>
                    </a:lnTo>
                    <a:lnTo>
                      <a:pt x="32" y="27"/>
                    </a:lnTo>
                    <a:lnTo>
                      <a:pt x="28" y="25"/>
                    </a:lnTo>
                    <a:lnTo>
                      <a:pt x="27" y="2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62" name="Freeform 62"/>
              <p:cNvSpPr>
                <a:spLocks/>
              </p:cNvSpPr>
              <p:nvPr/>
            </p:nvSpPr>
            <p:spPr bwMode="auto">
              <a:xfrm>
                <a:off x="1201" y="2159"/>
                <a:ext cx="16" cy="28"/>
              </a:xfrm>
              <a:custGeom>
                <a:avLst/>
                <a:gdLst>
                  <a:gd name="T0" fmla="*/ 0 w 49"/>
                  <a:gd name="T1" fmla="*/ 0 h 86"/>
                  <a:gd name="T2" fmla="*/ 0 w 49"/>
                  <a:gd name="T3" fmla="*/ 0 h 86"/>
                  <a:gd name="T4" fmla="*/ 0 w 49"/>
                  <a:gd name="T5" fmla="*/ 0 h 86"/>
                  <a:gd name="T6" fmla="*/ 0 w 49"/>
                  <a:gd name="T7" fmla="*/ 0 h 86"/>
                  <a:gd name="T8" fmla="*/ 0 w 49"/>
                  <a:gd name="T9" fmla="*/ 0 h 86"/>
                  <a:gd name="T10" fmla="*/ 0 w 49"/>
                  <a:gd name="T11" fmla="*/ 0 h 86"/>
                  <a:gd name="T12" fmla="*/ 0 w 49"/>
                  <a:gd name="T13" fmla="*/ 0 h 86"/>
                  <a:gd name="T14" fmla="*/ 0 w 49"/>
                  <a:gd name="T15" fmla="*/ 0 h 86"/>
                  <a:gd name="T16" fmla="*/ 0 w 49"/>
                  <a:gd name="T17" fmla="*/ 0 h 86"/>
                  <a:gd name="T18" fmla="*/ 0 w 49"/>
                  <a:gd name="T19" fmla="*/ 0 h 86"/>
                  <a:gd name="T20" fmla="*/ 0 w 49"/>
                  <a:gd name="T21" fmla="*/ 0 h 86"/>
                  <a:gd name="T22" fmla="*/ 0 w 49"/>
                  <a:gd name="T23" fmla="*/ 0 h 86"/>
                  <a:gd name="T24" fmla="*/ 0 w 49"/>
                  <a:gd name="T25" fmla="*/ 0 h 86"/>
                  <a:gd name="T26" fmla="*/ 0 w 49"/>
                  <a:gd name="T27" fmla="*/ 0 h 86"/>
                  <a:gd name="T28" fmla="*/ 0 w 49"/>
                  <a:gd name="T29" fmla="*/ 0 h 86"/>
                  <a:gd name="T30" fmla="*/ 0 w 49"/>
                  <a:gd name="T31" fmla="*/ 0 h 86"/>
                  <a:gd name="T32" fmla="*/ 0 w 49"/>
                  <a:gd name="T33" fmla="*/ 0 h 86"/>
                  <a:gd name="T34" fmla="*/ 0 w 49"/>
                  <a:gd name="T35" fmla="*/ 0 h 86"/>
                  <a:gd name="T36" fmla="*/ 0 w 49"/>
                  <a:gd name="T37" fmla="*/ 0 h 86"/>
                  <a:gd name="T38" fmla="*/ 0 w 49"/>
                  <a:gd name="T39" fmla="*/ 0 h 86"/>
                  <a:gd name="T40" fmla="*/ 0 w 49"/>
                  <a:gd name="T41" fmla="*/ 0 h 86"/>
                  <a:gd name="T42" fmla="*/ 0 w 49"/>
                  <a:gd name="T43" fmla="*/ 0 h 86"/>
                  <a:gd name="T44" fmla="*/ 0 w 49"/>
                  <a:gd name="T45" fmla="*/ 0 h 86"/>
                  <a:gd name="T46" fmla="*/ 0 w 49"/>
                  <a:gd name="T47" fmla="*/ 0 h 86"/>
                  <a:gd name="T48" fmla="*/ 0 w 49"/>
                  <a:gd name="T49" fmla="*/ 0 h 86"/>
                  <a:gd name="T50" fmla="*/ 0 w 49"/>
                  <a:gd name="T51" fmla="*/ 0 h 86"/>
                  <a:gd name="T52" fmla="*/ 0 w 49"/>
                  <a:gd name="T53" fmla="*/ 0 h 8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9" h="86">
                    <a:moveTo>
                      <a:pt x="27" y="12"/>
                    </a:moveTo>
                    <a:lnTo>
                      <a:pt x="20" y="6"/>
                    </a:lnTo>
                    <a:lnTo>
                      <a:pt x="14" y="0"/>
                    </a:lnTo>
                    <a:lnTo>
                      <a:pt x="9" y="5"/>
                    </a:lnTo>
                    <a:lnTo>
                      <a:pt x="5" y="13"/>
                    </a:lnTo>
                    <a:lnTo>
                      <a:pt x="1" y="21"/>
                    </a:lnTo>
                    <a:lnTo>
                      <a:pt x="0" y="30"/>
                    </a:lnTo>
                    <a:lnTo>
                      <a:pt x="0" y="36"/>
                    </a:lnTo>
                    <a:lnTo>
                      <a:pt x="3" y="43"/>
                    </a:lnTo>
                    <a:lnTo>
                      <a:pt x="5" y="50"/>
                    </a:lnTo>
                    <a:lnTo>
                      <a:pt x="8" y="58"/>
                    </a:lnTo>
                    <a:lnTo>
                      <a:pt x="12" y="66"/>
                    </a:lnTo>
                    <a:lnTo>
                      <a:pt x="17" y="74"/>
                    </a:lnTo>
                    <a:lnTo>
                      <a:pt x="22" y="80"/>
                    </a:lnTo>
                    <a:lnTo>
                      <a:pt x="27" y="86"/>
                    </a:lnTo>
                    <a:lnTo>
                      <a:pt x="31" y="79"/>
                    </a:lnTo>
                    <a:lnTo>
                      <a:pt x="37" y="69"/>
                    </a:lnTo>
                    <a:lnTo>
                      <a:pt x="42" y="57"/>
                    </a:lnTo>
                    <a:lnTo>
                      <a:pt x="46" y="45"/>
                    </a:lnTo>
                    <a:lnTo>
                      <a:pt x="49" y="39"/>
                    </a:lnTo>
                    <a:lnTo>
                      <a:pt x="49" y="33"/>
                    </a:lnTo>
                    <a:lnTo>
                      <a:pt x="49" y="26"/>
                    </a:lnTo>
                    <a:lnTo>
                      <a:pt x="48" y="22"/>
                    </a:lnTo>
                    <a:lnTo>
                      <a:pt x="44" y="18"/>
                    </a:lnTo>
                    <a:lnTo>
                      <a:pt x="40" y="15"/>
                    </a:lnTo>
                    <a:lnTo>
                      <a:pt x="34" y="13"/>
                    </a:lnTo>
                    <a:lnTo>
                      <a:pt x="27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63" name="Freeform 63"/>
              <p:cNvSpPr>
                <a:spLocks/>
              </p:cNvSpPr>
              <p:nvPr/>
            </p:nvSpPr>
            <p:spPr bwMode="auto">
              <a:xfrm>
                <a:off x="1226" y="2161"/>
                <a:ext cx="2" cy="4"/>
              </a:xfrm>
              <a:custGeom>
                <a:avLst/>
                <a:gdLst>
                  <a:gd name="T0" fmla="*/ 0 w 6"/>
                  <a:gd name="T1" fmla="*/ 0 h 12"/>
                  <a:gd name="T2" fmla="*/ 0 w 6"/>
                  <a:gd name="T3" fmla="*/ 0 h 12"/>
                  <a:gd name="T4" fmla="*/ 0 w 6"/>
                  <a:gd name="T5" fmla="*/ 0 h 12"/>
                  <a:gd name="T6" fmla="*/ 0 w 6"/>
                  <a:gd name="T7" fmla="*/ 0 h 12"/>
                  <a:gd name="T8" fmla="*/ 0 w 6"/>
                  <a:gd name="T9" fmla="*/ 0 h 12"/>
                  <a:gd name="T10" fmla="*/ 0 w 6"/>
                  <a:gd name="T11" fmla="*/ 0 h 12"/>
                  <a:gd name="T12" fmla="*/ 0 w 6"/>
                  <a:gd name="T13" fmla="*/ 0 h 12"/>
                  <a:gd name="T14" fmla="*/ 0 w 6"/>
                  <a:gd name="T15" fmla="*/ 0 h 1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6" h="12">
                    <a:moveTo>
                      <a:pt x="0" y="12"/>
                    </a:moveTo>
                    <a:lnTo>
                      <a:pt x="6" y="0"/>
                    </a:lnTo>
                    <a:lnTo>
                      <a:pt x="4" y="0"/>
                    </a:lnTo>
                    <a:lnTo>
                      <a:pt x="2" y="2"/>
                    </a:lnTo>
                    <a:lnTo>
                      <a:pt x="1" y="4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64" name="Freeform 64"/>
              <p:cNvSpPr>
                <a:spLocks/>
              </p:cNvSpPr>
              <p:nvPr/>
            </p:nvSpPr>
            <p:spPr bwMode="auto">
              <a:xfrm>
                <a:off x="1230" y="2154"/>
                <a:ext cx="13" cy="15"/>
              </a:xfrm>
              <a:custGeom>
                <a:avLst/>
                <a:gdLst>
                  <a:gd name="T0" fmla="*/ 0 w 39"/>
                  <a:gd name="T1" fmla="*/ 0 h 48"/>
                  <a:gd name="T2" fmla="*/ 0 w 39"/>
                  <a:gd name="T3" fmla="*/ 0 h 48"/>
                  <a:gd name="T4" fmla="*/ 0 w 39"/>
                  <a:gd name="T5" fmla="*/ 0 h 48"/>
                  <a:gd name="T6" fmla="*/ 0 w 39"/>
                  <a:gd name="T7" fmla="*/ 0 h 48"/>
                  <a:gd name="T8" fmla="*/ 0 w 39"/>
                  <a:gd name="T9" fmla="*/ 0 h 48"/>
                  <a:gd name="T10" fmla="*/ 0 w 39"/>
                  <a:gd name="T11" fmla="*/ 0 h 48"/>
                  <a:gd name="T12" fmla="*/ 0 w 39"/>
                  <a:gd name="T13" fmla="*/ 0 h 48"/>
                  <a:gd name="T14" fmla="*/ 0 w 39"/>
                  <a:gd name="T15" fmla="*/ 0 h 48"/>
                  <a:gd name="T16" fmla="*/ 0 w 39"/>
                  <a:gd name="T17" fmla="*/ 0 h 48"/>
                  <a:gd name="T18" fmla="*/ 0 w 39"/>
                  <a:gd name="T19" fmla="*/ 0 h 48"/>
                  <a:gd name="T20" fmla="*/ 0 w 39"/>
                  <a:gd name="T21" fmla="*/ 0 h 48"/>
                  <a:gd name="T22" fmla="*/ 0 w 39"/>
                  <a:gd name="T23" fmla="*/ 0 h 48"/>
                  <a:gd name="T24" fmla="*/ 0 w 39"/>
                  <a:gd name="T25" fmla="*/ 0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48">
                    <a:moveTo>
                      <a:pt x="0" y="0"/>
                    </a:moveTo>
                    <a:lnTo>
                      <a:pt x="11" y="9"/>
                    </a:lnTo>
                    <a:lnTo>
                      <a:pt x="22" y="17"/>
                    </a:lnTo>
                    <a:lnTo>
                      <a:pt x="32" y="24"/>
                    </a:lnTo>
                    <a:lnTo>
                      <a:pt x="39" y="30"/>
                    </a:lnTo>
                    <a:lnTo>
                      <a:pt x="36" y="39"/>
                    </a:lnTo>
                    <a:lnTo>
                      <a:pt x="33" y="48"/>
                    </a:lnTo>
                    <a:lnTo>
                      <a:pt x="18" y="36"/>
                    </a:lnTo>
                    <a:lnTo>
                      <a:pt x="8" y="26"/>
                    </a:lnTo>
                    <a:lnTo>
                      <a:pt x="4" y="21"/>
                    </a:lnTo>
                    <a:lnTo>
                      <a:pt x="2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65" name="Freeform 65"/>
              <p:cNvSpPr>
                <a:spLocks/>
              </p:cNvSpPr>
              <p:nvPr/>
            </p:nvSpPr>
            <p:spPr bwMode="auto">
              <a:xfrm>
                <a:off x="1247" y="2167"/>
                <a:ext cx="6" cy="14"/>
              </a:xfrm>
              <a:custGeom>
                <a:avLst/>
                <a:gdLst>
                  <a:gd name="T0" fmla="*/ 0 w 16"/>
                  <a:gd name="T1" fmla="*/ 0 h 43"/>
                  <a:gd name="T2" fmla="*/ 0 w 16"/>
                  <a:gd name="T3" fmla="*/ 0 h 43"/>
                  <a:gd name="T4" fmla="*/ 0 w 16"/>
                  <a:gd name="T5" fmla="*/ 0 h 43"/>
                  <a:gd name="T6" fmla="*/ 0 w 16"/>
                  <a:gd name="T7" fmla="*/ 0 h 43"/>
                  <a:gd name="T8" fmla="*/ 0 w 16"/>
                  <a:gd name="T9" fmla="*/ 0 h 43"/>
                  <a:gd name="T10" fmla="*/ 0 w 16"/>
                  <a:gd name="T11" fmla="*/ 0 h 43"/>
                  <a:gd name="T12" fmla="*/ 0 w 16"/>
                  <a:gd name="T13" fmla="*/ 0 h 43"/>
                  <a:gd name="T14" fmla="*/ 0 w 16"/>
                  <a:gd name="T15" fmla="*/ 0 h 43"/>
                  <a:gd name="T16" fmla="*/ 0 w 16"/>
                  <a:gd name="T17" fmla="*/ 0 h 43"/>
                  <a:gd name="T18" fmla="*/ 0 w 16"/>
                  <a:gd name="T19" fmla="*/ 0 h 43"/>
                  <a:gd name="T20" fmla="*/ 0 w 16"/>
                  <a:gd name="T21" fmla="*/ 0 h 43"/>
                  <a:gd name="T22" fmla="*/ 0 w 16"/>
                  <a:gd name="T23" fmla="*/ 0 h 43"/>
                  <a:gd name="T24" fmla="*/ 0 w 16"/>
                  <a:gd name="T25" fmla="*/ 0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6" h="43">
                    <a:moveTo>
                      <a:pt x="7" y="0"/>
                    </a:moveTo>
                    <a:lnTo>
                      <a:pt x="11" y="9"/>
                    </a:lnTo>
                    <a:lnTo>
                      <a:pt x="15" y="16"/>
                    </a:lnTo>
                    <a:lnTo>
                      <a:pt x="16" y="22"/>
                    </a:lnTo>
                    <a:lnTo>
                      <a:pt x="16" y="27"/>
                    </a:lnTo>
                    <a:lnTo>
                      <a:pt x="15" y="31"/>
                    </a:lnTo>
                    <a:lnTo>
                      <a:pt x="11" y="35"/>
                    </a:lnTo>
                    <a:lnTo>
                      <a:pt x="7" y="39"/>
                    </a:lnTo>
                    <a:lnTo>
                      <a:pt x="0" y="43"/>
                    </a:lnTo>
                    <a:lnTo>
                      <a:pt x="2" y="28"/>
                    </a:lnTo>
                    <a:lnTo>
                      <a:pt x="4" y="18"/>
                    </a:lnTo>
                    <a:lnTo>
                      <a:pt x="6" y="9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66" name="Freeform 66"/>
              <p:cNvSpPr>
                <a:spLocks/>
              </p:cNvSpPr>
              <p:nvPr/>
            </p:nvSpPr>
            <p:spPr bwMode="auto">
              <a:xfrm>
                <a:off x="1248" y="2190"/>
                <a:ext cx="8" cy="12"/>
              </a:xfrm>
              <a:custGeom>
                <a:avLst/>
                <a:gdLst>
                  <a:gd name="T0" fmla="*/ 0 w 24"/>
                  <a:gd name="T1" fmla="*/ 0 h 37"/>
                  <a:gd name="T2" fmla="*/ 0 w 24"/>
                  <a:gd name="T3" fmla="*/ 0 h 37"/>
                  <a:gd name="T4" fmla="*/ 0 w 24"/>
                  <a:gd name="T5" fmla="*/ 0 h 37"/>
                  <a:gd name="T6" fmla="*/ 0 w 24"/>
                  <a:gd name="T7" fmla="*/ 0 h 37"/>
                  <a:gd name="T8" fmla="*/ 0 w 24"/>
                  <a:gd name="T9" fmla="*/ 0 h 37"/>
                  <a:gd name="T10" fmla="*/ 0 w 24"/>
                  <a:gd name="T11" fmla="*/ 0 h 37"/>
                  <a:gd name="T12" fmla="*/ 0 w 24"/>
                  <a:gd name="T13" fmla="*/ 0 h 37"/>
                  <a:gd name="T14" fmla="*/ 0 w 24"/>
                  <a:gd name="T15" fmla="*/ 0 h 37"/>
                  <a:gd name="T16" fmla="*/ 0 w 24"/>
                  <a:gd name="T17" fmla="*/ 0 h 37"/>
                  <a:gd name="T18" fmla="*/ 0 w 24"/>
                  <a:gd name="T19" fmla="*/ 0 h 37"/>
                  <a:gd name="T20" fmla="*/ 0 w 24"/>
                  <a:gd name="T21" fmla="*/ 0 h 37"/>
                  <a:gd name="T22" fmla="*/ 0 w 24"/>
                  <a:gd name="T23" fmla="*/ 0 h 37"/>
                  <a:gd name="T24" fmla="*/ 0 w 24"/>
                  <a:gd name="T25" fmla="*/ 0 h 37"/>
                  <a:gd name="T26" fmla="*/ 0 w 24"/>
                  <a:gd name="T27" fmla="*/ 0 h 37"/>
                  <a:gd name="T28" fmla="*/ 0 w 24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4" h="37">
                    <a:moveTo>
                      <a:pt x="24" y="36"/>
                    </a:moveTo>
                    <a:lnTo>
                      <a:pt x="19" y="27"/>
                    </a:lnTo>
                    <a:lnTo>
                      <a:pt x="15" y="18"/>
                    </a:lnTo>
                    <a:lnTo>
                      <a:pt x="12" y="9"/>
                    </a:lnTo>
                    <a:lnTo>
                      <a:pt x="11" y="0"/>
                    </a:lnTo>
                    <a:lnTo>
                      <a:pt x="6" y="10"/>
                    </a:lnTo>
                    <a:lnTo>
                      <a:pt x="3" y="19"/>
                    </a:lnTo>
                    <a:lnTo>
                      <a:pt x="1" y="26"/>
                    </a:lnTo>
                    <a:lnTo>
                      <a:pt x="0" y="31"/>
                    </a:lnTo>
                    <a:lnTo>
                      <a:pt x="1" y="33"/>
                    </a:lnTo>
                    <a:lnTo>
                      <a:pt x="2" y="35"/>
                    </a:lnTo>
                    <a:lnTo>
                      <a:pt x="4" y="36"/>
                    </a:lnTo>
                    <a:lnTo>
                      <a:pt x="6" y="37"/>
                    </a:lnTo>
                    <a:lnTo>
                      <a:pt x="14" y="37"/>
                    </a:lnTo>
                    <a:lnTo>
                      <a:pt x="24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67" name="Freeform 67"/>
              <p:cNvSpPr>
                <a:spLocks/>
              </p:cNvSpPr>
              <p:nvPr/>
            </p:nvSpPr>
            <p:spPr bwMode="auto">
              <a:xfrm>
                <a:off x="1265" y="2204"/>
                <a:ext cx="11" cy="17"/>
              </a:xfrm>
              <a:custGeom>
                <a:avLst/>
                <a:gdLst>
                  <a:gd name="T0" fmla="*/ 0 w 34"/>
                  <a:gd name="T1" fmla="*/ 0 h 55"/>
                  <a:gd name="T2" fmla="*/ 0 w 34"/>
                  <a:gd name="T3" fmla="*/ 0 h 55"/>
                  <a:gd name="T4" fmla="*/ 0 w 34"/>
                  <a:gd name="T5" fmla="*/ 0 h 55"/>
                  <a:gd name="T6" fmla="*/ 0 w 34"/>
                  <a:gd name="T7" fmla="*/ 0 h 55"/>
                  <a:gd name="T8" fmla="*/ 0 w 34"/>
                  <a:gd name="T9" fmla="*/ 0 h 55"/>
                  <a:gd name="T10" fmla="*/ 0 w 34"/>
                  <a:gd name="T11" fmla="*/ 0 h 55"/>
                  <a:gd name="T12" fmla="*/ 0 w 34"/>
                  <a:gd name="T13" fmla="*/ 0 h 55"/>
                  <a:gd name="T14" fmla="*/ 0 w 34"/>
                  <a:gd name="T15" fmla="*/ 0 h 55"/>
                  <a:gd name="T16" fmla="*/ 0 w 34"/>
                  <a:gd name="T17" fmla="*/ 0 h 55"/>
                  <a:gd name="T18" fmla="*/ 0 w 34"/>
                  <a:gd name="T19" fmla="*/ 0 h 55"/>
                  <a:gd name="T20" fmla="*/ 0 w 34"/>
                  <a:gd name="T21" fmla="*/ 0 h 55"/>
                  <a:gd name="T22" fmla="*/ 0 w 34"/>
                  <a:gd name="T23" fmla="*/ 0 h 55"/>
                  <a:gd name="T24" fmla="*/ 0 w 34"/>
                  <a:gd name="T25" fmla="*/ 0 h 55"/>
                  <a:gd name="T26" fmla="*/ 0 w 34"/>
                  <a:gd name="T27" fmla="*/ 0 h 55"/>
                  <a:gd name="T28" fmla="*/ 0 w 34"/>
                  <a:gd name="T29" fmla="*/ 0 h 55"/>
                  <a:gd name="T30" fmla="*/ 0 w 34"/>
                  <a:gd name="T31" fmla="*/ 0 h 55"/>
                  <a:gd name="T32" fmla="*/ 0 w 34"/>
                  <a:gd name="T33" fmla="*/ 0 h 5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34" h="55">
                    <a:moveTo>
                      <a:pt x="34" y="0"/>
                    </a:moveTo>
                    <a:lnTo>
                      <a:pt x="34" y="13"/>
                    </a:lnTo>
                    <a:lnTo>
                      <a:pt x="34" y="25"/>
                    </a:lnTo>
                    <a:lnTo>
                      <a:pt x="33" y="32"/>
                    </a:lnTo>
                    <a:lnTo>
                      <a:pt x="31" y="38"/>
                    </a:lnTo>
                    <a:lnTo>
                      <a:pt x="29" y="43"/>
                    </a:lnTo>
                    <a:lnTo>
                      <a:pt x="24" y="47"/>
                    </a:lnTo>
                    <a:lnTo>
                      <a:pt x="20" y="51"/>
                    </a:lnTo>
                    <a:lnTo>
                      <a:pt x="14" y="53"/>
                    </a:lnTo>
                    <a:lnTo>
                      <a:pt x="8" y="55"/>
                    </a:lnTo>
                    <a:lnTo>
                      <a:pt x="0" y="55"/>
                    </a:lnTo>
                    <a:lnTo>
                      <a:pt x="9" y="36"/>
                    </a:lnTo>
                    <a:lnTo>
                      <a:pt x="14" y="21"/>
                    </a:lnTo>
                    <a:lnTo>
                      <a:pt x="18" y="16"/>
                    </a:lnTo>
                    <a:lnTo>
                      <a:pt x="22" y="10"/>
                    </a:lnTo>
                    <a:lnTo>
                      <a:pt x="28" y="5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68" name="Freeform 68"/>
              <p:cNvSpPr>
                <a:spLocks/>
              </p:cNvSpPr>
              <p:nvPr/>
            </p:nvSpPr>
            <p:spPr bwMode="auto">
              <a:xfrm>
                <a:off x="1285" y="2215"/>
                <a:ext cx="11" cy="4"/>
              </a:xfrm>
              <a:custGeom>
                <a:avLst/>
                <a:gdLst>
                  <a:gd name="T0" fmla="*/ 0 w 33"/>
                  <a:gd name="T1" fmla="*/ 0 h 12"/>
                  <a:gd name="T2" fmla="*/ 0 w 33"/>
                  <a:gd name="T3" fmla="*/ 0 h 12"/>
                  <a:gd name="T4" fmla="*/ 0 w 33"/>
                  <a:gd name="T5" fmla="*/ 0 h 12"/>
                  <a:gd name="T6" fmla="*/ 0 w 33"/>
                  <a:gd name="T7" fmla="*/ 0 h 12"/>
                  <a:gd name="T8" fmla="*/ 0 w 33"/>
                  <a:gd name="T9" fmla="*/ 0 h 12"/>
                  <a:gd name="T10" fmla="*/ 0 w 33"/>
                  <a:gd name="T11" fmla="*/ 0 h 12"/>
                  <a:gd name="T12" fmla="*/ 0 w 33"/>
                  <a:gd name="T13" fmla="*/ 0 h 12"/>
                  <a:gd name="T14" fmla="*/ 0 w 33"/>
                  <a:gd name="T15" fmla="*/ 0 h 12"/>
                  <a:gd name="T16" fmla="*/ 0 w 33"/>
                  <a:gd name="T17" fmla="*/ 0 h 12"/>
                  <a:gd name="T18" fmla="*/ 0 w 33"/>
                  <a:gd name="T19" fmla="*/ 0 h 12"/>
                  <a:gd name="T20" fmla="*/ 0 w 33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12">
                    <a:moveTo>
                      <a:pt x="0" y="0"/>
                    </a:moveTo>
                    <a:lnTo>
                      <a:pt x="2" y="4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14" y="11"/>
                    </a:lnTo>
                    <a:lnTo>
                      <a:pt x="23" y="12"/>
                    </a:lnTo>
                    <a:lnTo>
                      <a:pt x="33" y="12"/>
                    </a:lnTo>
                    <a:lnTo>
                      <a:pt x="28" y="8"/>
                    </a:lnTo>
                    <a:lnTo>
                      <a:pt x="19" y="4"/>
                    </a:lnTo>
                    <a:lnTo>
                      <a:pt x="10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  <p:sp>
          <p:nvSpPr>
            <p:cNvPr id="25685" name="Freeform 69"/>
            <p:cNvSpPr>
              <a:spLocks/>
            </p:cNvSpPr>
            <p:nvPr>
              <p:custDataLst>
                <p:tags r:id="rId70"/>
              </p:custDataLst>
            </p:nvPr>
          </p:nvSpPr>
          <p:spPr bwMode="auto">
            <a:xfrm>
              <a:off x="10022519" y="4915339"/>
              <a:ext cx="12700" cy="57150"/>
            </a:xfrm>
            <a:custGeom>
              <a:avLst/>
              <a:gdLst>
                <a:gd name="T0" fmla="*/ 0 w 33"/>
                <a:gd name="T1" fmla="*/ 2147483647 h 62"/>
                <a:gd name="T2" fmla="*/ 0 w 33"/>
                <a:gd name="T3" fmla="*/ 2147483647 h 62"/>
                <a:gd name="T4" fmla="*/ 0 w 33"/>
                <a:gd name="T5" fmla="*/ 2147483647 h 62"/>
                <a:gd name="T6" fmla="*/ 0 w 33"/>
                <a:gd name="T7" fmla="*/ 2147483647 h 62"/>
                <a:gd name="T8" fmla="*/ 0 w 33"/>
                <a:gd name="T9" fmla="*/ 2147483647 h 62"/>
                <a:gd name="T10" fmla="*/ 0 w 33"/>
                <a:gd name="T11" fmla="*/ 2147483647 h 62"/>
                <a:gd name="T12" fmla="*/ 2147483647 w 33"/>
                <a:gd name="T13" fmla="*/ 2147483647 h 62"/>
                <a:gd name="T14" fmla="*/ 2147483647 w 33"/>
                <a:gd name="T15" fmla="*/ 2147483647 h 62"/>
                <a:gd name="T16" fmla="*/ 2147483647 w 33"/>
                <a:gd name="T17" fmla="*/ 2147483647 h 62"/>
                <a:gd name="T18" fmla="*/ 2147483647 w 33"/>
                <a:gd name="T19" fmla="*/ 2147483647 h 62"/>
                <a:gd name="T20" fmla="*/ 2147483647 w 33"/>
                <a:gd name="T21" fmla="*/ 0 h 62"/>
                <a:gd name="T22" fmla="*/ 2147483647 w 33"/>
                <a:gd name="T23" fmla="*/ 2147483647 h 62"/>
                <a:gd name="T24" fmla="*/ 2147483647 w 33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3" h="62">
                  <a:moveTo>
                    <a:pt x="0" y="62"/>
                  </a:moveTo>
                  <a:lnTo>
                    <a:pt x="0" y="53"/>
                  </a:lnTo>
                  <a:lnTo>
                    <a:pt x="0" y="45"/>
                  </a:lnTo>
                  <a:lnTo>
                    <a:pt x="0" y="37"/>
                  </a:lnTo>
                  <a:lnTo>
                    <a:pt x="0" y="31"/>
                  </a:lnTo>
                  <a:lnTo>
                    <a:pt x="0" y="26"/>
                  </a:lnTo>
                  <a:lnTo>
                    <a:pt x="2" y="22"/>
                  </a:lnTo>
                  <a:lnTo>
                    <a:pt x="4" y="17"/>
                  </a:lnTo>
                  <a:lnTo>
                    <a:pt x="8" y="13"/>
                  </a:lnTo>
                  <a:lnTo>
                    <a:pt x="14" y="6"/>
                  </a:lnTo>
                  <a:lnTo>
                    <a:pt x="20" y="0"/>
                  </a:lnTo>
                  <a:lnTo>
                    <a:pt x="26" y="6"/>
                  </a:lnTo>
                  <a:lnTo>
                    <a:pt x="33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86" name="Freeform 70"/>
            <p:cNvSpPr>
              <a:spLocks/>
            </p:cNvSpPr>
            <p:nvPr>
              <p:custDataLst>
                <p:tags r:id="rId71"/>
              </p:custDataLst>
            </p:nvPr>
          </p:nvSpPr>
          <p:spPr bwMode="auto">
            <a:xfrm>
              <a:off x="10032044" y="5005827"/>
              <a:ext cx="9525" cy="58737"/>
            </a:xfrm>
            <a:custGeom>
              <a:avLst/>
              <a:gdLst>
                <a:gd name="T0" fmla="*/ 0 w 26"/>
                <a:gd name="T1" fmla="*/ 2147483647 h 18"/>
                <a:gd name="T2" fmla="*/ 0 w 26"/>
                <a:gd name="T3" fmla="*/ 0 h 18"/>
                <a:gd name="T4" fmla="*/ 2147483647 w 26"/>
                <a:gd name="T5" fmla="*/ 0 h 18"/>
                <a:gd name="T6" fmla="*/ 2147483647 w 26"/>
                <a:gd name="T7" fmla="*/ 2147483647 h 18"/>
                <a:gd name="T8" fmla="*/ 2147483647 w 26"/>
                <a:gd name="T9" fmla="*/ 2147483647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6" h="18">
                  <a:moveTo>
                    <a:pt x="0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6" y="12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87" name="Freeform 71"/>
            <p:cNvSpPr>
              <a:spLocks/>
            </p:cNvSpPr>
            <p:nvPr>
              <p:custDataLst>
                <p:tags r:id="rId72"/>
              </p:custDataLst>
            </p:nvPr>
          </p:nvSpPr>
          <p:spPr bwMode="auto">
            <a:xfrm>
              <a:off x="10146344" y="4915339"/>
              <a:ext cx="77788" cy="130175"/>
            </a:xfrm>
            <a:custGeom>
              <a:avLst/>
              <a:gdLst>
                <a:gd name="T0" fmla="*/ 2147483647 w 180"/>
                <a:gd name="T1" fmla="*/ 2147483647 h 240"/>
                <a:gd name="T2" fmla="*/ 2147483647 w 180"/>
                <a:gd name="T3" fmla="*/ 2147483647 h 240"/>
                <a:gd name="T4" fmla="*/ 2147483647 w 180"/>
                <a:gd name="T5" fmla="*/ 2147483647 h 240"/>
                <a:gd name="T6" fmla="*/ 2147483647 w 180"/>
                <a:gd name="T7" fmla="*/ 2147483647 h 240"/>
                <a:gd name="T8" fmla="*/ 2147483647 w 180"/>
                <a:gd name="T9" fmla="*/ 2147483647 h 240"/>
                <a:gd name="T10" fmla="*/ 2147483647 w 180"/>
                <a:gd name="T11" fmla="*/ 2147483647 h 240"/>
                <a:gd name="T12" fmla="*/ 2147483647 w 180"/>
                <a:gd name="T13" fmla="*/ 2147483647 h 240"/>
                <a:gd name="T14" fmla="*/ 2147483647 w 180"/>
                <a:gd name="T15" fmla="*/ 2147483647 h 240"/>
                <a:gd name="T16" fmla="*/ 2147483647 w 180"/>
                <a:gd name="T17" fmla="*/ 2147483647 h 240"/>
                <a:gd name="T18" fmla="*/ 2147483647 w 180"/>
                <a:gd name="T19" fmla="*/ 2147483647 h 240"/>
                <a:gd name="T20" fmla="*/ 2147483647 w 180"/>
                <a:gd name="T21" fmla="*/ 2147483647 h 240"/>
                <a:gd name="T22" fmla="*/ 2147483647 w 180"/>
                <a:gd name="T23" fmla="*/ 2147483647 h 240"/>
                <a:gd name="T24" fmla="*/ 2147483647 w 180"/>
                <a:gd name="T25" fmla="*/ 2147483647 h 240"/>
                <a:gd name="T26" fmla="*/ 2147483647 w 180"/>
                <a:gd name="T27" fmla="*/ 2147483647 h 240"/>
                <a:gd name="T28" fmla="*/ 2147483647 w 180"/>
                <a:gd name="T29" fmla="*/ 2147483647 h 240"/>
                <a:gd name="T30" fmla="*/ 2147483647 w 180"/>
                <a:gd name="T31" fmla="*/ 2147483647 h 240"/>
                <a:gd name="T32" fmla="*/ 2147483647 w 180"/>
                <a:gd name="T33" fmla="*/ 2147483647 h 240"/>
                <a:gd name="T34" fmla="*/ 2147483647 w 180"/>
                <a:gd name="T35" fmla="*/ 2147483647 h 240"/>
                <a:gd name="T36" fmla="*/ 2147483647 w 180"/>
                <a:gd name="T37" fmla="*/ 2147483647 h 240"/>
                <a:gd name="T38" fmla="*/ 2147483647 w 180"/>
                <a:gd name="T39" fmla="*/ 2147483647 h 240"/>
                <a:gd name="T40" fmla="*/ 2147483647 w 180"/>
                <a:gd name="T41" fmla="*/ 2147483647 h 240"/>
                <a:gd name="T42" fmla="*/ 2147483647 w 180"/>
                <a:gd name="T43" fmla="*/ 2147483647 h 240"/>
                <a:gd name="T44" fmla="*/ 2147483647 w 180"/>
                <a:gd name="T45" fmla="*/ 2147483647 h 240"/>
                <a:gd name="T46" fmla="*/ 2147483647 w 180"/>
                <a:gd name="T47" fmla="*/ 2147483647 h 240"/>
                <a:gd name="T48" fmla="*/ 2147483647 w 180"/>
                <a:gd name="T49" fmla="*/ 2147483647 h 240"/>
                <a:gd name="T50" fmla="*/ 2147483647 w 180"/>
                <a:gd name="T51" fmla="*/ 2147483647 h 240"/>
                <a:gd name="T52" fmla="*/ 2147483647 w 180"/>
                <a:gd name="T53" fmla="*/ 2147483647 h 240"/>
                <a:gd name="T54" fmla="*/ 2147483647 w 180"/>
                <a:gd name="T55" fmla="*/ 2147483647 h 240"/>
                <a:gd name="T56" fmla="*/ 0 w 180"/>
                <a:gd name="T57" fmla="*/ 2147483647 h 240"/>
                <a:gd name="T58" fmla="*/ 0 w 180"/>
                <a:gd name="T59" fmla="*/ 2147483647 h 240"/>
                <a:gd name="T60" fmla="*/ 0 w 180"/>
                <a:gd name="T61" fmla="*/ 2147483647 h 240"/>
                <a:gd name="T62" fmla="*/ 0 w 180"/>
                <a:gd name="T63" fmla="*/ 2147483647 h 240"/>
                <a:gd name="T64" fmla="*/ 0 w 180"/>
                <a:gd name="T65" fmla="*/ 0 h 240"/>
                <a:gd name="T66" fmla="*/ 2147483647 w 180"/>
                <a:gd name="T67" fmla="*/ 2147483647 h 240"/>
                <a:gd name="T68" fmla="*/ 2147483647 w 180"/>
                <a:gd name="T69" fmla="*/ 2147483647 h 240"/>
                <a:gd name="T70" fmla="*/ 2147483647 w 180"/>
                <a:gd name="T71" fmla="*/ 2147483647 h 240"/>
                <a:gd name="T72" fmla="*/ 2147483647 w 180"/>
                <a:gd name="T73" fmla="*/ 2147483647 h 240"/>
                <a:gd name="T74" fmla="*/ 2147483647 w 180"/>
                <a:gd name="T75" fmla="*/ 2147483647 h 240"/>
                <a:gd name="T76" fmla="*/ 2147483647 w 180"/>
                <a:gd name="T77" fmla="*/ 2147483647 h 240"/>
                <a:gd name="T78" fmla="*/ 2147483647 w 180"/>
                <a:gd name="T79" fmla="*/ 2147483647 h 240"/>
                <a:gd name="T80" fmla="*/ 2147483647 w 180"/>
                <a:gd name="T81" fmla="*/ 2147483647 h 240"/>
                <a:gd name="T82" fmla="*/ 2147483647 w 180"/>
                <a:gd name="T83" fmla="*/ 2147483647 h 240"/>
                <a:gd name="T84" fmla="*/ 2147483647 w 180"/>
                <a:gd name="T85" fmla="*/ 2147483647 h 240"/>
                <a:gd name="T86" fmla="*/ 2147483647 w 180"/>
                <a:gd name="T87" fmla="*/ 2147483647 h 240"/>
                <a:gd name="T88" fmla="*/ 2147483647 w 180"/>
                <a:gd name="T89" fmla="*/ 2147483647 h 240"/>
                <a:gd name="T90" fmla="*/ 2147483647 w 180"/>
                <a:gd name="T91" fmla="*/ 2147483647 h 240"/>
                <a:gd name="T92" fmla="*/ 2147483647 w 180"/>
                <a:gd name="T93" fmla="*/ 2147483647 h 240"/>
                <a:gd name="T94" fmla="*/ 2147483647 w 180"/>
                <a:gd name="T95" fmla="*/ 2147483647 h 240"/>
                <a:gd name="T96" fmla="*/ 2147483647 w 180"/>
                <a:gd name="T97" fmla="*/ 2147483647 h 240"/>
                <a:gd name="T98" fmla="*/ 2147483647 w 180"/>
                <a:gd name="T99" fmla="*/ 2147483647 h 240"/>
                <a:gd name="T100" fmla="*/ 2147483647 w 180"/>
                <a:gd name="T101" fmla="*/ 2147483647 h 240"/>
                <a:gd name="T102" fmla="*/ 2147483647 w 180"/>
                <a:gd name="T103" fmla="*/ 2147483647 h 240"/>
                <a:gd name="T104" fmla="*/ 2147483647 w 180"/>
                <a:gd name="T105" fmla="*/ 2147483647 h 2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80" h="240">
                  <a:moveTo>
                    <a:pt x="180" y="222"/>
                  </a:moveTo>
                  <a:lnTo>
                    <a:pt x="175" y="223"/>
                  </a:lnTo>
                  <a:lnTo>
                    <a:pt x="171" y="223"/>
                  </a:lnTo>
                  <a:lnTo>
                    <a:pt x="167" y="225"/>
                  </a:lnTo>
                  <a:lnTo>
                    <a:pt x="164" y="227"/>
                  </a:lnTo>
                  <a:lnTo>
                    <a:pt x="158" y="232"/>
                  </a:lnTo>
                  <a:lnTo>
                    <a:pt x="153" y="240"/>
                  </a:lnTo>
                  <a:lnTo>
                    <a:pt x="140" y="232"/>
                  </a:lnTo>
                  <a:lnTo>
                    <a:pt x="131" y="223"/>
                  </a:lnTo>
                  <a:lnTo>
                    <a:pt x="123" y="214"/>
                  </a:lnTo>
                  <a:lnTo>
                    <a:pt x="118" y="206"/>
                  </a:lnTo>
                  <a:lnTo>
                    <a:pt x="112" y="195"/>
                  </a:lnTo>
                  <a:lnTo>
                    <a:pt x="106" y="185"/>
                  </a:lnTo>
                  <a:lnTo>
                    <a:pt x="98" y="174"/>
                  </a:lnTo>
                  <a:lnTo>
                    <a:pt x="87" y="161"/>
                  </a:lnTo>
                  <a:lnTo>
                    <a:pt x="82" y="153"/>
                  </a:lnTo>
                  <a:lnTo>
                    <a:pt x="75" y="146"/>
                  </a:lnTo>
                  <a:lnTo>
                    <a:pt x="70" y="139"/>
                  </a:lnTo>
                  <a:lnTo>
                    <a:pt x="62" y="133"/>
                  </a:lnTo>
                  <a:lnTo>
                    <a:pt x="48" y="121"/>
                  </a:lnTo>
                  <a:lnTo>
                    <a:pt x="33" y="110"/>
                  </a:lnTo>
                  <a:lnTo>
                    <a:pt x="27" y="104"/>
                  </a:lnTo>
                  <a:lnTo>
                    <a:pt x="21" y="98"/>
                  </a:lnTo>
                  <a:lnTo>
                    <a:pt x="15" y="92"/>
                  </a:lnTo>
                  <a:lnTo>
                    <a:pt x="10" y="84"/>
                  </a:lnTo>
                  <a:lnTo>
                    <a:pt x="6" y="77"/>
                  </a:lnTo>
                  <a:lnTo>
                    <a:pt x="4" y="68"/>
                  </a:lnTo>
                  <a:lnTo>
                    <a:pt x="1" y="60"/>
                  </a:lnTo>
                  <a:lnTo>
                    <a:pt x="0" y="50"/>
                  </a:lnTo>
                  <a:lnTo>
                    <a:pt x="0" y="35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0" y="8"/>
                  </a:lnTo>
                  <a:lnTo>
                    <a:pt x="19" y="17"/>
                  </a:lnTo>
                  <a:lnTo>
                    <a:pt x="27" y="27"/>
                  </a:lnTo>
                  <a:lnTo>
                    <a:pt x="34" y="38"/>
                  </a:lnTo>
                  <a:lnTo>
                    <a:pt x="41" y="48"/>
                  </a:lnTo>
                  <a:lnTo>
                    <a:pt x="46" y="58"/>
                  </a:lnTo>
                  <a:lnTo>
                    <a:pt x="51" y="66"/>
                  </a:lnTo>
                  <a:lnTo>
                    <a:pt x="54" y="74"/>
                  </a:lnTo>
                  <a:lnTo>
                    <a:pt x="60" y="86"/>
                  </a:lnTo>
                  <a:lnTo>
                    <a:pt x="66" y="98"/>
                  </a:lnTo>
                  <a:lnTo>
                    <a:pt x="74" y="107"/>
                  </a:lnTo>
                  <a:lnTo>
                    <a:pt x="82" y="116"/>
                  </a:lnTo>
                  <a:lnTo>
                    <a:pt x="100" y="133"/>
                  </a:lnTo>
                  <a:lnTo>
                    <a:pt x="119" y="149"/>
                  </a:lnTo>
                  <a:lnTo>
                    <a:pt x="139" y="164"/>
                  </a:lnTo>
                  <a:lnTo>
                    <a:pt x="155" y="180"/>
                  </a:lnTo>
                  <a:lnTo>
                    <a:pt x="163" y="189"/>
                  </a:lnTo>
                  <a:lnTo>
                    <a:pt x="169" y="199"/>
                  </a:lnTo>
                  <a:lnTo>
                    <a:pt x="175" y="210"/>
                  </a:lnTo>
                  <a:lnTo>
                    <a:pt x="180" y="22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88" name="Freeform 72"/>
            <p:cNvSpPr>
              <a:spLocks/>
            </p:cNvSpPr>
            <p:nvPr>
              <p:custDataLst>
                <p:tags r:id="rId73"/>
              </p:custDataLst>
            </p:nvPr>
          </p:nvSpPr>
          <p:spPr bwMode="auto">
            <a:xfrm>
              <a:off x="10146344" y="4888352"/>
              <a:ext cx="14288" cy="57150"/>
            </a:xfrm>
            <a:custGeom>
              <a:avLst/>
              <a:gdLst>
                <a:gd name="T0" fmla="*/ 0 w 27"/>
                <a:gd name="T1" fmla="*/ 0 h 30"/>
                <a:gd name="T2" fmla="*/ 2147483647 w 27"/>
                <a:gd name="T3" fmla="*/ 2147483647 h 30"/>
                <a:gd name="T4" fmla="*/ 2147483647 w 27"/>
                <a:gd name="T5" fmla="*/ 2147483647 h 30"/>
                <a:gd name="T6" fmla="*/ 2147483647 w 27"/>
                <a:gd name="T7" fmla="*/ 2147483647 h 30"/>
                <a:gd name="T8" fmla="*/ 2147483647 w 27"/>
                <a:gd name="T9" fmla="*/ 2147483647 h 30"/>
                <a:gd name="T10" fmla="*/ 2147483647 w 27"/>
                <a:gd name="T11" fmla="*/ 2147483647 h 30"/>
                <a:gd name="T12" fmla="*/ 0 w 27"/>
                <a:gd name="T13" fmla="*/ 2147483647 h 30"/>
                <a:gd name="T14" fmla="*/ 2147483647 w 27"/>
                <a:gd name="T15" fmla="*/ 2147483647 h 30"/>
                <a:gd name="T16" fmla="*/ 2147483647 w 27"/>
                <a:gd name="T17" fmla="*/ 2147483647 h 30"/>
                <a:gd name="T18" fmla="*/ 2147483647 w 27"/>
                <a:gd name="T19" fmla="*/ 2147483647 h 30"/>
                <a:gd name="T20" fmla="*/ 2147483647 w 27"/>
                <a:gd name="T21" fmla="*/ 2147483647 h 30"/>
                <a:gd name="T22" fmla="*/ 2147483647 w 27"/>
                <a:gd name="T23" fmla="*/ 2147483647 h 30"/>
                <a:gd name="T24" fmla="*/ 2147483647 w 27"/>
                <a:gd name="T25" fmla="*/ 2147483647 h 30"/>
                <a:gd name="T26" fmla="*/ 2147483647 w 27"/>
                <a:gd name="T27" fmla="*/ 2147483647 h 30"/>
                <a:gd name="T28" fmla="*/ 0 w 27"/>
                <a:gd name="T29" fmla="*/ 0 h 3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7" h="30">
                  <a:moveTo>
                    <a:pt x="0" y="0"/>
                  </a:moveTo>
                  <a:lnTo>
                    <a:pt x="1" y="5"/>
                  </a:lnTo>
                  <a:lnTo>
                    <a:pt x="3" y="11"/>
                  </a:lnTo>
                  <a:lnTo>
                    <a:pt x="4" y="14"/>
                  </a:lnTo>
                  <a:lnTo>
                    <a:pt x="4" y="19"/>
                  </a:lnTo>
                  <a:lnTo>
                    <a:pt x="3" y="24"/>
                  </a:lnTo>
                  <a:lnTo>
                    <a:pt x="0" y="30"/>
                  </a:lnTo>
                  <a:lnTo>
                    <a:pt x="17" y="27"/>
                  </a:lnTo>
                  <a:lnTo>
                    <a:pt x="27" y="24"/>
                  </a:lnTo>
                  <a:lnTo>
                    <a:pt x="23" y="20"/>
                  </a:lnTo>
                  <a:lnTo>
                    <a:pt x="17" y="12"/>
                  </a:lnTo>
                  <a:lnTo>
                    <a:pt x="11" y="8"/>
                  </a:lnTo>
                  <a:lnTo>
                    <a:pt x="7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1148" name="Group 73"/>
            <p:cNvGrpSpPr>
              <a:grpSpLocks/>
            </p:cNvGrpSpPr>
            <p:nvPr>
              <p:custDataLst>
                <p:tags r:id="rId74"/>
              </p:custDataLst>
            </p:nvPr>
          </p:nvGrpSpPr>
          <p:grpSpPr bwMode="auto">
            <a:xfrm>
              <a:off x="9836782" y="5409052"/>
              <a:ext cx="458787" cy="404812"/>
              <a:chOff x="5372" y="3323"/>
              <a:chExt cx="341" cy="253"/>
            </a:xfrm>
            <a:solidFill>
              <a:srgbClr val="FF0000"/>
            </a:solidFill>
          </p:grpSpPr>
          <p:sp>
            <p:nvSpPr>
              <p:cNvPr id="1602" name="Freeform 74"/>
              <p:cNvSpPr>
                <a:spLocks/>
              </p:cNvSpPr>
              <p:nvPr/>
            </p:nvSpPr>
            <p:spPr bwMode="auto">
              <a:xfrm>
                <a:off x="5372" y="3565"/>
                <a:ext cx="16" cy="11"/>
              </a:xfrm>
              <a:custGeom>
                <a:avLst/>
                <a:gdLst>
                  <a:gd name="T0" fmla="*/ 0 w 53"/>
                  <a:gd name="T1" fmla="*/ 31 h 33"/>
                  <a:gd name="T2" fmla="*/ 4 w 53"/>
                  <a:gd name="T3" fmla="*/ 26 h 33"/>
                  <a:gd name="T4" fmla="*/ 8 w 53"/>
                  <a:gd name="T5" fmla="*/ 21 h 33"/>
                  <a:gd name="T6" fmla="*/ 15 w 53"/>
                  <a:gd name="T7" fmla="*/ 16 h 33"/>
                  <a:gd name="T8" fmla="*/ 21 w 53"/>
                  <a:gd name="T9" fmla="*/ 11 h 33"/>
                  <a:gd name="T10" fmla="*/ 29 w 53"/>
                  <a:gd name="T11" fmla="*/ 7 h 33"/>
                  <a:gd name="T12" fmla="*/ 38 w 53"/>
                  <a:gd name="T13" fmla="*/ 3 h 33"/>
                  <a:gd name="T14" fmla="*/ 45 w 53"/>
                  <a:gd name="T15" fmla="*/ 1 h 33"/>
                  <a:gd name="T16" fmla="*/ 53 w 53"/>
                  <a:gd name="T17" fmla="*/ 0 h 33"/>
                  <a:gd name="T18" fmla="*/ 53 w 53"/>
                  <a:gd name="T19" fmla="*/ 18 h 33"/>
                  <a:gd name="T20" fmla="*/ 38 w 53"/>
                  <a:gd name="T21" fmla="*/ 24 h 33"/>
                  <a:gd name="T22" fmla="*/ 27 w 53"/>
                  <a:gd name="T23" fmla="*/ 30 h 33"/>
                  <a:gd name="T24" fmla="*/ 21 w 53"/>
                  <a:gd name="T25" fmla="*/ 32 h 33"/>
                  <a:gd name="T26" fmla="*/ 16 w 53"/>
                  <a:gd name="T27" fmla="*/ 33 h 33"/>
                  <a:gd name="T28" fmla="*/ 9 w 53"/>
                  <a:gd name="T29" fmla="*/ 33 h 33"/>
                  <a:gd name="T30" fmla="*/ 0 w 53"/>
                  <a:gd name="T31" fmla="*/ 31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3" h="33">
                    <a:moveTo>
                      <a:pt x="0" y="31"/>
                    </a:moveTo>
                    <a:lnTo>
                      <a:pt x="4" y="26"/>
                    </a:lnTo>
                    <a:lnTo>
                      <a:pt x="8" y="21"/>
                    </a:lnTo>
                    <a:lnTo>
                      <a:pt x="15" y="16"/>
                    </a:lnTo>
                    <a:lnTo>
                      <a:pt x="21" y="11"/>
                    </a:lnTo>
                    <a:lnTo>
                      <a:pt x="29" y="7"/>
                    </a:lnTo>
                    <a:lnTo>
                      <a:pt x="38" y="3"/>
                    </a:lnTo>
                    <a:lnTo>
                      <a:pt x="45" y="1"/>
                    </a:lnTo>
                    <a:lnTo>
                      <a:pt x="53" y="0"/>
                    </a:lnTo>
                    <a:lnTo>
                      <a:pt x="53" y="18"/>
                    </a:lnTo>
                    <a:lnTo>
                      <a:pt x="38" y="24"/>
                    </a:lnTo>
                    <a:lnTo>
                      <a:pt x="27" y="30"/>
                    </a:lnTo>
                    <a:lnTo>
                      <a:pt x="21" y="32"/>
                    </a:lnTo>
                    <a:lnTo>
                      <a:pt x="16" y="33"/>
                    </a:lnTo>
                    <a:lnTo>
                      <a:pt x="9" y="33"/>
                    </a:lnTo>
                    <a:lnTo>
                      <a:pt x="0" y="3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603" name="Freeform 75"/>
              <p:cNvSpPr>
                <a:spLocks/>
              </p:cNvSpPr>
              <p:nvPr/>
            </p:nvSpPr>
            <p:spPr bwMode="auto">
              <a:xfrm>
                <a:off x="5379" y="3446"/>
                <a:ext cx="202" cy="117"/>
              </a:xfrm>
              <a:custGeom>
                <a:avLst/>
                <a:gdLst>
                  <a:gd name="T0" fmla="*/ 24 w 631"/>
                  <a:gd name="T1" fmla="*/ 296 h 358"/>
                  <a:gd name="T2" fmla="*/ 50 w 631"/>
                  <a:gd name="T3" fmla="*/ 290 h 358"/>
                  <a:gd name="T4" fmla="*/ 65 w 631"/>
                  <a:gd name="T5" fmla="*/ 277 h 358"/>
                  <a:gd name="T6" fmla="*/ 79 w 631"/>
                  <a:gd name="T7" fmla="*/ 253 h 358"/>
                  <a:gd name="T8" fmla="*/ 100 w 631"/>
                  <a:gd name="T9" fmla="*/ 256 h 358"/>
                  <a:gd name="T10" fmla="*/ 126 w 631"/>
                  <a:gd name="T11" fmla="*/ 253 h 358"/>
                  <a:gd name="T12" fmla="*/ 141 w 631"/>
                  <a:gd name="T13" fmla="*/ 247 h 358"/>
                  <a:gd name="T14" fmla="*/ 162 w 631"/>
                  <a:gd name="T15" fmla="*/ 229 h 358"/>
                  <a:gd name="T16" fmla="*/ 180 w 631"/>
                  <a:gd name="T17" fmla="*/ 208 h 358"/>
                  <a:gd name="T18" fmla="*/ 211 w 631"/>
                  <a:gd name="T19" fmla="*/ 192 h 358"/>
                  <a:gd name="T20" fmla="*/ 260 w 631"/>
                  <a:gd name="T21" fmla="*/ 175 h 358"/>
                  <a:gd name="T22" fmla="*/ 329 w 631"/>
                  <a:gd name="T23" fmla="*/ 152 h 358"/>
                  <a:gd name="T24" fmla="*/ 361 w 631"/>
                  <a:gd name="T25" fmla="*/ 137 h 358"/>
                  <a:gd name="T26" fmla="*/ 392 w 631"/>
                  <a:gd name="T27" fmla="*/ 130 h 358"/>
                  <a:gd name="T28" fmla="*/ 406 w 631"/>
                  <a:gd name="T29" fmla="*/ 127 h 358"/>
                  <a:gd name="T30" fmla="*/ 440 w 631"/>
                  <a:gd name="T31" fmla="*/ 107 h 358"/>
                  <a:gd name="T32" fmla="*/ 469 w 631"/>
                  <a:gd name="T33" fmla="*/ 80 h 358"/>
                  <a:gd name="T34" fmla="*/ 478 w 631"/>
                  <a:gd name="T35" fmla="*/ 63 h 358"/>
                  <a:gd name="T36" fmla="*/ 504 w 631"/>
                  <a:gd name="T37" fmla="*/ 58 h 358"/>
                  <a:gd name="T38" fmla="*/ 537 w 631"/>
                  <a:gd name="T39" fmla="*/ 36 h 358"/>
                  <a:gd name="T40" fmla="*/ 568 w 631"/>
                  <a:gd name="T41" fmla="*/ 11 h 358"/>
                  <a:gd name="T42" fmla="*/ 591 w 631"/>
                  <a:gd name="T43" fmla="*/ 0 h 358"/>
                  <a:gd name="T44" fmla="*/ 602 w 631"/>
                  <a:gd name="T45" fmla="*/ 22 h 358"/>
                  <a:gd name="T46" fmla="*/ 617 w 631"/>
                  <a:gd name="T47" fmla="*/ 30 h 358"/>
                  <a:gd name="T48" fmla="*/ 625 w 631"/>
                  <a:gd name="T49" fmla="*/ 46 h 358"/>
                  <a:gd name="T50" fmla="*/ 601 w 631"/>
                  <a:gd name="T51" fmla="*/ 88 h 358"/>
                  <a:gd name="T52" fmla="*/ 568 w 631"/>
                  <a:gd name="T53" fmla="*/ 125 h 358"/>
                  <a:gd name="T54" fmla="*/ 529 w 631"/>
                  <a:gd name="T55" fmla="*/ 154 h 358"/>
                  <a:gd name="T56" fmla="*/ 487 w 631"/>
                  <a:gd name="T57" fmla="*/ 173 h 358"/>
                  <a:gd name="T58" fmla="*/ 445 w 631"/>
                  <a:gd name="T59" fmla="*/ 180 h 358"/>
                  <a:gd name="T60" fmla="*/ 438 w 631"/>
                  <a:gd name="T61" fmla="*/ 197 h 358"/>
                  <a:gd name="T62" fmla="*/ 433 w 631"/>
                  <a:gd name="T63" fmla="*/ 200 h 358"/>
                  <a:gd name="T64" fmla="*/ 395 w 631"/>
                  <a:gd name="T65" fmla="*/ 199 h 358"/>
                  <a:gd name="T66" fmla="*/ 367 w 631"/>
                  <a:gd name="T67" fmla="*/ 210 h 358"/>
                  <a:gd name="T68" fmla="*/ 347 w 631"/>
                  <a:gd name="T69" fmla="*/ 212 h 358"/>
                  <a:gd name="T70" fmla="*/ 338 w 631"/>
                  <a:gd name="T71" fmla="*/ 204 h 358"/>
                  <a:gd name="T72" fmla="*/ 313 w 631"/>
                  <a:gd name="T73" fmla="*/ 241 h 358"/>
                  <a:gd name="T74" fmla="*/ 272 w 631"/>
                  <a:gd name="T75" fmla="*/ 280 h 358"/>
                  <a:gd name="T76" fmla="*/ 220 w 631"/>
                  <a:gd name="T77" fmla="*/ 315 h 358"/>
                  <a:gd name="T78" fmla="*/ 164 w 631"/>
                  <a:gd name="T79" fmla="*/ 343 h 358"/>
                  <a:gd name="T80" fmla="*/ 110 w 631"/>
                  <a:gd name="T81" fmla="*/ 357 h 358"/>
                  <a:gd name="T82" fmla="*/ 71 w 631"/>
                  <a:gd name="T83" fmla="*/ 356 h 358"/>
                  <a:gd name="T84" fmla="*/ 56 w 631"/>
                  <a:gd name="T85" fmla="*/ 348 h 358"/>
                  <a:gd name="T86" fmla="*/ 33 w 631"/>
                  <a:gd name="T87" fmla="*/ 34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631" h="358">
                    <a:moveTo>
                      <a:pt x="0" y="327"/>
                    </a:moveTo>
                    <a:lnTo>
                      <a:pt x="7" y="297"/>
                    </a:lnTo>
                    <a:lnTo>
                      <a:pt x="24" y="296"/>
                    </a:lnTo>
                    <a:lnTo>
                      <a:pt x="39" y="293"/>
                    </a:lnTo>
                    <a:lnTo>
                      <a:pt x="44" y="292"/>
                    </a:lnTo>
                    <a:lnTo>
                      <a:pt x="50" y="290"/>
                    </a:lnTo>
                    <a:lnTo>
                      <a:pt x="54" y="287"/>
                    </a:lnTo>
                    <a:lnTo>
                      <a:pt x="58" y="285"/>
                    </a:lnTo>
                    <a:lnTo>
                      <a:pt x="65" y="277"/>
                    </a:lnTo>
                    <a:lnTo>
                      <a:pt x="70" y="270"/>
                    </a:lnTo>
                    <a:lnTo>
                      <a:pt x="75" y="262"/>
                    </a:lnTo>
                    <a:lnTo>
                      <a:pt x="79" y="253"/>
                    </a:lnTo>
                    <a:lnTo>
                      <a:pt x="87" y="255"/>
                    </a:lnTo>
                    <a:lnTo>
                      <a:pt x="93" y="256"/>
                    </a:lnTo>
                    <a:lnTo>
                      <a:pt x="100" y="256"/>
                    </a:lnTo>
                    <a:lnTo>
                      <a:pt x="106" y="256"/>
                    </a:lnTo>
                    <a:lnTo>
                      <a:pt x="116" y="254"/>
                    </a:lnTo>
                    <a:lnTo>
                      <a:pt x="126" y="253"/>
                    </a:lnTo>
                    <a:lnTo>
                      <a:pt x="131" y="252"/>
                    </a:lnTo>
                    <a:lnTo>
                      <a:pt x="136" y="250"/>
                    </a:lnTo>
                    <a:lnTo>
                      <a:pt x="141" y="247"/>
                    </a:lnTo>
                    <a:lnTo>
                      <a:pt x="145" y="244"/>
                    </a:lnTo>
                    <a:lnTo>
                      <a:pt x="153" y="237"/>
                    </a:lnTo>
                    <a:lnTo>
                      <a:pt x="162" y="229"/>
                    </a:lnTo>
                    <a:lnTo>
                      <a:pt x="168" y="220"/>
                    </a:lnTo>
                    <a:lnTo>
                      <a:pt x="175" y="213"/>
                    </a:lnTo>
                    <a:lnTo>
                      <a:pt x="180" y="208"/>
                    </a:lnTo>
                    <a:lnTo>
                      <a:pt x="186" y="204"/>
                    </a:lnTo>
                    <a:lnTo>
                      <a:pt x="199" y="198"/>
                    </a:lnTo>
                    <a:lnTo>
                      <a:pt x="211" y="192"/>
                    </a:lnTo>
                    <a:lnTo>
                      <a:pt x="223" y="187"/>
                    </a:lnTo>
                    <a:lnTo>
                      <a:pt x="235" y="182"/>
                    </a:lnTo>
                    <a:lnTo>
                      <a:pt x="260" y="175"/>
                    </a:lnTo>
                    <a:lnTo>
                      <a:pt x="283" y="167"/>
                    </a:lnTo>
                    <a:lnTo>
                      <a:pt x="308" y="160"/>
                    </a:lnTo>
                    <a:lnTo>
                      <a:pt x="329" y="152"/>
                    </a:lnTo>
                    <a:lnTo>
                      <a:pt x="340" y="147"/>
                    </a:lnTo>
                    <a:lnTo>
                      <a:pt x="351" y="142"/>
                    </a:lnTo>
                    <a:lnTo>
                      <a:pt x="361" y="137"/>
                    </a:lnTo>
                    <a:lnTo>
                      <a:pt x="372" y="130"/>
                    </a:lnTo>
                    <a:lnTo>
                      <a:pt x="382" y="130"/>
                    </a:lnTo>
                    <a:lnTo>
                      <a:pt x="392" y="130"/>
                    </a:lnTo>
                    <a:lnTo>
                      <a:pt x="396" y="130"/>
                    </a:lnTo>
                    <a:lnTo>
                      <a:pt x="401" y="129"/>
                    </a:lnTo>
                    <a:lnTo>
                      <a:pt x="406" y="127"/>
                    </a:lnTo>
                    <a:lnTo>
                      <a:pt x="413" y="124"/>
                    </a:lnTo>
                    <a:lnTo>
                      <a:pt x="426" y="117"/>
                    </a:lnTo>
                    <a:lnTo>
                      <a:pt x="440" y="107"/>
                    </a:lnTo>
                    <a:lnTo>
                      <a:pt x="454" y="97"/>
                    </a:lnTo>
                    <a:lnTo>
                      <a:pt x="465" y="86"/>
                    </a:lnTo>
                    <a:lnTo>
                      <a:pt x="469" y="80"/>
                    </a:lnTo>
                    <a:lnTo>
                      <a:pt x="473" y="74"/>
                    </a:lnTo>
                    <a:lnTo>
                      <a:pt x="477" y="69"/>
                    </a:lnTo>
                    <a:lnTo>
                      <a:pt x="478" y="63"/>
                    </a:lnTo>
                    <a:lnTo>
                      <a:pt x="488" y="62"/>
                    </a:lnTo>
                    <a:lnTo>
                      <a:pt x="496" y="61"/>
                    </a:lnTo>
                    <a:lnTo>
                      <a:pt x="504" y="58"/>
                    </a:lnTo>
                    <a:lnTo>
                      <a:pt x="512" y="54"/>
                    </a:lnTo>
                    <a:lnTo>
                      <a:pt x="525" y="46"/>
                    </a:lnTo>
                    <a:lnTo>
                      <a:pt x="537" y="36"/>
                    </a:lnTo>
                    <a:lnTo>
                      <a:pt x="549" y="26"/>
                    </a:lnTo>
                    <a:lnTo>
                      <a:pt x="561" y="16"/>
                    </a:lnTo>
                    <a:lnTo>
                      <a:pt x="568" y="11"/>
                    </a:lnTo>
                    <a:lnTo>
                      <a:pt x="575" y="7"/>
                    </a:lnTo>
                    <a:lnTo>
                      <a:pt x="583" y="4"/>
                    </a:lnTo>
                    <a:lnTo>
                      <a:pt x="591" y="0"/>
                    </a:lnTo>
                    <a:lnTo>
                      <a:pt x="594" y="10"/>
                    </a:lnTo>
                    <a:lnTo>
                      <a:pt x="597" y="16"/>
                    </a:lnTo>
                    <a:lnTo>
                      <a:pt x="602" y="22"/>
                    </a:lnTo>
                    <a:lnTo>
                      <a:pt x="606" y="25"/>
                    </a:lnTo>
                    <a:lnTo>
                      <a:pt x="612" y="28"/>
                    </a:lnTo>
                    <a:lnTo>
                      <a:pt x="617" y="30"/>
                    </a:lnTo>
                    <a:lnTo>
                      <a:pt x="624" y="31"/>
                    </a:lnTo>
                    <a:lnTo>
                      <a:pt x="631" y="31"/>
                    </a:lnTo>
                    <a:lnTo>
                      <a:pt x="625" y="46"/>
                    </a:lnTo>
                    <a:lnTo>
                      <a:pt x="618" y="61"/>
                    </a:lnTo>
                    <a:lnTo>
                      <a:pt x="611" y="75"/>
                    </a:lnTo>
                    <a:lnTo>
                      <a:pt x="601" y="88"/>
                    </a:lnTo>
                    <a:lnTo>
                      <a:pt x="591" y="101"/>
                    </a:lnTo>
                    <a:lnTo>
                      <a:pt x="580" y="114"/>
                    </a:lnTo>
                    <a:lnTo>
                      <a:pt x="568" y="125"/>
                    </a:lnTo>
                    <a:lnTo>
                      <a:pt x="556" y="136"/>
                    </a:lnTo>
                    <a:lnTo>
                      <a:pt x="543" y="145"/>
                    </a:lnTo>
                    <a:lnTo>
                      <a:pt x="529" y="154"/>
                    </a:lnTo>
                    <a:lnTo>
                      <a:pt x="515" y="161"/>
                    </a:lnTo>
                    <a:lnTo>
                      <a:pt x="501" y="167"/>
                    </a:lnTo>
                    <a:lnTo>
                      <a:pt x="487" y="173"/>
                    </a:lnTo>
                    <a:lnTo>
                      <a:pt x="473" y="177"/>
                    </a:lnTo>
                    <a:lnTo>
                      <a:pt x="459" y="179"/>
                    </a:lnTo>
                    <a:lnTo>
                      <a:pt x="445" y="180"/>
                    </a:lnTo>
                    <a:lnTo>
                      <a:pt x="443" y="189"/>
                    </a:lnTo>
                    <a:lnTo>
                      <a:pt x="439" y="195"/>
                    </a:lnTo>
                    <a:lnTo>
                      <a:pt x="438" y="197"/>
                    </a:lnTo>
                    <a:lnTo>
                      <a:pt x="436" y="199"/>
                    </a:lnTo>
                    <a:lnTo>
                      <a:pt x="435" y="200"/>
                    </a:lnTo>
                    <a:lnTo>
                      <a:pt x="433" y="200"/>
                    </a:lnTo>
                    <a:lnTo>
                      <a:pt x="422" y="199"/>
                    </a:lnTo>
                    <a:lnTo>
                      <a:pt x="405" y="198"/>
                    </a:lnTo>
                    <a:lnTo>
                      <a:pt x="395" y="199"/>
                    </a:lnTo>
                    <a:lnTo>
                      <a:pt x="385" y="202"/>
                    </a:lnTo>
                    <a:lnTo>
                      <a:pt x="376" y="206"/>
                    </a:lnTo>
                    <a:lnTo>
                      <a:pt x="367" y="210"/>
                    </a:lnTo>
                    <a:lnTo>
                      <a:pt x="358" y="213"/>
                    </a:lnTo>
                    <a:lnTo>
                      <a:pt x="351" y="213"/>
                    </a:lnTo>
                    <a:lnTo>
                      <a:pt x="347" y="212"/>
                    </a:lnTo>
                    <a:lnTo>
                      <a:pt x="344" y="211"/>
                    </a:lnTo>
                    <a:lnTo>
                      <a:pt x="342" y="208"/>
                    </a:lnTo>
                    <a:lnTo>
                      <a:pt x="338" y="204"/>
                    </a:lnTo>
                    <a:lnTo>
                      <a:pt x="333" y="216"/>
                    </a:lnTo>
                    <a:lnTo>
                      <a:pt x="324" y="229"/>
                    </a:lnTo>
                    <a:lnTo>
                      <a:pt x="313" y="241"/>
                    </a:lnTo>
                    <a:lnTo>
                      <a:pt x="301" y="254"/>
                    </a:lnTo>
                    <a:lnTo>
                      <a:pt x="288" y="267"/>
                    </a:lnTo>
                    <a:lnTo>
                      <a:pt x="272" y="280"/>
                    </a:lnTo>
                    <a:lnTo>
                      <a:pt x="256" y="293"/>
                    </a:lnTo>
                    <a:lnTo>
                      <a:pt x="238" y="304"/>
                    </a:lnTo>
                    <a:lnTo>
                      <a:pt x="220" y="315"/>
                    </a:lnTo>
                    <a:lnTo>
                      <a:pt x="202" y="325"/>
                    </a:lnTo>
                    <a:lnTo>
                      <a:pt x="182" y="334"/>
                    </a:lnTo>
                    <a:lnTo>
                      <a:pt x="164" y="343"/>
                    </a:lnTo>
                    <a:lnTo>
                      <a:pt x="145" y="349"/>
                    </a:lnTo>
                    <a:lnTo>
                      <a:pt x="127" y="354"/>
                    </a:lnTo>
                    <a:lnTo>
                      <a:pt x="110" y="357"/>
                    </a:lnTo>
                    <a:lnTo>
                      <a:pt x="93" y="358"/>
                    </a:lnTo>
                    <a:lnTo>
                      <a:pt x="80" y="358"/>
                    </a:lnTo>
                    <a:lnTo>
                      <a:pt x="71" y="356"/>
                    </a:lnTo>
                    <a:lnTo>
                      <a:pt x="65" y="354"/>
                    </a:lnTo>
                    <a:lnTo>
                      <a:pt x="60" y="351"/>
                    </a:lnTo>
                    <a:lnTo>
                      <a:pt x="56" y="348"/>
                    </a:lnTo>
                    <a:lnTo>
                      <a:pt x="51" y="345"/>
                    </a:lnTo>
                    <a:lnTo>
                      <a:pt x="44" y="343"/>
                    </a:lnTo>
                    <a:lnTo>
                      <a:pt x="33" y="340"/>
                    </a:lnTo>
                    <a:lnTo>
                      <a:pt x="0" y="3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604" name="Freeform 76"/>
              <p:cNvSpPr>
                <a:spLocks/>
              </p:cNvSpPr>
              <p:nvPr/>
            </p:nvSpPr>
            <p:spPr bwMode="auto">
              <a:xfrm>
                <a:off x="5597" y="3323"/>
                <a:ext cx="116" cy="141"/>
              </a:xfrm>
              <a:custGeom>
                <a:avLst/>
                <a:gdLst>
                  <a:gd name="T0" fmla="*/ 60 w 359"/>
                  <a:gd name="T1" fmla="*/ 288 h 431"/>
                  <a:gd name="T2" fmla="*/ 95 w 359"/>
                  <a:gd name="T3" fmla="*/ 269 h 431"/>
                  <a:gd name="T4" fmla="*/ 165 w 359"/>
                  <a:gd name="T5" fmla="*/ 209 h 431"/>
                  <a:gd name="T6" fmla="*/ 172 w 359"/>
                  <a:gd name="T7" fmla="*/ 168 h 431"/>
                  <a:gd name="T8" fmla="*/ 180 w 359"/>
                  <a:gd name="T9" fmla="*/ 149 h 431"/>
                  <a:gd name="T10" fmla="*/ 193 w 359"/>
                  <a:gd name="T11" fmla="*/ 137 h 431"/>
                  <a:gd name="T12" fmla="*/ 190 w 359"/>
                  <a:gd name="T13" fmla="*/ 126 h 431"/>
                  <a:gd name="T14" fmla="*/ 179 w 359"/>
                  <a:gd name="T15" fmla="*/ 94 h 431"/>
                  <a:gd name="T16" fmla="*/ 173 w 359"/>
                  <a:gd name="T17" fmla="*/ 34 h 431"/>
                  <a:gd name="T18" fmla="*/ 182 w 359"/>
                  <a:gd name="T19" fmla="*/ 0 h 431"/>
                  <a:gd name="T20" fmla="*/ 194 w 359"/>
                  <a:gd name="T21" fmla="*/ 11 h 431"/>
                  <a:gd name="T22" fmla="*/ 207 w 359"/>
                  <a:gd name="T23" fmla="*/ 29 h 431"/>
                  <a:gd name="T24" fmla="*/ 231 w 359"/>
                  <a:gd name="T25" fmla="*/ 56 h 431"/>
                  <a:gd name="T26" fmla="*/ 238 w 359"/>
                  <a:gd name="T27" fmla="*/ 73 h 431"/>
                  <a:gd name="T28" fmla="*/ 237 w 359"/>
                  <a:gd name="T29" fmla="*/ 88 h 431"/>
                  <a:gd name="T30" fmla="*/ 226 w 359"/>
                  <a:gd name="T31" fmla="*/ 102 h 431"/>
                  <a:gd name="T32" fmla="*/ 205 w 359"/>
                  <a:gd name="T33" fmla="*/ 120 h 431"/>
                  <a:gd name="T34" fmla="*/ 199 w 359"/>
                  <a:gd name="T35" fmla="*/ 131 h 431"/>
                  <a:gd name="T36" fmla="*/ 199 w 359"/>
                  <a:gd name="T37" fmla="*/ 149 h 431"/>
                  <a:gd name="T38" fmla="*/ 205 w 359"/>
                  <a:gd name="T39" fmla="*/ 159 h 431"/>
                  <a:gd name="T40" fmla="*/ 226 w 359"/>
                  <a:gd name="T41" fmla="*/ 160 h 431"/>
                  <a:gd name="T42" fmla="*/ 233 w 359"/>
                  <a:gd name="T43" fmla="*/ 153 h 431"/>
                  <a:gd name="T44" fmla="*/ 232 w 359"/>
                  <a:gd name="T45" fmla="*/ 135 h 431"/>
                  <a:gd name="T46" fmla="*/ 259 w 359"/>
                  <a:gd name="T47" fmla="*/ 193 h 431"/>
                  <a:gd name="T48" fmla="*/ 271 w 359"/>
                  <a:gd name="T49" fmla="*/ 208 h 431"/>
                  <a:gd name="T50" fmla="*/ 291 w 359"/>
                  <a:gd name="T51" fmla="*/ 219 h 431"/>
                  <a:gd name="T52" fmla="*/ 300 w 359"/>
                  <a:gd name="T53" fmla="*/ 217 h 431"/>
                  <a:gd name="T54" fmla="*/ 312 w 359"/>
                  <a:gd name="T55" fmla="*/ 206 h 431"/>
                  <a:gd name="T56" fmla="*/ 341 w 359"/>
                  <a:gd name="T57" fmla="*/ 194 h 431"/>
                  <a:gd name="T58" fmla="*/ 355 w 359"/>
                  <a:gd name="T59" fmla="*/ 206 h 431"/>
                  <a:gd name="T60" fmla="*/ 342 w 359"/>
                  <a:gd name="T61" fmla="*/ 240 h 431"/>
                  <a:gd name="T62" fmla="*/ 321 w 359"/>
                  <a:gd name="T63" fmla="*/ 261 h 431"/>
                  <a:gd name="T64" fmla="*/ 295 w 359"/>
                  <a:gd name="T65" fmla="*/ 275 h 431"/>
                  <a:gd name="T66" fmla="*/ 247 w 359"/>
                  <a:gd name="T67" fmla="*/ 288 h 431"/>
                  <a:gd name="T68" fmla="*/ 208 w 359"/>
                  <a:gd name="T69" fmla="*/ 299 h 431"/>
                  <a:gd name="T70" fmla="*/ 193 w 359"/>
                  <a:gd name="T71" fmla="*/ 308 h 431"/>
                  <a:gd name="T72" fmla="*/ 179 w 359"/>
                  <a:gd name="T73" fmla="*/ 339 h 431"/>
                  <a:gd name="T74" fmla="*/ 163 w 359"/>
                  <a:gd name="T75" fmla="*/ 356 h 431"/>
                  <a:gd name="T76" fmla="*/ 109 w 359"/>
                  <a:gd name="T77" fmla="*/ 394 h 431"/>
                  <a:gd name="T78" fmla="*/ 48 w 359"/>
                  <a:gd name="T79" fmla="*/ 424 h 431"/>
                  <a:gd name="T80" fmla="*/ 19 w 359"/>
                  <a:gd name="T81" fmla="*/ 431 h 431"/>
                  <a:gd name="T82" fmla="*/ 7 w 359"/>
                  <a:gd name="T83" fmla="*/ 426 h 431"/>
                  <a:gd name="T84" fmla="*/ 1 w 359"/>
                  <a:gd name="T85" fmla="*/ 415 h 431"/>
                  <a:gd name="T86" fmla="*/ 1 w 359"/>
                  <a:gd name="T87" fmla="*/ 402 h 431"/>
                  <a:gd name="T88" fmla="*/ 9 w 359"/>
                  <a:gd name="T89" fmla="*/ 391 h 431"/>
                  <a:gd name="T90" fmla="*/ 56 w 359"/>
                  <a:gd name="T91" fmla="*/ 374 h 431"/>
                  <a:gd name="T92" fmla="*/ 73 w 359"/>
                  <a:gd name="T93" fmla="*/ 351 h 431"/>
                  <a:gd name="T94" fmla="*/ 71 w 359"/>
                  <a:gd name="T95" fmla="*/ 335 h 431"/>
                  <a:gd name="T96" fmla="*/ 64 w 359"/>
                  <a:gd name="T97" fmla="*/ 326 h 431"/>
                  <a:gd name="T98" fmla="*/ 51 w 359"/>
                  <a:gd name="T99" fmla="*/ 320 h 431"/>
                  <a:gd name="T100" fmla="*/ 19 w 359"/>
                  <a:gd name="T101" fmla="*/ 320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59" h="431">
                    <a:moveTo>
                      <a:pt x="39" y="296"/>
                    </a:moveTo>
                    <a:lnTo>
                      <a:pt x="50" y="292"/>
                    </a:lnTo>
                    <a:lnTo>
                      <a:pt x="60" y="288"/>
                    </a:lnTo>
                    <a:lnTo>
                      <a:pt x="70" y="284"/>
                    </a:lnTo>
                    <a:lnTo>
                      <a:pt x="79" y="279"/>
                    </a:lnTo>
                    <a:lnTo>
                      <a:pt x="95" y="269"/>
                    </a:lnTo>
                    <a:lnTo>
                      <a:pt x="110" y="257"/>
                    </a:lnTo>
                    <a:lnTo>
                      <a:pt x="138" y="233"/>
                    </a:lnTo>
                    <a:lnTo>
                      <a:pt x="165" y="209"/>
                    </a:lnTo>
                    <a:lnTo>
                      <a:pt x="166" y="198"/>
                    </a:lnTo>
                    <a:lnTo>
                      <a:pt x="170" y="175"/>
                    </a:lnTo>
                    <a:lnTo>
                      <a:pt x="172" y="168"/>
                    </a:lnTo>
                    <a:lnTo>
                      <a:pt x="174" y="162"/>
                    </a:lnTo>
                    <a:lnTo>
                      <a:pt x="176" y="156"/>
                    </a:lnTo>
                    <a:lnTo>
                      <a:pt x="180" y="149"/>
                    </a:lnTo>
                    <a:lnTo>
                      <a:pt x="183" y="144"/>
                    </a:lnTo>
                    <a:lnTo>
                      <a:pt x="188" y="140"/>
                    </a:lnTo>
                    <a:lnTo>
                      <a:pt x="193" y="137"/>
                    </a:lnTo>
                    <a:lnTo>
                      <a:pt x="199" y="135"/>
                    </a:lnTo>
                    <a:lnTo>
                      <a:pt x="194" y="131"/>
                    </a:lnTo>
                    <a:lnTo>
                      <a:pt x="190" y="126"/>
                    </a:lnTo>
                    <a:lnTo>
                      <a:pt x="186" y="119"/>
                    </a:lnTo>
                    <a:lnTo>
                      <a:pt x="184" y="112"/>
                    </a:lnTo>
                    <a:lnTo>
                      <a:pt x="179" y="94"/>
                    </a:lnTo>
                    <a:lnTo>
                      <a:pt x="175" y="75"/>
                    </a:lnTo>
                    <a:lnTo>
                      <a:pt x="174" y="54"/>
                    </a:lnTo>
                    <a:lnTo>
                      <a:pt x="173" y="34"/>
                    </a:lnTo>
                    <a:lnTo>
                      <a:pt x="172" y="16"/>
                    </a:lnTo>
                    <a:lnTo>
                      <a:pt x="172" y="0"/>
                    </a:lnTo>
                    <a:lnTo>
                      <a:pt x="182" y="0"/>
                    </a:lnTo>
                    <a:lnTo>
                      <a:pt x="192" y="0"/>
                    </a:lnTo>
                    <a:lnTo>
                      <a:pt x="193" y="6"/>
                    </a:lnTo>
                    <a:lnTo>
                      <a:pt x="194" y="11"/>
                    </a:lnTo>
                    <a:lnTo>
                      <a:pt x="196" y="16"/>
                    </a:lnTo>
                    <a:lnTo>
                      <a:pt x="199" y="20"/>
                    </a:lnTo>
                    <a:lnTo>
                      <a:pt x="207" y="29"/>
                    </a:lnTo>
                    <a:lnTo>
                      <a:pt x="216" y="37"/>
                    </a:lnTo>
                    <a:lnTo>
                      <a:pt x="224" y="47"/>
                    </a:lnTo>
                    <a:lnTo>
                      <a:pt x="231" y="56"/>
                    </a:lnTo>
                    <a:lnTo>
                      <a:pt x="235" y="62"/>
                    </a:lnTo>
                    <a:lnTo>
                      <a:pt x="237" y="67"/>
                    </a:lnTo>
                    <a:lnTo>
                      <a:pt x="238" y="73"/>
                    </a:lnTo>
                    <a:lnTo>
                      <a:pt x="239" y="80"/>
                    </a:lnTo>
                    <a:lnTo>
                      <a:pt x="238" y="84"/>
                    </a:lnTo>
                    <a:lnTo>
                      <a:pt x="237" y="88"/>
                    </a:lnTo>
                    <a:lnTo>
                      <a:pt x="235" y="92"/>
                    </a:lnTo>
                    <a:lnTo>
                      <a:pt x="232" y="95"/>
                    </a:lnTo>
                    <a:lnTo>
                      <a:pt x="226" y="102"/>
                    </a:lnTo>
                    <a:lnTo>
                      <a:pt x="219" y="108"/>
                    </a:lnTo>
                    <a:lnTo>
                      <a:pt x="211" y="114"/>
                    </a:lnTo>
                    <a:lnTo>
                      <a:pt x="205" y="120"/>
                    </a:lnTo>
                    <a:lnTo>
                      <a:pt x="203" y="123"/>
                    </a:lnTo>
                    <a:lnTo>
                      <a:pt x="200" y="127"/>
                    </a:lnTo>
                    <a:lnTo>
                      <a:pt x="199" y="131"/>
                    </a:lnTo>
                    <a:lnTo>
                      <a:pt x="199" y="135"/>
                    </a:lnTo>
                    <a:lnTo>
                      <a:pt x="199" y="143"/>
                    </a:lnTo>
                    <a:lnTo>
                      <a:pt x="199" y="149"/>
                    </a:lnTo>
                    <a:lnTo>
                      <a:pt x="200" y="155"/>
                    </a:lnTo>
                    <a:lnTo>
                      <a:pt x="203" y="157"/>
                    </a:lnTo>
                    <a:lnTo>
                      <a:pt x="205" y="159"/>
                    </a:lnTo>
                    <a:lnTo>
                      <a:pt x="210" y="160"/>
                    </a:lnTo>
                    <a:lnTo>
                      <a:pt x="217" y="160"/>
                    </a:lnTo>
                    <a:lnTo>
                      <a:pt x="226" y="160"/>
                    </a:lnTo>
                    <a:lnTo>
                      <a:pt x="229" y="160"/>
                    </a:lnTo>
                    <a:lnTo>
                      <a:pt x="232" y="158"/>
                    </a:lnTo>
                    <a:lnTo>
                      <a:pt x="233" y="153"/>
                    </a:lnTo>
                    <a:lnTo>
                      <a:pt x="233" y="150"/>
                    </a:lnTo>
                    <a:lnTo>
                      <a:pt x="233" y="142"/>
                    </a:lnTo>
                    <a:lnTo>
                      <a:pt x="232" y="135"/>
                    </a:lnTo>
                    <a:lnTo>
                      <a:pt x="244" y="163"/>
                    </a:lnTo>
                    <a:lnTo>
                      <a:pt x="255" y="188"/>
                    </a:lnTo>
                    <a:lnTo>
                      <a:pt x="259" y="193"/>
                    </a:lnTo>
                    <a:lnTo>
                      <a:pt x="262" y="198"/>
                    </a:lnTo>
                    <a:lnTo>
                      <a:pt x="266" y="203"/>
                    </a:lnTo>
                    <a:lnTo>
                      <a:pt x="271" y="208"/>
                    </a:lnTo>
                    <a:lnTo>
                      <a:pt x="276" y="213"/>
                    </a:lnTo>
                    <a:lnTo>
                      <a:pt x="283" y="216"/>
                    </a:lnTo>
                    <a:lnTo>
                      <a:pt x="291" y="219"/>
                    </a:lnTo>
                    <a:lnTo>
                      <a:pt x="298" y="222"/>
                    </a:lnTo>
                    <a:lnTo>
                      <a:pt x="299" y="220"/>
                    </a:lnTo>
                    <a:lnTo>
                      <a:pt x="300" y="217"/>
                    </a:lnTo>
                    <a:lnTo>
                      <a:pt x="303" y="215"/>
                    </a:lnTo>
                    <a:lnTo>
                      <a:pt x="305" y="212"/>
                    </a:lnTo>
                    <a:lnTo>
                      <a:pt x="312" y="206"/>
                    </a:lnTo>
                    <a:lnTo>
                      <a:pt x="321" y="201"/>
                    </a:lnTo>
                    <a:lnTo>
                      <a:pt x="331" y="197"/>
                    </a:lnTo>
                    <a:lnTo>
                      <a:pt x="341" y="194"/>
                    </a:lnTo>
                    <a:lnTo>
                      <a:pt x="350" y="192"/>
                    </a:lnTo>
                    <a:lnTo>
                      <a:pt x="359" y="191"/>
                    </a:lnTo>
                    <a:lnTo>
                      <a:pt x="355" y="206"/>
                    </a:lnTo>
                    <a:lnTo>
                      <a:pt x="352" y="219"/>
                    </a:lnTo>
                    <a:lnTo>
                      <a:pt x="348" y="231"/>
                    </a:lnTo>
                    <a:lnTo>
                      <a:pt x="342" y="240"/>
                    </a:lnTo>
                    <a:lnTo>
                      <a:pt x="336" y="248"/>
                    </a:lnTo>
                    <a:lnTo>
                      <a:pt x="329" y="255"/>
                    </a:lnTo>
                    <a:lnTo>
                      <a:pt x="321" y="261"/>
                    </a:lnTo>
                    <a:lnTo>
                      <a:pt x="314" y="267"/>
                    </a:lnTo>
                    <a:lnTo>
                      <a:pt x="305" y="271"/>
                    </a:lnTo>
                    <a:lnTo>
                      <a:pt x="295" y="275"/>
                    </a:lnTo>
                    <a:lnTo>
                      <a:pt x="284" y="278"/>
                    </a:lnTo>
                    <a:lnTo>
                      <a:pt x="272" y="281"/>
                    </a:lnTo>
                    <a:lnTo>
                      <a:pt x="247" y="288"/>
                    </a:lnTo>
                    <a:lnTo>
                      <a:pt x="219" y="296"/>
                    </a:lnTo>
                    <a:lnTo>
                      <a:pt x="213" y="297"/>
                    </a:lnTo>
                    <a:lnTo>
                      <a:pt x="208" y="299"/>
                    </a:lnTo>
                    <a:lnTo>
                      <a:pt x="204" y="301"/>
                    </a:lnTo>
                    <a:lnTo>
                      <a:pt x="199" y="303"/>
                    </a:lnTo>
                    <a:lnTo>
                      <a:pt x="193" y="308"/>
                    </a:lnTo>
                    <a:lnTo>
                      <a:pt x="188" y="314"/>
                    </a:lnTo>
                    <a:lnTo>
                      <a:pt x="183" y="328"/>
                    </a:lnTo>
                    <a:lnTo>
                      <a:pt x="179" y="339"/>
                    </a:lnTo>
                    <a:lnTo>
                      <a:pt x="175" y="344"/>
                    </a:lnTo>
                    <a:lnTo>
                      <a:pt x="170" y="350"/>
                    </a:lnTo>
                    <a:lnTo>
                      <a:pt x="163" y="356"/>
                    </a:lnTo>
                    <a:lnTo>
                      <a:pt x="154" y="363"/>
                    </a:lnTo>
                    <a:lnTo>
                      <a:pt x="134" y="379"/>
                    </a:lnTo>
                    <a:lnTo>
                      <a:pt x="109" y="394"/>
                    </a:lnTo>
                    <a:lnTo>
                      <a:pt x="84" y="408"/>
                    </a:lnTo>
                    <a:lnTo>
                      <a:pt x="59" y="420"/>
                    </a:lnTo>
                    <a:lnTo>
                      <a:pt x="48" y="424"/>
                    </a:lnTo>
                    <a:lnTo>
                      <a:pt x="37" y="428"/>
                    </a:lnTo>
                    <a:lnTo>
                      <a:pt x="28" y="430"/>
                    </a:lnTo>
                    <a:lnTo>
                      <a:pt x="19" y="431"/>
                    </a:lnTo>
                    <a:lnTo>
                      <a:pt x="15" y="430"/>
                    </a:lnTo>
                    <a:lnTo>
                      <a:pt x="11" y="429"/>
                    </a:lnTo>
                    <a:lnTo>
                      <a:pt x="7" y="426"/>
                    </a:lnTo>
                    <a:lnTo>
                      <a:pt x="5" y="423"/>
                    </a:lnTo>
                    <a:lnTo>
                      <a:pt x="3" y="420"/>
                    </a:lnTo>
                    <a:lnTo>
                      <a:pt x="1" y="415"/>
                    </a:lnTo>
                    <a:lnTo>
                      <a:pt x="0" y="411"/>
                    </a:lnTo>
                    <a:lnTo>
                      <a:pt x="0" y="406"/>
                    </a:lnTo>
                    <a:lnTo>
                      <a:pt x="1" y="402"/>
                    </a:lnTo>
                    <a:lnTo>
                      <a:pt x="2" y="398"/>
                    </a:lnTo>
                    <a:lnTo>
                      <a:pt x="5" y="395"/>
                    </a:lnTo>
                    <a:lnTo>
                      <a:pt x="9" y="391"/>
                    </a:lnTo>
                    <a:lnTo>
                      <a:pt x="19" y="386"/>
                    </a:lnTo>
                    <a:lnTo>
                      <a:pt x="31" y="382"/>
                    </a:lnTo>
                    <a:lnTo>
                      <a:pt x="56" y="374"/>
                    </a:lnTo>
                    <a:lnTo>
                      <a:pt x="73" y="369"/>
                    </a:lnTo>
                    <a:lnTo>
                      <a:pt x="73" y="360"/>
                    </a:lnTo>
                    <a:lnTo>
                      <a:pt x="73" y="351"/>
                    </a:lnTo>
                    <a:lnTo>
                      <a:pt x="72" y="345"/>
                    </a:lnTo>
                    <a:lnTo>
                      <a:pt x="72" y="339"/>
                    </a:lnTo>
                    <a:lnTo>
                      <a:pt x="71" y="335"/>
                    </a:lnTo>
                    <a:lnTo>
                      <a:pt x="69" y="331"/>
                    </a:lnTo>
                    <a:lnTo>
                      <a:pt x="67" y="328"/>
                    </a:lnTo>
                    <a:lnTo>
                      <a:pt x="64" y="326"/>
                    </a:lnTo>
                    <a:lnTo>
                      <a:pt x="62" y="324"/>
                    </a:lnTo>
                    <a:lnTo>
                      <a:pt x="59" y="322"/>
                    </a:lnTo>
                    <a:lnTo>
                      <a:pt x="51" y="320"/>
                    </a:lnTo>
                    <a:lnTo>
                      <a:pt x="41" y="319"/>
                    </a:lnTo>
                    <a:lnTo>
                      <a:pt x="31" y="320"/>
                    </a:lnTo>
                    <a:lnTo>
                      <a:pt x="19" y="320"/>
                    </a:lnTo>
                    <a:lnTo>
                      <a:pt x="39" y="29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</p:grpSp>
        <p:sp>
          <p:nvSpPr>
            <p:cNvPr id="1149" name="Freeform 77"/>
            <p:cNvSpPr>
              <a:spLocks/>
            </p:cNvSpPr>
            <p:nvPr>
              <p:custDataLst>
                <p:tags r:id="rId75"/>
              </p:custDataLst>
            </p:nvPr>
          </p:nvSpPr>
          <p:spPr bwMode="auto">
            <a:xfrm>
              <a:off x="9480042" y="4065236"/>
              <a:ext cx="9576" cy="57351"/>
            </a:xfrm>
            <a:custGeom>
              <a:avLst/>
              <a:gdLst>
                <a:gd name="T0" fmla="*/ 0 w 21"/>
                <a:gd name="T1" fmla="*/ 43 h 62"/>
                <a:gd name="T2" fmla="*/ 1 w 21"/>
                <a:gd name="T3" fmla="*/ 29 h 62"/>
                <a:gd name="T4" fmla="*/ 3 w 21"/>
                <a:gd name="T5" fmla="*/ 17 h 62"/>
                <a:gd name="T6" fmla="*/ 4 w 21"/>
                <a:gd name="T7" fmla="*/ 11 h 62"/>
                <a:gd name="T8" fmla="*/ 6 w 21"/>
                <a:gd name="T9" fmla="*/ 7 h 62"/>
                <a:gd name="T10" fmla="*/ 9 w 21"/>
                <a:gd name="T11" fmla="*/ 3 h 62"/>
                <a:gd name="T12" fmla="*/ 15 w 21"/>
                <a:gd name="T13" fmla="*/ 0 h 62"/>
                <a:gd name="T14" fmla="*/ 15 w 21"/>
                <a:gd name="T15" fmla="*/ 15 h 62"/>
                <a:gd name="T16" fmla="*/ 18 w 21"/>
                <a:gd name="T17" fmla="*/ 31 h 62"/>
                <a:gd name="T18" fmla="*/ 20 w 21"/>
                <a:gd name="T19" fmla="*/ 44 h 62"/>
                <a:gd name="T20" fmla="*/ 21 w 21"/>
                <a:gd name="T21" fmla="*/ 49 h 62"/>
                <a:gd name="T22" fmla="*/ 10 w 21"/>
                <a:gd name="T23" fmla="*/ 55 h 62"/>
                <a:gd name="T24" fmla="*/ 0 w 21"/>
                <a:gd name="T25" fmla="*/ 62 h 62"/>
                <a:gd name="T26" fmla="*/ 0 w 21"/>
                <a:gd name="T2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1" h="62">
                  <a:moveTo>
                    <a:pt x="0" y="43"/>
                  </a:moveTo>
                  <a:lnTo>
                    <a:pt x="1" y="29"/>
                  </a:lnTo>
                  <a:lnTo>
                    <a:pt x="3" y="17"/>
                  </a:lnTo>
                  <a:lnTo>
                    <a:pt x="4" y="11"/>
                  </a:lnTo>
                  <a:lnTo>
                    <a:pt x="6" y="7"/>
                  </a:lnTo>
                  <a:lnTo>
                    <a:pt x="9" y="3"/>
                  </a:lnTo>
                  <a:lnTo>
                    <a:pt x="15" y="0"/>
                  </a:lnTo>
                  <a:lnTo>
                    <a:pt x="15" y="15"/>
                  </a:lnTo>
                  <a:lnTo>
                    <a:pt x="18" y="31"/>
                  </a:lnTo>
                  <a:lnTo>
                    <a:pt x="20" y="44"/>
                  </a:lnTo>
                  <a:lnTo>
                    <a:pt x="21" y="49"/>
                  </a:lnTo>
                  <a:lnTo>
                    <a:pt x="10" y="55"/>
                  </a:lnTo>
                  <a:lnTo>
                    <a:pt x="0" y="62"/>
                  </a:lnTo>
                  <a:lnTo>
                    <a:pt x="0" y="43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691" name="Freeform 78"/>
            <p:cNvSpPr>
              <a:spLocks/>
            </p:cNvSpPr>
            <p:nvPr>
              <p:custDataLst>
                <p:tags r:id="rId76"/>
              </p:custDataLst>
            </p:nvPr>
          </p:nvSpPr>
          <p:spPr bwMode="auto">
            <a:xfrm>
              <a:off x="10206669" y="4967727"/>
              <a:ext cx="14288" cy="57150"/>
            </a:xfrm>
            <a:custGeom>
              <a:avLst/>
              <a:gdLst>
                <a:gd name="T0" fmla="*/ 0 w 33"/>
                <a:gd name="T1" fmla="*/ 0 h 24"/>
                <a:gd name="T2" fmla="*/ 2147483647 w 33"/>
                <a:gd name="T3" fmla="*/ 2147483647 h 24"/>
                <a:gd name="T4" fmla="*/ 2147483647 w 33"/>
                <a:gd name="T5" fmla="*/ 2147483647 h 24"/>
                <a:gd name="T6" fmla="*/ 2147483647 w 33"/>
                <a:gd name="T7" fmla="*/ 2147483647 h 24"/>
                <a:gd name="T8" fmla="*/ 2147483647 w 33"/>
                <a:gd name="T9" fmla="*/ 2147483647 h 24"/>
                <a:gd name="T10" fmla="*/ 2147483647 w 33"/>
                <a:gd name="T11" fmla="*/ 2147483647 h 24"/>
                <a:gd name="T12" fmla="*/ 2147483647 w 33"/>
                <a:gd name="T13" fmla="*/ 2147483647 h 24"/>
                <a:gd name="T14" fmla="*/ 2147483647 w 33"/>
                <a:gd name="T15" fmla="*/ 0 h 24"/>
                <a:gd name="T16" fmla="*/ 2147483647 w 33"/>
                <a:gd name="T17" fmla="*/ 0 h 24"/>
                <a:gd name="T18" fmla="*/ 2147483647 w 33"/>
                <a:gd name="T19" fmla="*/ 0 h 24"/>
                <a:gd name="T20" fmla="*/ 2147483647 w 33"/>
                <a:gd name="T21" fmla="*/ 0 h 24"/>
                <a:gd name="T22" fmla="*/ 0 w 33"/>
                <a:gd name="T23" fmla="*/ 0 h 2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24">
                  <a:moveTo>
                    <a:pt x="0" y="0"/>
                  </a:moveTo>
                  <a:lnTo>
                    <a:pt x="5" y="5"/>
                  </a:lnTo>
                  <a:lnTo>
                    <a:pt x="10" y="10"/>
                  </a:lnTo>
                  <a:lnTo>
                    <a:pt x="11" y="13"/>
                  </a:lnTo>
                  <a:lnTo>
                    <a:pt x="12" y="16"/>
                  </a:lnTo>
                  <a:lnTo>
                    <a:pt x="13" y="20"/>
                  </a:lnTo>
                  <a:lnTo>
                    <a:pt x="13" y="24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92" name="Freeform 79"/>
            <p:cNvSpPr>
              <a:spLocks/>
            </p:cNvSpPr>
            <p:nvPr>
              <p:custDataLst>
                <p:tags r:id="rId77"/>
              </p:custDataLst>
            </p:nvPr>
          </p:nvSpPr>
          <p:spPr bwMode="auto">
            <a:xfrm>
              <a:off x="10228894" y="4977252"/>
              <a:ext cx="17463" cy="58737"/>
            </a:xfrm>
            <a:custGeom>
              <a:avLst/>
              <a:gdLst>
                <a:gd name="T0" fmla="*/ 2147483647 w 33"/>
                <a:gd name="T1" fmla="*/ 2147483647 h 25"/>
                <a:gd name="T2" fmla="*/ 2147483647 w 33"/>
                <a:gd name="T3" fmla="*/ 2147483647 h 25"/>
                <a:gd name="T4" fmla="*/ 2147483647 w 33"/>
                <a:gd name="T5" fmla="*/ 2147483647 h 25"/>
                <a:gd name="T6" fmla="*/ 2147483647 w 33"/>
                <a:gd name="T7" fmla="*/ 0 h 25"/>
                <a:gd name="T8" fmla="*/ 2147483647 w 33"/>
                <a:gd name="T9" fmla="*/ 0 h 25"/>
                <a:gd name="T10" fmla="*/ 2147483647 w 33"/>
                <a:gd name="T11" fmla="*/ 0 h 25"/>
                <a:gd name="T12" fmla="*/ 2147483647 w 33"/>
                <a:gd name="T13" fmla="*/ 0 h 25"/>
                <a:gd name="T14" fmla="*/ 0 w 33"/>
                <a:gd name="T15" fmla="*/ 0 h 25"/>
                <a:gd name="T16" fmla="*/ 2147483647 w 33"/>
                <a:gd name="T17" fmla="*/ 2147483647 h 2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" h="25">
                  <a:moveTo>
                    <a:pt x="26" y="25"/>
                  </a:moveTo>
                  <a:lnTo>
                    <a:pt x="29" y="22"/>
                  </a:lnTo>
                  <a:lnTo>
                    <a:pt x="33" y="18"/>
                  </a:lnTo>
                  <a:lnTo>
                    <a:pt x="33" y="0"/>
                  </a:lnTo>
                  <a:lnTo>
                    <a:pt x="25" y="0"/>
                  </a:lnTo>
                  <a:lnTo>
                    <a:pt x="16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26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93" name="Freeform 80"/>
            <p:cNvSpPr>
              <a:spLocks/>
            </p:cNvSpPr>
            <p:nvPr>
              <p:custDataLst>
                <p:tags r:id="rId78"/>
              </p:custDataLst>
            </p:nvPr>
          </p:nvSpPr>
          <p:spPr bwMode="auto">
            <a:xfrm>
              <a:off x="9543094" y="4054914"/>
              <a:ext cx="1588" cy="55563"/>
            </a:xfrm>
            <a:custGeom>
              <a:avLst/>
              <a:gdLst>
                <a:gd name="T0" fmla="*/ 0 w 7"/>
                <a:gd name="T1" fmla="*/ 0 h 55563"/>
                <a:gd name="T2" fmla="*/ 2147483647 w 7"/>
                <a:gd name="T3" fmla="*/ 0 h 55563"/>
                <a:gd name="T4" fmla="*/ 0 w 7"/>
                <a:gd name="T5" fmla="*/ 0 h 5556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7" h="55563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94" name="Freeform 81"/>
            <p:cNvSpPr>
              <a:spLocks/>
            </p:cNvSpPr>
            <p:nvPr>
              <p:custDataLst>
                <p:tags r:id="rId79"/>
              </p:custDataLst>
            </p:nvPr>
          </p:nvSpPr>
          <p:spPr bwMode="auto">
            <a:xfrm>
              <a:off x="9601832" y="3999352"/>
              <a:ext cx="6350" cy="57150"/>
            </a:xfrm>
            <a:custGeom>
              <a:avLst/>
              <a:gdLst>
                <a:gd name="T0" fmla="*/ 2147483647 w 16"/>
                <a:gd name="T1" fmla="*/ 0 h 25"/>
                <a:gd name="T2" fmla="*/ 2147483647 w 16"/>
                <a:gd name="T3" fmla="*/ 2147483647 h 25"/>
                <a:gd name="T4" fmla="*/ 2147483647 w 16"/>
                <a:gd name="T5" fmla="*/ 2147483647 h 25"/>
                <a:gd name="T6" fmla="*/ 2147483647 w 16"/>
                <a:gd name="T7" fmla="*/ 2147483647 h 25"/>
                <a:gd name="T8" fmla="*/ 2147483647 w 16"/>
                <a:gd name="T9" fmla="*/ 2147483647 h 25"/>
                <a:gd name="T10" fmla="*/ 2147483647 w 16"/>
                <a:gd name="T11" fmla="*/ 2147483647 h 25"/>
                <a:gd name="T12" fmla="*/ 2147483647 w 16"/>
                <a:gd name="T13" fmla="*/ 2147483647 h 25"/>
                <a:gd name="T14" fmla="*/ 2147483647 w 16"/>
                <a:gd name="T15" fmla="*/ 2147483647 h 25"/>
                <a:gd name="T16" fmla="*/ 0 w 16"/>
                <a:gd name="T17" fmla="*/ 2147483647 h 25"/>
                <a:gd name="T18" fmla="*/ 2147483647 w 16"/>
                <a:gd name="T19" fmla="*/ 2147483647 h 25"/>
                <a:gd name="T20" fmla="*/ 2147483647 w 16"/>
                <a:gd name="T21" fmla="*/ 2147483647 h 25"/>
                <a:gd name="T22" fmla="*/ 2147483647 w 16"/>
                <a:gd name="T23" fmla="*/ 2147483647 h 25"/>
                <a:gd name="T24" fmla="*/ 2147483647 w 16"/>
                <a:gd name="T25" fmla="*/ 2147483647 h 25"/>
                <a:gd name="T26" fmla="*/ 2147483647 w 16"/>
                <a:gd name="T27" fmla="*/ 2147483647 h 25"/>
                <a:gd name="T28" fmla="*/ 2147483647 w 16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16" h="25">
                  <a:moveTo>
                    <a:pt x="16" y="0"/>
                  </a:moveTo>
                  <a:lnTo>
                    <a:pt x="16" y="6"/>
                  </a:lnTo>
                  <a:lnTo>
                    <a:pt x="14" y="13"/>
                  </a:lnTo>
                  <a:lnTo>
                    <a:pt x="13" y="16"/>
                  </a:lnTo>
                  <a:lnTo>
                    <a:pt x="11" y="20"/>
                  </a:lnTo>
                  <a:lnTo>
                    <a:pt x="7" y="23"/>
                  </a:lnTo>
                  <a:lnTo>
                    <a:pt x="3" y="25"/>
                  </a:lnTo>
                  <a:lnTo>
                    <a:pt x="1" y="24"/>
                  </a:lnTo>
                  <a:lnTo>
                    <a:pt x="0" y="21"/>
                  </a:lnTo>
                  <a:lnTo>
                    <a:pt x="1" y="18"/>
                  </a:lnTo>
                  <a:lnTo>
                    <a:pt x="2" y="13"/>
                  </a:lnTo>
                  <a:lnTo>
                    <a:pt x="4" y="9"/>
                  </a:lnTo>
                  <a:lnTo>
                    <a:pt x="7" y="4"/>
                  </a:lnTo>
                  <a:lnTo>
                    <a:pt x="11" y="1"/>
                  </a:lnTo>
                  <a:lnTo>
                    <a:pt x="1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95" name="Freeform 82"/>
            <p:cNvSpPr>
              <a:spLocks/>
            </p:cNvSpPr>
            <p:nvPr>
              <p:custDataLst>
                <p:tags r:id="rId80"/>
              </p:custDataLst>
            </p:nvPr>
          </p:nvSpPr>
          <p:spPr bwMode="auto">
            <a:xfrm>
              <a:off x="9714544" y="3888227"/>
              <a:ext cx="4763" cy="57150"/>
            </a:xfrm>
            <a:custGeom>
              <a:avLst/>
              <a:gdLst>
                <a:gd name="T0" fmla="*/ 0 w 14"/>
                <a:gd name="T1" fmla="*/ 0 h 18"/>
                <a:gd name="T2" fmla="*/ 2147483647 w 14"/>
                <a:gd name="T3" fmla="*/ 2147483647 h 18"/>
                <a:gd name="T4" fmla="*/ 2147483647 w 14"/>
                <a:gd name="T5" fmla="*/ 2147483647 h 18"/>
                <a:gd name="T6" fmla="*/ 2147483647 w 14"/>
                <a:gd name="T7" fmla="*/ 2147483647 h 18"/>
                <a:gd name="T8" fmla="*/ 2147483647 w 14"/>
                <a:gd name="T9" fmla="*/ 2147483647 h 18"/>
                <a:gd name="T10" fmla="*/ 2147483647 w 14"/>
                <a:gd name="T11" fmla="*/ 2147483647 h 18"/>
                <a:gd name="T12" fmla="*/ 2147483647 w 14"/>
                <a:gd name="T13" fmla="*/ 2147483647 h 18"/>
                <a:gd name="T14" fmla="*/ 0 w 14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4" h="18">
                  <a:moveTo>
                    <a:pt x="0" y="0"/>
                  </a:moveTo>
                  <a:lnTo>
                    <a:pt x="3" y="1"/>
                  </a:lnTo>
                  <a:lnTo>
                    <a:pt x="5" y="2"/>
                  </a:lnTo>
                  <a:lnTo>
                    <a:pt x="7" y="4"/>
                  </a:lnTo>
                  <a:lnTo>
                    <a:pt x="9" y="7"/>
                  </a:lnTo>
                  <a:lnTo>
                    <a:pt x="13" y="13"/>
                  </a:lnTo>
                  <a:lnTo>
                    <a:pt x="14" y="1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155" name="Freeform 83"/>
            <p:cNvSpPr>
              <a:spLocks/>
            </p:cNvSpPr>
            <p:nvPr>
              <p:custDataLst>
                <p:tags r:id="rId81"/>
              </p:custDataLst>
            </p:nvPr>
          </p:nvSpPr>
          <p:spPr bwMode="auto">
            <a:xfrm>
              <a:off x="9866261" y="4586456"/>
              <a:ext cx="27131" cy="59038"/>
            </a:xfrm>
            <a:custGeom>
              <a:avLst/>
              <a:gdLst>
                <a:gd name="T0" fmla="*/ 0 w 67"/>
                <a:gd name="T1" fmla="*/ 0 h 74"/>
                <a:gd name="T2" fmla="*/ 1 w 67"/>
                <a:gd name="T3" fmla="*/ 17 h 74"/>
                <a:gd name="T4" fmla="*/ 3 w 67"/>
                <a:gd name="T5" fmla="*/ 30 h 74"/>
                <a:gd name="T6" fmla="*/ 7 w 67"/>
                <a:gd name="T7" fmla="*/ 41 h 74"/>
                <a:gd name="T8" fmla="*/ 12 w 67"/>
                <a:gd name="T9" fmla="*/ 50 h 74"/>
                <a:gd name="T10" fmla="*/ 17 w 67"/>
                <a:gd name="T11" fmla="*/ 58 h 74"/>
                <a:gd name="T12" fmla="*/ 23 w 67"/>
                <a:gd name="T13" fmla="*/ 64 h 74"/>
                <a:gd name="T14" fmla="*/ 28 w 67"/>
                <a:gd name="T15" fmla="*/ 69 h 74"/>
                <a:gd name="T16" fmla="*/ 33 w 67"/>
                <a:gd name="T17" fmla="*/ 74 h 74"/>
                <a:gd name="T18" fmla="*/ 44 w 67"/>
                <a:gd name="T19" fmla="*/ 65 h 74"/>
                <a:gd name="T20" fmla="*/ 55 w 67"/>
                <a:gd name="T21" fmla="*/ 55 h 74"/>
                <a:gd name="T22" fmla="*/ 59 w 67"/>
                <a:gd name="T23" fmla="*/ 49 h 74"/>
                <a:gd name="T24" fmla="*/ 63 w 67"/>
                <a:gd name="T25" fmla="*/ 43 h 74"/>
                <a:gd name="T26" fmla="*/ 66 w 67"/>
                <a:gd name="T27" fmla="*/ 37 h 74"/>
                <a:gd name="T28" fmla="*/ 67 w 67"/>
                <a:gd name="T29" fmla="*/ 30 h 74"/>
                <a:gd name="T30" fmla="*/ 67 w 67"/>
                <a:gd name="T31" fmla="*/ 25 h 74"/>
                <a:gd name="T32" fmla="*/ 67 w 67"/>
                <a:gd name="T33" fmla="*/ 18 h 74"/>
                <a:gd name="T34" fmla="*/ 67 w 67"/>
                <a:gd name="T35" fmla="*/ 9 h 74"/>
                <a:gd name="T36" fmla="*/ 67 w 67"/>
                <a:gd name="T37" fmla="*/ 0 h 74"/>
                <a:gd name="T38" fmla="*/ 48 w 67"/>
                <a:gd name="T39" fmla="*/ 0 h 74"/>
                <a:gd name="T40" fmla="*/ 33 w 67"/>
                <a:gd name="T41" fmla="*/ 0 h 74"/>
                <a:gd name="T42" fmla="*/ 17 w 67"/>
                <a:gd name="T43" fmla="*/ 0 h 74"/>
                <a:gd name="T44" fmla="*/ 0 w 67"/>
                <a:gd name="T45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74">
                  <a:moveTo>
                    <a:pt x="0" y="0"/>
                  </a:moveTo>
                  <a:lnTo>
                    <a:pt x="1" y="17"/>
                  </a:lnTo>
                  <a:lnTo>
                    <a:pt x="3" y="30"/>
                  </a:lnTo>
                  <a:lnTo>
                    <a:pt x="7" y="41"/>
                  </a:lnTo>
                  <a:lnTo>
                    <a:pt x="12" y="50"/>
                  </a:lnTo>
                  <a:lnTo>
                    <a:pt x="17" y="58"/>
                  </a:lnTo>
                  <a:lnTo>
                    <a:pt x="23" y="64"/>
                  </a:lnTo>
                  <a:lnTo>
                    <a:pt x="28" y="69"/>
                  </a:lnTo>
                  <a:lnTo>
                    <a:pt x="33" y="74"/>
                  </a:lnTo>
                  <a:lnTo>
                    <a:pt x="44" y="65"/>
                  </a:lnTo>
                  <a:lnTo>
                    <a:pt x="55" y="55"/>
                  </a:lnTo>
                  <a:lnTo>
                    <a:pt x="59" y="49"/>
                  </a:lnTo>
                  <a:lnTo>
                    <a:pt x="63" y="43"/>
                  </a:lnTo>
                  <a:lnTo>
                    <a:pt x="66" y="37"/>
                  </a:lnTo>
                  <a:lnTo>
                    <a:pt x="67" y="30"/>
                  </a:lnTo>
                  <a:lnTo>
                    <a:pt x="67" y="25"/>
                  </a:lnTo>
                  <a:lnTo>
                    <a:pt x="67" y="18"/>
                  </a:lnTo>
                  <a:lnTo>
                    <a:pt x="67" y="9"/>
                  </a:lnTo>
                  <a:lnTo>
                    <a:pt x="67" y="0"/>
                  </a:lnTo>
                  <a:lnTo>
                    <a:pt x="48" y="0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697" name="Freeform 84"/>
            <p:cNvSpPr>
              <a:spLocks/>
            </p:cNvSpPr>
            <p:nvPr>
              <p:custDataLst>
                <p:tags r:id="rId82"/>
              </p:custDataLst>
            </p:nvPr>
          </p:nvSpPr>
          <p:spPr bwMode="auto">
            <a:xfrm>
              <a:off x="9930444" y="4601014"/>
              <a:ext cx="12700" cy="57150"/>
            </a:xfrm>
            <a:custGeom>
              <a:avLst/>
              <a:gdLst>
                <a:gd name="T0" fmla="*/ 0 w 34"/>
                <a:gd name="T1" fmla="*/ 0 h 38"/>
                <a:gd name="T2" fmla="*/ 2147483647 w 34"/>
                <a:gd name="T3" fmla="*/ 2147483647 h 38"/>
                <a:gd name="T4" fmla="*/ 2147483647 w 34"/>
                <a:gd name="T5" fmla="*/ 2147483647 h 38"/>
                <a:gd name="T6" fmla="*/ 2147483647 w 34"/>
                <a:gd name="T7" fmla="*/ 2147483647 h 38"/>
                <a:gd name="T8" fmla="*/ 2147483647 w 34"/>
                <a:gd name="T9" fmla="*/ 2147483647 h 38"/>
                <a:gd name="T10" fmla="*/ 2147483647 w 34"/>
                <a:gd name="T11" fmla="*/ 2147483647 h 38"/>
                <a:gd name="T12" fmla="*/ 2147483647 w 34"/>
                <a:gd name="T13" fmla="*/ 2147483647 h 38"/>
                <a:gd name="T14" fmla="*/ 2147483647 w 34"/>
                <a:gd name="T15" fmla="*/ 2147483647 h 38"/>
                <a:gd name="T16" fmla="*/ 2147483647 w 34"/>
                <a:gd name="T17" fmla="*/ 2147483647 h 38"/>
                <a:gd name="T18" fmla="*/ 2147483647 w 34"/>
                <a:gd name="T19" fmla="*/ 2147483647 h 38"/>
                <a:gd name="T20" fmla="*/ 2147483647 w 34"/>
                <a:gd name="T21" fmla="*/ 2147483647 h 38"/>
                <a:gd name="T22" fmla="*/ 2147483647 w 34"/>
                <a:gd name="T23" fmla="*/ 2147483647 h 38"/>
                <a:gd name="T24" fmla="*/ 2147483647 w 34"/>
                <a:gd name="T25" fmla="*/ 2147483647 h 38"/>
                <a:gd name="T26" fmla="*/ 2147483647 w 34"/>
                <a:gd name="T27" fmla="*/ 2147483647 h 38"/>
                <a:gd name="T28" fmla="*/ 2147483647 w 34"/>
                <a:gd name="T29" fmla="*/ 2147483647 h 38"/>
                <a:gd name="T30" fmla="*/ 2147483647 w 34"/>
                <a:gd name="T31" fmla="*/ 2147483647 h 38"/>
                <a:gd name="T32" fmla="*/ 2147483647 w 34"/>
                <a:gd name="T33" fmla="*/ 2147483647 h 38"/>
                <a:gd name="T34" fmla="*/ 2147483647 w 34"/>
                <a:gd name="T35" fmla="*/ 2147483647 h 38"/>
                <a:gd name="T36" fmla="*/ 2147483647 w 34"/>
                <a:gd name="T37" fmla="*/ 2147483647 h 38"/>
                <a:gd name="T38" fmla="*/ 2147483647 w 34"/>
                <a:gd name="T39" fmla="*/ 2147483647 h 38"/>
                <a:gd name="T40" fmla="*/ 2147483647 w 34"/>
                <a:gd name="T41" fmla="*/ 0 h 38"/>
                <a:gd name="T42" fmla="*/ 2147483647 w 34"/>
                <a:gd name="T43" fmla="*/ 0 h 38"/>
                <a:gd name="T44" fmla="*/ 0 w 34"/>
                <a:gd name="T45" fmla="*/ 0 h 3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34" h="38">
                  <a:moveTo>
                    <a:pt x="0" y="0"/>
                  </a:moveTo>
                  <a:lnTo>
                    <a:pt x="2" y="3"/>
                  </a:lnTo>
                  <a:lnTo>
                    <a:pt x="4" y="7"/>
                  </a:lnTo>
                  <a:lnTo>
                    <a:pt x="5" y="11"/>
                  </a:lnTo>
                  <a:lnTo>
                    <a:pt x="6" y="16"/>
                  </a:lnTo>
                  <a:lnTo>
                    <a:pt x="10" y="28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0" y="36"/>
                  </a:lnTo>
                  <a:lnTo>
                    <a:pt x="23" y="34"/>
                  </a:lnTo>
                  <a:lnTo>
                    <a:pt x="26" y="31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33" y="21"/>
                  </a:lnTo>
                  <a:lnTo>
                    <a:pt x="34" y="19"/>
                  </a:lnTo>
                  <a:lnTo>
                    <a:pt x="31" y="18"/>
                  </a:lnTo>
                  <a:lnTo>
                    <a:pt x="28" y="17"/>
                  </a:lnTo>
                  <a:lnTo>
                    <a:pt x="26" y="14"/>
                  </a:lnTo>
                  <a:lnTo>
                    <a:pt x="24" y="12"/>
                  </a:lnTo>
                  <a:lnTo>
                    <a:pt x="19" y="6"/>
                  </a:lnTo>
                  <a:lnTo>
                    <a:pt x="13" y="0"/>
                  </a:lnTo>
                  <a:lnTo>
                    <a:pt x="6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698" name="Freeform 85"/>
            <p:cNvSpPr>
              <a:spLocks/>
            </p:cNvSpPr>
            <p:nvPr>
              <p:custDataLst>
                <p:tags r:id="rId83"/>
              </p:custDataLst>
            </p:nvPr>
          </p:nvSpPr>
          <p:spPr bwMode="auto">
            <a:xfrm>
              <a:off x="9787569" y="4377177"/>
              <a:ext cx="25400" cy="55562"/>
            </a:xfrm>
            <a:custGeom>
              <a:avLst/>
              <a:gdLst>
                <a:gd name="T0" fmla="*/ 2147483647 w 53"/>
                <a:gd name="T1" fmla="*/ 2147483647 h 23"/>
                <a:gd name="T2" fmla="*/ 2147483647 w 53"/>
                <a:gd name="T3" fmla="*/ 2147483647 h 23"/>
                <a:gd name="T4" fmla="*/ 2147483647 w 53"/>
                <a:gd name="T5" fmla="*/ 2147483647 h 23"/>
                <a:gd name="T6" fmla="*/ 2147483647 w 53"/>
                <a:gd name="T7" fmla="*/ 2147483647 h 23"/>
                <a:gd name="T8" fmla="*/ 2147483647 w 53"/>
                <a:gd name="T9" fmla="*/ 0 h 23"/>
                <a:gd name="T10" fmla="*/ 2147483647 w 53"/>
                <a:gd name="T11" fmla="*/ 0 h 23"/>
                <a:gd name="T12" fmla="*/ 2147483647 w 53"/>
                <a:gd name="T13" fmla="*/ 2147483647 h 23"/>
                <a:gd name="T14" fmla="*/ 2147483647 w 53"/>
                <a:gd name="T15" fmla="*/ 2147483647 h 23"/>
                <a:gd name="T16" fmla="*/ 2147483647 w 53"/>
                <a:gd name="T17" fmla="*/ 2147483647 h 23"/>
                <a:gd name="T18" fmla="*/ 0 w 53"/>
                <a:gd name="T19" fmla="*/ 2147483647 h 23"/>
                <a:gd name="T20" fmla="*/ 2147483647 w 53"/>
                <a:gd name="T21" fmla="*/ 2147483647 h 2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3" h="23">
                  <a:moveTo>
                    <a:pt x="53" y="23"/>
                  </a:moveTo>
                  <a:lnTo>
                    <a:pt x="53" y="4"/>
                  </a:lnTo>
                  <a:lnTo>
                    <a:pt x="49" y="2"/>
                  </a:lnTo>
                  <a:lnTo>
                    <a:pt x="45" y="1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1" y="1"/>
                  </a:lnTo>
                  <a:lnTo>
                    <a:pt x="24" y="4"/>
                  </a:lnTo>
                  <a:lnTo>
                    <a:pt x="11" y="13"/>
                  </a:lnTo>
                  <a:lnTo>
                    <a:pt x="0" y="23"/>
                  </a:lnTo>
                  <a:lnTo>
                    <a:pt x="53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158" name="Freeform 86"/>
            <p:cNvSpPr>
              <a:spLocks/>
            </p:cNvSpPr>
            <p:nvPr>
              <p:custDataLst>
                <p:tags r:id="rId84"/>
              </p:custDataLst>
            </p:nvPr>
          </p:nvSpPr>
          <p:spPr bwMode="auto">
            <a:xfrm>
              <a:off x="9730605" y="4351992"/>
              <a:ext cx="11172" cy="57351"/>
            </a:xfrm>
            <a:custGeom>
              <a:avLst/>
              <a:gdLst>
                <a:gd name="T0" fmla="*/ 0 w 26"/>
                <a:gd name="T1" fmla="*/ 0 h 12"/>
                <a:gd name="T2" fmla="*/ 4 w 26"/>
                <a:gd name="T3" fmla="*/ 4 h 12"/>
                <a:gd name="T4" fmla="*/ 11 w 26"/>
                <a:gd name="T5" fmla="*/ 8 h 12"/>
                <a:gd name="T6" fmla="*/ 14 w 26"/>
                <a:gd name="T7" fmla="*/ 9 h 12"/>
                <a:gd name="T8" fmla="*/ 18 w 26"/>
                <a:gd name="T9" fmla="*/ 11 h 12"/>
                <a:gd name="T10" fmla="*/ 22 w 26"/>
                <a:gd name="T11" fmla="*/ 11 h 12"/>
                <a:gd name="T12" fmla="*/ 26 w 26"/>
                <a:gd name="T13" fmla="*/ 12 h 12"/>
                <a:gd name="T14" fmla="*/ 21 w 26"/>
                <a:gd name="T15" fmla="*/ 7 h 12"/>
                <a:gd name="T16" fmla="*/ 13 w 26"/>
                <a:gd name="T17" fmla="*/ 3 h 12"/>
                <a:gd name="T18" fmla="*/ 5 w 26"/>
                <a:gd name="T19" fmla="*/ 1 h 12"/>
                <a:gd name="T20" fmla="*/ 0 w 26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12">
                  <a:moveTo>
                    <a:pt x="0" y="0"/>
                  </a:moveTo>
                  <a:lnTo>
                    <a:pt x="4" y="4"/>
                  </a:lnTo>
                  <a:lnTo>
                    <a:pt x="11" y="8"/>
                  </a:lnTo>
                  <a:lnTo>
                    <a:pt x="14" y="9"/>
                  </a:lnTo>
                  <a:lnTo>
                    <a:pt x="18" y="11"/>
                  </a:lnTo>
                  <a:lnTo>
                    <a:pt x="22" y="11"/>
                  </a:lnTo>
                  <a:lnTo>
                    <a:pt x="26" y="12"/>
                  </a:lnTo>
                  <a:lnTo>
                    <a:pt x="21" y="7"/>
                  </a:lnTo>
                  <a:lnTo>
                    <a:pt x="13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00" name="Freeform 87"/>
            <p:cNvSpPr>
              <a:spLocks/>
            </p:cNvSpPr>
            <p:nvPr>
              <p:custDataLst>
                <p:tags r:id="rId85"/>
              </p:custDataLst>
            </p:nvPr>
          </p:nvSpPr>
          <p:spPr bwMode="auto">
            <a:xfrm>
              <a:off x="9930444" y="4683564"/>
              <a:ext cx="31750" cy="57150"/>
            </a:xfrm>
            <a:custGeom>
              <a:avLst/>
              <a:gdLst>
                <a:gd name="T0" fmla="*/ 0 w 73"/>
                <a:gd name="T1" fmla="*/ 0 h 57150"/>
                <a:gd name="T2" fmla="*/ 2147483647 w 73"/>
                <a:gd name="T3" fmla="*/ 0 h 57150"/>
                <a:gd name="T4" fmla="*/ 2147483647 w 73"/>
                <a:gd name="T5" fmla="*/ 0 h 57150"/>
                <a:gd name="T6" fmla="*/ 2147483647 w 73"/>
                <a:gd name="T7" fmla="*/ 0 h 57150"/>
                <a:gd name="T8" fmla="*/ 2147483647 w 73"/>
                <a:gd name="T9" fmla="*/ 0 h 57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3" h="57150">
                  <a:moveTo>
                    <a:pt x="0" y="0"/>
                  </a:moveTo>
                  <a:lnTo>
                    <a:pt x="20" y="0"/>
                  </a:lnTo>
                  <a:lnTo>
                    <a:pt x="37" y="0"/>
                  </a:lnTo>
                  <a:lnTo>
                    <a:pt x="55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01" name="Freeform 88"/>
            <p:cNvSpPr>
              <a:spLocks/>
            </p:cNvSpPr>
            <p:nvPr>
              <p:custDataLst>
                <p:tags r:id="rId86"/>
              </p:custDataLst>
            </p:nvPr>
          </p:nvSpPr>
          <p:spPr bwMode="auto">
            <a:xfrm>
              <a:off x="9885994" y="4672452"/>
              <a:ext cx="22225" cy="57150"/>
            </a:xfrm>
            <a:custGeom>
              <a:avLst/>
              <a:gdLst>
                <a:gd name="T0" fmla="*/ 0 w 53"/>
                <a:gd name="T1" fmla="*/ 0 h 3"/>
                <a:gd name="T2" fmla="*/ 2147483647 w 53"/>
                <a:gd name="T3" fmla="*/ 0 h 3"/>
                <a:gd name="T4" fmla="*/ 2147483647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" h="3">
                  <a:moveTo>
                    <a:pt x="0" y="0"/>
                  </a:moveTo>
                  <a:lnTo>
                    <a:pt x="14" y="0"/>
                  </a:lnTo>
                  <a:lnTo>
                    <a:pt x="27" y="3"/>
                  </a:lnTo>
                  <a:lnTo>
                    <a:pt x="32" y="3"/>
                  </a:lnTo>
                  <a:lnTo>
                    <a:pt x="39" y="3"/>
                  </a:lnTo>
                  <a:lnTo>
                    <a:pt x="45" y="1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02" name="Line 89"/>
            <p:cNvSpPr>
              <a:spLocks noChangeShapeType="1"/>
            </p:cNvSpPr>
            <p:nvPr>
              <p:custDataLst>
                <p:tags r:id="rId87"/>
              </p:custDataLst>
            </p:nvPr>
          </p:nvSpPr>
          <p:spPr bwMode="auto">
            <a:xfrm>
              <a:off x="9919332" y="4658164"/>
              <a:ext cx="20637" cy="635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25703" name="Freeform 90"/>
            <p:cNvSpPr>
              <a:spLocks/>
            </p:cNvSpPr>
            <p:nvPr>
              <p:custDataLst>
                <p:tags r:id="rId88"/>
              </p:custDataLst>
            </p:nvPr>
          </p:nvSpPr>
          <p:spPr bwMode="auto">
            <a:xfrm>
              <a:off x="9939969" y="4664514"/>
              <a:ext cx="1588" cy="57150"/>
            </a:xfrm>
            <a:custGeom>
              <a:avLst/>
              <a:gdLst>
                <a:gd name="T0" fmla="*/ 0 w 1588"/>
                <a:gd name="T1" fmla="*/ 0 h 13"/>
                <a:gd name="T2" fmla="*/ 0 w 1588"/>
                <a:gd name="T3" fmla="*/ 2147483647 h 13"/>
                <a:gd name="T4" fmla="*/ 0 w 1588"/>
                <a:gd name="T5" fmla="*/ 2147483647 h 13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04" name="Freeform 91"/>
            <p:cNvSpPr>
              <a:spLocks/>
            </p:cNvSpPr>
            <p:nvPr>
              <p:custDataLst>
                <p:tags r:id="rId89"/>
              </p:custDataLst>
            </p:nvPr>
          </p:nvSpPr>
          <p:spPr bwMode="auto">
            <a:xfrm>
              <a:off x="9893932" y="4658164"/>
              <a:ext cx="14287" cy="58738"/>
            </a:xfrm>
            <a:custGeom>
              <a:avLst/>
              <a:gdLst>
                <a:gd name="T0" fmla="*/ 0 w 26"/>
                <a:gd name="T1" fmla="*/ 0 h 58738"/>
                <a:gd name="T2" fmla="*/ 2147483647 w 26"/>
                <a:gd name="T3" fmla="*/ 0 h 58738"/>
                <a:gd name="T4" fmla="*/ 2147483647 w 26"/>
                <a:gd name="T5" fmla="*/ 0 h 5873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6" h="58738">
                  <a:moveTo>
                    <a:pt x="0" y="0"/>
                  </a:moveTo>
                  <a:lnTo>
                    <a:pt x="15" y="0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05" name="Freeform 92"/>
            <p:cNvSpPr>
              <a:spLocks/>
            </p:cNvSpPr>
            <p:nvPr>
              <p:custDataLst>
                <p:tags r:id="rId90"/>
              </p:custDataLst>
            </p:nvPr>
          </p:nvSpPr>
          <p:spPr bwMode="auto">
            <a:xfrm>
              <a:off x="9887582" y="4639114"/>
              <a:ext cx="6350" cy="60325"/>
            </a:xfrm>
            <a:custGeom>
              <a:avLst/>
              <a:gdLst>
                <a:gd name="T0" fmla="*/ 2147483647 w 20"/>
                <a:gd name="T1" fmla="*/ 0 h 25"/>
                <a:gd name="T2" fmla="*/ 0 w 20"/>
                <a:gd name="T3" fmla="*/ 2147483647 h 25"/>
                <a:gd name="T4" fmla="*/ 2147483647 w 20"/>
                <a:gd name="T5" fmla="*/ 2147483647 h 25"/>
                <a:gd name="T6" fmla="*/ 2147483647 w 20"/>
                <a:gd name="T7" fmla="*/ 2147483647 h 25"/>
                <a:gd name="T8" fmla="*/ 2147483647 w 20"/>
                <a:gd name="T9" fmla="*/ 2147483647 h 25"/>
                <a:gd name="T10" fmla="*/ 2147483647 w 20"/>
                <a:gd name="T11" fmla="*/ 2147483647 h 25"/>
                <a:gd name="T12" fmla="*/ 2147483647 w 20"/>
                <a:gd name="T13" fmla="*/ 0 h 2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0" h="25">
                  <a:moveTo>
                    <a:pt x="20" y="0"/>
                  </a:moveTo>
                  <a:lnTo>
                    <a:pt x="0" y="13"/>
                  </a:lnTo>
                  <a:lnTo>
                    <a:pt x="4" y="18"/>
                  </a:lnTo>
                  <a:lnTo>
                    <a:pt x="10" y="21"/>
                  </a:lnTo>
                  <a:lnTo>
                    <a:pt x="14" y="24"/>
                  </a:lnTo>
                  <a:lnTo>
                    <a:pt x="20" y="25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06" name="Freeform 93"/>
            <p:cNvSpPr>
              <a:spLocks/>
            </p:cNvSpPr>
            <p:nvPr>
              <p:custDataLst>
                <p:tags r:id="rId91"/>
              </p:custDataLst>
            </p:nvPr>
          </p:nvSpPr>
          <p:spPr bwMode="auto">
            <a:xfrm>
              <a:off x="9968544" y="4366064"/>
              <a:ext cx="1588" cy="57150"/>
            </a:xfrm>
            <a:custGeom>
              <a:avLst/>
              <a:gdLst>
                <a:gd name="T0" fmla="*/ 0 w 6"/>
                <a:gd name="T1" fmla="*/ 2147483647 h 24"/>
                <a:gd name="T2" fmla="*/ 0 w 6"/>
                <a:gd name="T3" fmla="*/ 0 h 24"/>
                <a:gd name="T4" fmla="*/ 2147483647 w 6"/>
                <a:gd name="T5" fmla="*/ 2147483647 h 24"/>
                <a:gd name="T6" fmla="*/ 0 w 6"/>
                <a:gd name="T7" fmla="*/ 2147483647 h 2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6" h="24">
                  <a:moveTo>
                    <a:pt x="0" y="24"/>
                  </a:moveTo>
                  <a:lnTo>
                    <a:pt x="0" y="0"/>
                  </a:lnTo>
                  <a:lnTo>
                    <a:pt x="6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25707" name="Group 94"/>
            <p:cNvGrpSpPr>
              <a:grpSpLocks/>
            </p:cNvGrpSpPr>
            <p:nvPr>
              <p:custDataLst>
                <p:tags r:id="rId92"/>
              </p:custDataLst>
            </p:nvPr>
          </p:nvGrpSpPr>
          <p:grpSpPr bwMode="auto">
            <a:xfrm>
              <a:off x="9843132" y="4037452"/>
              <a:ext cx="163512" cy="114300"/>
              <a:chOff x="5379" y="2466"/>
              <a:chExt cx="122" cy="71"/>
            </a:xfrm>
          </p:grpSpPr>
          <p:sp>
            <p:nvSpPr>
              <p:cNvPr id="26050" name="Freeform 95"/>
              <p:cNvSpPr>
                <a:spLocks/>
              </p:cNvSpPr>
              <p:nvPr/>
            </p:nvSpPr>
            <p:spPr bwMode="auto">
              <a:xfrm>
                <a:off x="5428" y="2492"/>
                <a:ext cx="6" cy="9"/>
              </a:xfrm>
              <a:custGeom>
                <a:avLst/>
                <a:gdLst>
                  <a:gd name="T0" fmla="*/ 0 w 19"/>
                  <a:gd name="T1" fmla="*/ 0 h 25"/>
                  <a:gd name="T2" fmla="*/ 0 w 19"/>
                  <a:gd name="T3" fmla="*/ 0 h 25"/>
                  <a:gd name="T4" fmla="*/ 0 w 19"/>
                  <a:gd name="T5" fmla="*/ 0 h 25"/>
                  <a:gd name="T6" fmla="*/ 0 w 19"/>
                  <a:gd name="T7" fmla="*/ 0 h 25"/>
                  <a:gd name="T8" fmla="*/ 0 w 19"/>
                  <a:gd name="T9" fmla="*/ 0 h 25"/>
                  <a:gd name="T10" fmla="*/ 0 w 19"/>
                  <a:gd name="T11" fmla="*/ 0 h 25"/>
                  <a:gd name="T12" fmla="*/ 0 w 19"/>
                  <a:gd name="T13" fmla="*/ 0 h 25"/>
                  <a:gd name="T14" fmla="*/ 0 w 19"/>
                  <a:gd name="T15" fmla="*/ 0 h 25"/>
                  <a:gd name="T16" fmla="*/ 0 w 19"/>
                  <a:gd name="T17" fmla="*/ 0 h 25"/>
                  <a:gd name="T18" fmla="*/ 0 w 19"/>
                  <a:gd name="T19" fmla="*/ 0 h 25"/>
                  <a:gd name="T20" fmla="*/ 0 w 19"/>
                  <a:gd name="T21" fmla="*/ 0 h 25"/>
                  <a:gd name="T22" fmla="*/ 0 w 19"/>
                  <a:gd name="T23" fmla="*/ 0 h 25"/>
                  <a:gd name="T24" fmla="*/ 0 w 19"/>
                  <a:gd name="T25" fmla="*/ 0 h 25"/>
                  <a:gd name="T26" fmla="*/ 0 w 19"/>
                  <a:gd name="T27" fmla="*/ 0 h 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19" h="25">
                    <a:moveTo>
                      <a:pt x="19" y="25"/>
                    </a:moveTo>
                    <a:lnTo>
                      <a:pt x="18" y="20"/>
                    </a:lnTo>
                    <a:lnTo>
                      <a:pt x="17" y="12"/>
                    </a:lnTo>
                    <a:lnTo>
                      <a:pt x="16" y="9"/>
                    </a:lnTo>
                    <a:lnTo>
                      <a:pt x="17" y="6"/>
                    </a:lnTo>
                    <a:lnTo>
                      <a:pt x="17" y="3"/>
                    </a:lnTo>
                    <a:lnTo>
                      <a:pt x="19" y="0"/>
                    </a:lnTo>
                    <a:lnTo>
                      <a:pt x="0" y="0"/>
                    </a:lnTo>
                    <a:lnTo>
                      <a:pt x="1" y="7"/>
                    </a:lnTo>
                    <a:lnTo>
                      <a:pt x="5" y="15"/>
                    </a:lnTo>
                    <a:lnTo>
                      <a:pt x="7" y="19"/>
                    </a:lnTo>
                    <a:lnTo>
                      <a:pt x="11" y="23"/>
                    </a:lnTo>
                    <a:lnTo>
                      <a:pt x="15" y="25"/>
                    </a:lnTo>
                    <a:lnTo>
                      <a:pt x="1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51" name="Freeform 96"/>
              <p:cNvSpPr>
                <a:spLocks/>
              </p:cNvSpPr>
              <p:nvPr/>
            </p:nvSpPr>
            <p:spPr bwMode="auto">
              <a:xfrm>
                <a:off x="5379" y="2505"/>
                <a:ext cx="7" cy="6"/>
              </a:xfrm>
              <a:custGeom>
                <a:avLst/>
                <a:gdLst>
                  <a:gd name="T0" fmla="*/ 0 w 26"/>
                  <a:gd name="T1" fmla="*/ 0 h 18"/>
                  <a:gd name="T2" fmla="*/ 0 w 26"/>
                  <a:gd name="T3" fmla="*/ 0 h 18"/>
                  <a:gd name="T4" fmla="*/ 0 w 26"/>
                  <a:gd name="T5" fmla="*/ 0 h 18"/>
                  <a:gd name="T6" fmla="*/ 0 w 26"/>
                  <a:gd name="T7" fmla="*/ 0 h 18"/>
                  <a:gd name="T8" fmla="*/ 0 w 26"/>
                  <a:gd name="T9" fmla="*/ 0 h 18"/>
                  <a:gd name="T10" fmla="*/ 0 w 26"/>
                  <a:gd name="T11" fmla="*/ 0 h 18"/>
                  <a:gd name="T12" fmla="*/ 0 w 26"/>
                  <a:gd name="T13" fmla="*/ 0 h 18"/>
                  <a:gd name="T14" fmla="*/ 0 w 26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26" h="18">
                    <a:moveTo>
                      <a:pt x="26" y="18"/>
                    </a:moveTo>
                    <a:lnTo>
                      <a:pt x="7" y="18"/>
                    </a:lnTo>
                    <a:lnTo>
                      <a:pt x="3" y="9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3" y="6"/>
                    </a:lnTo>
                    <a:lnTo>
                      <a:pt x="20" y="12"/>
                    </a:lnTo>
                    <a:lnTo>
                      <a:pt x="26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52" name="Freeform 97"/>
              <p:cNvSpPr>
                <a:spLocks/>
              </p:cNvSpPr>
              <p:nvPr/>
            </p:nvSpPr>
            <p:spPr bwMode="auto">
              <a:xfrm>
                <a:off x="5392" y="2466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3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53" name="Freeform 98"/>
              <p:cNvSpPr>
                <a:spLocks/>
              </p:cNvSpPr>
              <p:nvPr/>
            </p:nvSpPr>
            <p:spPr bwMode="auto">
              <a:xfrm>
                <a:off x="5426" y="2468"/>
                <a:ext cx="8" cy="8"/>
              </a:xfrm>
              <a:custGeom>
                <a:avLst/>
                <a:gdLst>
                  <a:gd name="T0" fmla="*/ 0 w 26"/>
                  <a:gd name="T1" fmla="*/ 0 h 24"/>
                  <a:gd name="T2" fmla="*/ 0 w 26"/>
                  <a:gd name="T3" fmla="*/ 0 h 24"/>
                  <a:gd name="T4" fmla="*/ 0 w 26"/>
                  <a:gd name="T5" fmla="*/ 0 h 24"/>
                  <a:gd name="T6" fmla="*/ 0 w 26"/>
                  <a:gd name="T7" fmla="*/ 0 h 24"/>
                  <a:gd name="T8" fmla="*/ 0 w 26"/>
                  <a:gd name="T9" fmla="*/ 0 h 24"/>
                  <a:gd name="T10" fmla="*/ 0 w 26"/>
                  <a:gd name="T11" fmla="*/ 0 h 24"/>
                  <a:gd name="T12" fmla="*/ 0 w 26"/>
                  <a:gd name="T13" fmla="*/ 0 h 24"/>
                  <a:gd name="T14" fmla="*/ 0 w 26"/>
                  <a:gd name="T15" fmla="*/ 0 h 24"/>
                  <a:gd name="T16" fmla="*/ 0 w 26"/>
                  <a:gd name="T17" fmla="*/ 0 h 24"/>
                  <a:gd name="T18" fmla="*/ 0 w 26"/>
                  <a:gd name="T19" fmla="*/ 0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24">
                    <a:moveTo>
                      <a:pt x="0" y="24"/>
                    </a:moveTo>
                    <a:lnTo>
                      <a:pt x="3" y="23"/>
                    </a:lnTo>
                    <a:lnTo>
                      <a:pt x="7" y="22"/>
                    </a:lnTo>
                    <a:lnTo>
                      <a:pt x="11" y="19"/>
                    </a:lnTo>
                    <a:lnTo>
                      <a:pt x="16" y="16"/>
                    </a:lnTo>
                    <a:lnTo>
                      <a:pt x="20" y="13"/>
                    </a:lnTo>
                    <a:lnTo>
                      <a:pt x="23" y="9"/>
                    </a:lnTo>
                    <a:lnTo>
                      <a:pt x="25" y="4"/>
                    </a:lnTo>
                    <a:lnTo>
                      <a:pt x="26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54" name="Freeform 99"/>
              <p:cNvSpPr>
                <a:spLocks/>
              </p:cNvSpPr>
              <p:nvPr/>
            </p:nvSpPr>
            <p:spPr bwMode="auto">
              <a:xfrm>
                <a:off x="5490" y="2490"/>
                <a:ext cx="11" cy="2"/>
              </a:xfrm>
              <a:custGeom>
                <a:avLst/>
                <a:gdLst>
                  <a:gd name="T0" fmla="*/ 0 w 34"/>
                  <a:gd name="T1" fmla="*/ 0 h 6"/>
                  <a:gd name="T2" fmla="*/ 0 w 34"/>
                  <a:gd name="T3" fmla="*/ 0 h 6"/>
                  <a:gd name="T4" fmla="*/ 0 w 34"/>
                  <a:gd name="T5" fmla="*/ 0 h 6"/>
                  <a:gd name="T6" fmla="*/ 0 w 34"/>
                  <a:gd name="T7" fmla="*/ 0 h 6"/>
                  <a:gd name="T8" fmla="*/ 0 w 34"/>
                  <a:gd name="T9" fmla="*/ 0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4" h="6">
                    <a:moveTo>
                      <a:pt x="0" y="6"/>
                    </a:moveTo>
                    <a:lnTo>
                      <a:pt x="10" y="6"/>
                    </a:lnTo>
                    <a:lnTo>
                      <a:pt x="17" y="5"/>
                    </a:lnTo>
                    <a:lnTo>
                      <a:pt x="25" y="4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55" name="Line 100"/>
              <p:cNvSpPr>
                <a:spLocks noChangeShapeType="1"/>
              </p:cNvSpPr>
              <p:nvPr/>
            </p:nvSpPr>
            <p:spPr bwMode="auto">
              <a:xfrm flipH="1">
                <a:off x="5495" y="249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56" name="Freeform 101"/>
              <p:cNvSpPr>
                <a:spLocks/>
              </p:cNvSpPr>
              <p:nvPr/>
            </p:nvSpPr>
            <p:spPr bwMode="auto">
              <a:xfrm>
                <a:off x="5464" y="2530"/>
                <a:ext cx="1" cy="7"/>
              </a:xfrm>
              <a:custGeom>
                <a:avLst/>
                <a:gdLst>
                  <a:gd name="T0" fmla="*/ 0 w 1"/>
                  <a:gd name="T1" fmla="*/ 0 h 19"/>
                  <a:gd name="T2" fmla="*/ 0 w 1"/>
                  <a:gd name="T3" fmla="*/ 0 h 19"/>
                  <a:gd name="T4" fmla="*/ 0 w 1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" h="19">
                    <a:moveTo>
                      <a:pt x="0" y="19"/>
                    </a:move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57" name="Line 102"/>
              <p:cNvSpPr>
                <a:spLocks noChangeShapeType="1"/>
              </p:cNvSpPr>
              <p:nvPr/>
            </p:nvSpPr>
            <p:spPr bwMode="auto">
              <a:xfrm>
                <a:off x="5464" y="2530"/>
                <a:ext cx="6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58" name="Freeform 103"/>
              <p:cNvSpPr>
                <a:spLocks/>
              </p:cNvSpPr>
              <p:nvPr/>
            </p:nvSpPr>
            <p:spPr bwMode="auto">
              <a:xfrm>
                <a:off x="5466" y="2530"/>
                <a:ext cx="4" cy="2"/>
              </a:xfrm>
              <a:custGeom>
                <a:avLst/>
                <a:gdLst>
                  <a:gd name="T0" fmla="*/ 0 w 14"/>
                  <a:gd name="T1" fmla="*/ 0 h 6"/>
                  <a:gd name="T2" fmla="*/ 0 w 14"/>
                  <a:gd name="T3" fmla="*/ 0 h 6"/>
                  <a:gd name="T4" fmla="*/ 0 w 14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7" y="3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  <p:sp>
          <p:nvSpPr>
            <p:cNvPr id="1167" name="Freeform 104"/>
            <p:cNvSpPr>
              <a:spLocks/>
            </p:cNvSpPr>
            <p:nvPr>
              <p:custDataLst>
                <p:tags r:id="rId93"/>
              </p:custDataLst>
            </p:nvPr>
          </p:nvSpPr>
          <p:spPr bwMode="auto">
            <a:xfrm>
              <a:off x="8426719" y="3899930"/>
              <a:ext cx="6384" cy="57351"/>
            </a:xfrm>
            <a:custGeom>
              <a:avLst/>
              <a:gdLst>
                <a:gd name="T0" fmla="*/ 13 w 26"/>
                <a:gd name="T1" fmla="*/ 111 h 111"/>
                <a:gd name="T2" fmla="*/ 9 w 26"/>
                <a:gd name="T3" fmla="*/ 103 h 111"/>
                <a:gd name="T4" fmla="*/ 4 w 26"/>
                <a:gd name="T5" fmla="*/ 95 h 111"/>
                <a:gd name="T6" fmla="*/ 2 w 26"/>
                <a:gd name="T7" fmla="*/ 91 h 111"/>
                <a:gd name="T8" fmla="*/ 1 w 26"/>
                <a:gd name="T9" fmla="*/ 87 h 111"/>
                <a:gd name="T10" fmla="*/ 0 w 26"/>
                <a:gd name="T11" fmla="*/ 80 h 111"/>
                <a:gd name="T12" fmla="*/ 0 w 26"/>
                <a:gd name="T13" fmla="*/ 74 h 111"/>
                <a:gd name="T14" fmla="*/ 0 w 26"/>
                <a:gd name="T15" fmla="*/ 61 h 111"/>
                <a:gd name="T16" fmla="*/ 1 w 26"/>
                <a:gd name="T17" fmla="*/ 51 h 111"/>
                <a:gd name="T18" fmla="*/ 3 w 26"/>
                <a:gd name="T19" fmla="*/ 41 h 111"/>
                <a:gd name="T20" fmla="*/ 5 w 26"/>
                <a:gd name="T21" fmla="*/ 33 h 111"/>
                <a:gd name="T22" fmla="*/ 9 w 26"/>
                <a:gd name="T23" fmla="*/ 24 h 111"/>
                <a:gd name="T24" fmla="*/ 14 w 26"/>
                <a:gd name="T25" fmla="*/ 17 h 111"/>
                <a:gd name="T26" fmla="*/ 20 w 26"/>
                <a:gd name="T27" fmla="*/ 9 h 111"/>
                <a:gd name="T28" fmla="*/ 26 w 26"/>
                <a:gd name="T29" fmla="*/ 0 h 111"/>
                <a:gd name="T30" fmla="*/ 26 w 26"/>
                <a:gd name="T31" fmla="*/ 6 h 111"/>
                <a:gd name="T32" fmla="*/ 26 w 26"/>
                <a:gd name="T33" fmla="*/ 13 h 111"/>
                <a:gd name="T34" fmla="*/ 26 w 26"/>
                <a:gd name="T35" fmla="*/ 22 h 111"/>
                <a:gd name="T36" fmla="*/ 26 w 26"/>
                <a:gd name="T37" fmla="*/ 32 h 111"/>
                <a:gd name="T38" fmla="*/ 25 w 26"/>
                <a:gd name="T39" fmla="*/ 44 h 111"/>
                <a:gd name="T40" fmla="*/ 22 w 26"/>
                <a:gd name="T41" fmla="*/ 56 h 111"/>
                <a:gd name="T42" fmla="*/ 18 w 26"/>
                <a:gd name="T43" fmla="*/ 67 h 111"/>
                <a:gd name="T44" fmla="*/ 13 w 26"/>
                <a:gd name="T45" fmla="*/ 80 h 111"/>
                <a:gd name="T46" fmla="*/ 13 w 26"/>
                <a:gd name="T47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6" h="111">
                  <a:moveTo>
                    <a:pt x="13" y="111"/>
                  </a:moveTo>
                  <a:lnTo>
                    <a:pt x="9" y="103"/>
                  </a:lnTo>
                  <a:lnTo>
                    <a:pt x="4" y="95"/>
                  </a:lnTo>
                  <a:lnTo>
                    <a:pt x="2" y="91"/>
                  </a:lnTo>
                  <a:lnTo>
                    <a:pt x="1" y="87"/>
                  </a:lnTo>
                  <a:lnTo>
                    <a:pt x="0" y="80"/>
                  </a:lnTo>
                  <a:lnTo>
                    <a:pt x="0" y="74"/>
                  </a:lnTo>
                  <a:lnTo>
                    <a:pt x="0" y="61"/>
                  </a:lnTo>
                  <a:lnTo>
                    <a:pt x="1" y="51"/>
                  </a:lnTo>
                  <a:lnTo>
                    <a:pt x="3" y="41"/>
                  </a:lnTo>
                  <a:lnTo>
                    <a:pt x="5" y="33"/>
                  </a:lnTo>
                  <a:lnTo>
                    <a:pt x="9" y="24"/>
                  </a:lnTo>
                  <a:lnTo>
                    <a:pt x="14" y="17"/>
                  </a:lnTo>
                  <a:lnTo>
                    <a:pt x="20" y="9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6" y="13"/>
                  </a:lnTo>
                  <a:lnTo>
                    <a:pt x="26" y="22"/>
                  </a:lnTo>
                  <a:lnTo>
                    <a:pt x="26" y="32"/>
                  </a:lnTo>
                  <a:lnTo>
                    <a:pt x="25" y="44"/>
                  </a:lnTo>
                  <a:lnTo>
                    <a:pt x="22" y="56"/>
                  </a:lnTo>
                  <a:lnTo>
                    <a:pt x="18" y="67"/>
                  </a:lnTo>
                  <a:lnTo>
                    <a:pt x="13" y="80"/>
                  </a:lnTo>
                  <a:lnTo>
                    <a:pt x="13" y="111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09" name="Freeform 107"/>
            <p:cNvSpPr>
              <a:spLocks/>
            </p:cNvSpPr>
            <p:nvPr>
              <p:custDataLst>
                <p:tags r:id="rId94"/>
              </p:custDataLst>
            </p:nvPr>
          </p:nvSpPr>
          <p:spPr bwMode="auto">
            <a:xfrm>
              <a:off x="9782807" y="2648389"/>
              <a:ext cx="20637" cy="57150"/>
            </a:xfrm>
            <a:custGeom>
              <a:avLst/>
              <a:gdLst>
                <a:gd name="T0" fmla="*/ 2147483647 w 46"/>
                <a:gd name="T1" fmla="*/ 0 h 16"/>
                <a:gd name="T2" fmla="*/ 2147483647 w 46"/>
                <a:gd name="T3" fmla="*/ 2147483647 h 16"/>
                <a:gd name="T4" fmla="*/ 2147483647 w 46"/>
                <a:gd name="T5" fmla="*/ 2147483647 h 16"/>
                <a:gd name="T6" fmla="*/ 2147483647 w 46"/>
                <a:gd name="T7" fmla="*/ 2147483647 h 16"/>
                <a:gd name="T8" fmla="*/ 2147483647 w 46"/>
                <a:gd name="T9" fmla="*/ 2147483647 h 16"/>
                <a:gd name="T10" fmla="*/ 2147483647 w 46"/>
                <a:gd name="T11" fmla="*/ 2147483647 h 16"/>
                <a:gd name="T12" fmla="*/ 2147483647 w 46"/>
                <a:gd name="T13" fmla="*/ 2147483647 h 16"/>
                <a:gd name="T14" fmla="*/ 2147483647 w 46"/>
                <a:gd name="T15" fmla="*/ 2147483647 h 16"/>
                <a:gd name="T16" fmla="*/ 2147483647 w 46"/>
                <a:gd name="T17" fmla="*/ 2147483647 h 16"/>
                <a:gd name="T18" fmla="*/ 2147483647 w 46"/>
                <a:gd name="T19" fmla="*/ 2147483647 h 16"/>
                <a:gd name="T20" fmla="*/ 0 w 46"/>
                <a:gd name="T21" fmla="*/ 0 h 16"/>
                <a:gd name="T22" fmla="*/ 2147483647 w 46"/>
                <a:gd name="T23" fmla="*/ 0 h 1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6" h="16">
                  <a:moveTo>
                    <a:pt x="46" y="0"/>
                  </a:moveTo>
                  <a:lnTo>
                    <a:pt x="40" y="7"/>
                  </a:lnTo>
                  <a:lnTo>
                    <a:pt x="35" y="13"/>
                  </a:lnTo>
                  <a:lnTo>
                    <a:pt x="31" y="14"/>
                  </a:lnTo>
                  <a:lnTo>
                    <a:pt x="29" y="15"/>
                  </a:lnTo>
                  <a:lnTo>
                    <a:pt x="26" y="16"/>
                  </a:lnTo>
                  <a:lnTo>
                    <a:pt x="23" y="16"/>
                  </a:lnTo>
                  <a:lnTo>
                    <a:pt x="16" y="14"/>
                  </a:lnTo>
                  <a:lnTo>
                    <a:pt x="11" y="11"/>
                  </a:lnTo>
                  <a:lnTo>
                    <a:pt x="5" y="6"/>
                  </a:lnTo>
                  <a:lnTo>
                    <a:pt x="0" y="0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10" name="Freeform 108"/>
            <p:cNvSpPr>
              <a:spLocks/>
            </p:cNvSpPr>
            <p:nvPr>
              <p:custDataLst>
                <p:tags r:id="rId95"/>
              </p:custDataLst>
            </p:nvPr>
          </p:nvSpPr>
          <p:spPr bwMode="auto">
            <a:xfrm>
              <a:off x="9959019" y="2681727"/>
              <a:ext cx="15875" cy="57150"/>
            </a:xfrm>
            <a:custGeom>
              <a:avLst/>
              <a:gdLst>
                <a:gd name="T0" fmla="*/ 2147483647 w 39"/>
                <a:gd name="T1" fmla="*/ 2147483647 h 26"/>
                <a:gd name="T2" fmla="*/ 2147483647 w 39"/>
                <a:gd name="T3" fmla="*/ 2147483647 h 26"/>
                <a:gd name="T4" fmla="*/ 2147483647 w 39"/>
                <a:gd name="T5" fmla="*/ 2147483647 h 26"/>
                <a:gd name="T6" fmla="*/ 2147483647 w 39"/>
                <a:gd name="T7" fmla="*/ 2147483647 h 26"/>
                <a:gd name="T8" fmla="*/ 2147483647 w 39"/>
                <a:gd name="T9" fmla="*/ 2147483647 h 26"/>
                <a:gd name="T10" fmla="*/ 2147483647 w 39"/>
                <a:gd name="T11" fmla="*/ 2147483647 h 26"/>
                <a:gd name="T12" fmla="*/ 2147483647 w 39"/>
                <a:gd name="T13" fmla="*/ 2147483647 h 26"/>
                <a:gd name="T14" fmla="*/ 2147483647 w 39"/>
                <a:gd name="T15" fmla="*/ 2147483647 h 26"/>
                <a:gd name="T16" fmla="*/ 2147483647 w 39"/>
                <a:gd name="T17" fmla="*/ 2147483647 h 26"/>
                <a:gd name="T18" fmla="*/ 2147483647 w 39"/>
                <a:gd name="T19" fmla="*/ 2147483647 h 26"/>
                <a:gd name="T20" fmla="*/ 0 w 39"/>
                <a:gd name="T21" fmla="*/ 0 h 26"/>
                <a:gd name="T22" fmla="*/ 2147483647 w 39"/>
                <a:gd name="T23" fmla="*/ 2147483647 h 26"/>
                <a:gd name="T24" fmla="*/ 2147483647 w 39"/>
                <a:gd name="T25" fmla="*/ 2147483647 h 26"/>
                <a:gd name="T26" fmla="*/ 2147483647 w 39"/>
                <a:gd name="T27" fmla="*/ 2147483647 h 26"/>
                <a:gd name="T28" fmla="*/ 2147483647 w 39"/>
                <a:gd name="T29" fmla="*/ 2147483647 h 2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39" h="26">
                  <a:moveTo>
                    <a:pt x="39" y="25"/>
                  </a:moveTo>
                  <a:lnTo>
                    <a:pt x="36" y="26"/>
                  </a:lnTo>
                  <a:lnTo>
                    <a:pt x="32" y="26"/>
                  </a:lnTo>
                  <a:lnTo>
                    <a:pt x="28" y="26"/>
                  </a:lnTo>
                  <a:lnTo>
                    <a:pt x="25" y="25"/>
                  </a:lnTo>
                  <a:lnTo>
                    <a:pt x="18" y="22"/>
                  </a:lnTo>
                  <a:lnTo>
                    <a:pt x="12" y="18"/>
                  </a:lnTo>
                  <a:lnTo>
                    <a:pt x="7" y="13"/>
                  </a:lnTo>
                  <a:lnTo>
                    <a:pt x="3" y="7"/>
                  </a:lnTo>
                  <a:lnTo>
                    <a:pt x="1" y="3"/>
                  </a:lnTo>
                  <a:lnTo>
                    <a:pt x="0" y="0"/>
                  </a:lnTo>
                  <a:lnTo>
                    <a:pt x="11" y="6"/>
                  </a:lnTo>
                  <a:lnTo>
                    <a:pt x="22" y="13"/>
                  </a:lnTo>
                  <a:lnTo>
                    <a:pt x="33" y="20"/>
                  </a:lnTo>
                  <a:lnTo>
                    <a:pt x="3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11" name="Freeform 109"/>
            <p:cNvSpPr>
              <a:spLocks/>
            </p:cNvSpPr>
            <p:nvPr>
              <p:custDataLst>
                <p:tags r:id="rId96"/>
              </p:custDataLst>
            </p:nvPr>
          </p:nvSpPr>
          <p:spPr bwMode="auto">
            <a:xfrm>
              <a:off x="9408157" y="2911914"/>
              <a:ext cx="4762" cy="58738"/>
            </a:xfrm>
            <a:custGeom>
              <a:avLst/>
              <a:gdLst>
                <a:gd name="T0" fmla="*/ 2147483647 w 11"/>
                <a:gd name="T1" fmla="*/ 0 h 25"/>
                <a:gd name="T2" fmla="*/ 2147483647 w 11"/>
                <a:gd name="T3" fmla="*/ 2147483647 h 25"/>
                <a:gd name="T4" fmla="*/ 2147483647 w 11"/>
                <a:gd name="T5" fmla="*/ 2147483647 h 25"/>
                <a:gd name="T6" fmla="*/ 2147483647 w 11"/>
                <a:gd name="T7" fmla="*/ 2147483647 h 25"/>
                <a:gd name="T8" fmla="*/ 2147483647 w 11"/>
                <a:gd name="T9" fmla="*/ 2147483647 h 25"/>
                <a:gd name="T10" fmla="*/ 2147483647 w 11"/>
                <a:gd name="T11" fmla="*/ 2147483647 h 25"/>
                <a:gd name="T12" fmla="*/ 2147483647 w 11"/>
                <a:gd name="T13" fmla="*/ 2147483647 h 25"/>
                <a:gd name="T14" fmla="*/ 0 w 11"/>
                <a:gd name="T15" fmla="*/ 2147483647 h 25"/>
                <a:gd name="T16" fmla="*/ 0 w 11"/>
                <a:gd name="T17" fmla="*/ 2147483647 h 25"/>
                <a:gd name="T18" fmla="*/ 2147483647 w 11"/>
                <a:gd name="T19" fmla="*/ 2147483647 h 25"/>
                <a:gd name="T20" fmla="*/ 2147483647 w 11"/>
                <a:gd name="T21" fmla="*/ 2147483647 h 25"/>
                <a:gd name="T22" fmla="*/ 2147483647 w 11"/>
                <a:gd name="T23" fmla="*/ 2147483647 h 25"/>
                <a:gd name="T24" fmla="*/ 2147483647 w 11"/>
                <a:gd name="T25" fmla="*/ 0 h 2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" h="25">
                  <a:moveTo>
                    <a:pt x="11" y="0"/>
                  </a:moveTo>
                  <a:lnTo>
                    <a:pt x="11" y="5"/>
                  </a:lnTo>
                  <a:lnTo>
                    <a:pt x="10" y="12"/>
                  </a:lnTo>
                  <a:lnTo>
                    <a:pt x="9" y="20"/>
                  </a:lnTo>
                  <a:lnTo>
                    <a:pt x="4" y="25"/>
                  </a:lnTo>
                  <a:lnTo>
                    <a:pt x="2" y="23"/>
                  </a:lnTo>
                  <a:lnTo>
                    <a:pt x="1" y="20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5"/>
                  </a:lnTo>
                  <a:lnTo>
                    <a:pt x="6" y="2"/>
                  </a:lnTo>
                  <a:lnTo>
                    <a:pt x="11" y="0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12" name="Freeform 110"/>
            <p:cNvSpPr>
              <a:spLocks/>
            </p:cNvSpPr>
            <p:nvPr>
              <p:custDataLst>
                <p:tags r:id="rId97"/>
              </p:custDataLst>
            </p:nvPr>
          </p:nvSpPr>
          <p:spPr bwMode="auto">
            <a:xfrm>
              <a:off x="9222419" y="3473889"/>
              <a:ext cx="14288" cy="58738"/>
            </a:xfrm>
            <a:custGeom>
              <a:avLst/>
              <a:gdLst>
                <a:gd name="T0" fmla="*/ 2147483647 w 20"/>
                <a:gd name="T1" fmla="*/ 0 h 31"/>
                <a:gd name="T2" fmla="*/ 2147483647 w 20"/>
                <a:gd name="T3" fmla="*/ 2147483647 h 31"/>
                <a:gd name="T4" fmla="*/ 2147483647 w 20"/>
                <a:gd name="T5" fmla="*/ 2147483647 h 31"/>
                <a:gd name="T6" fmla="*/ 2147483647 w 20"/>
                <a:gd name="T7" fmla="*/ 2147483647 h 31"/>
                <a:gd name="T8" fmla="*/ 0 w 20"/>
                <a:gd name="T9" fmla="*/ 2147483647 h 31"/>
                <a:gd name="T10" fmla="*/ 0 w 20"/>
                <a:gd name="T11" fmla="*/ 2147483647 h 31"/>
                <a:gd name="T12" fmla="*/ 2147483647 w 20"/>
                <a:gd name="T13" fmla="*/ 2147483647 h 31"/>
                <a:gd name="T14" fmla="*/ 2147483647 w 20"/>
                <a:gd name="T15" fmla="*/ 2147483647 h 31"/>
                <a:gd name="T16" fmla="*/ 2147483647 w 20"/>
                <a:gd name="T17" fmla="*/ 2147483647 h 31"/>
                <a:gd name="T18" fmla="*/ 2147483647 w 20"/>
                <a:gd name="T19" fmla="*/ 2147483647 h 31"/>
                <a:gd name="T20" fmla="*/ 2147483647 w 20"/>
                <a:gd name="T21" fmla="*/ 2147483647 h 31"/>
                <a:gd name="T22" fmla="*/ 2147483647 w 20"/>
                <a:gd name="T23" fmla="*/ 0 h 31"/>
                <a:gd name="T24" fmla="*/ 2147483647 w 20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31">
                  <a:moveTo>
                    <a:pt x="20" y="0"/>
                  </a:moveTo>
                  <a:lnTo>
                    <a:pt x="16" y="12"/>
                  </a:lnTo>
                  <a:lnTo>
                    <a:pt x="10" y="20"/>
                  </a:lnTo>
                  <a:lnTo>
                    <a:pt x="5" y="26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3"/>
                  </a:ln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16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13" name="Freeform 111"/>
            <p:cNvSpPr>
              <a:spLocks/>
            </p:cNvSpPr>
            <p:nvPr>
              <p:custDataLst>
                <p:tags r:id="rId98"/>
              </p:custDataLst>
            </p:nvPr>
          </p:nvSpPr>
          <p:spPr bwMode="auto">
            <a:xfrm>
              <a:off x="9239882" y="3408802"/>
              <a:ext cx="15875" cy="57150"/>
            </a:xfrm>
            <a:custGeom>
              <a:avLst/>
              <a:gdLst>
                <a:gd name="T0" fmla="*/ 2147483647 w 26"/>
                <a:gd name="T1" fmla="*/ 2147483647 h 37"/>
                <a:gd name="T2" fmla="*/ 0 w 26"/>
                <a:gd name="T3" fmla="*/ 2147483647 h 37"/>
                <a:gd name="T4" fmla="*/ 2147483647 w 26"/>
                <a:gd name="T5" fmla="*/ 2147483647 h 37"/>
                <a:gd name="T6" fmla="*/ 2147483647 w 26"/>
                <a:gd name="T7" fmla="*/ 2147483647 h 37"/>
                <a:gd name="T8" fmla="*/ 2147483647 w 26"/>
                <a:gd name="T9" fmla="*/ 2147483647 h 37"/>
                <a:gd name="T10" fmla="*/ 2147483647 w 26"/>
                <a:gd name="T11" fmla="*/ 0 h 37"/>
                <a:gd name="T12" fmla="*/ 2147483647 w 26"/>
                <a:gd name="T13" fmla="*/ 2147483647 h 37"/>
                <a:gd name="T14" fmla="*/ 2147483647 w 26"/>
                <a:gd name="T15" fmla="*/ 2147483647 h 37"/>
                <a:gd name="T16" fmla="*/ 2147483647 w 26"/>
                <a:gd name="T17" fmla="*/ 2147483647 h 37"/>
                <a:gd name="T18" fmla="*/ 2147483647 w 26"/>
                <a:gd name="T19" fmla="*/ 2147483647 h 37"/>
                <a:gd name="T20" fmla="*/ 2147483647 w 26"/>
                <a:gd name="T21" fmla="*/ 2147483647 h 37"/>
                <a:gd name="T22" fmla="*/ 2147483647 w 26"/>
                <a:gd name="T23" fmla="*/ 2147483647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6" h="37">
                  <a:moveTo>
                    <a:pt x="13" y="37"/>
                  </a:moveTo>
                  <a:lnTo>
                    <a:pt x="0" y="12"/>
                  </a:lnTo>
                  <a:lnTo>
                    <a:pt x="6" y="7"/>
                  </a:lnTo>
                  <a:lnTo>
                    <a:pt x="13" y="4"/>
                  </a:lnTo>
                  <a:lnTo>
                    <a:pt x="21" y="1"/>
                  </a:lnTo>
                  <a:lnTo>
                    <a:pt x="26" y="0"/>
                  </a:lnTo>
                  <a:lnTo>
                    <a:pt x="26" y="6"/>
                  </a:lnTo>
                  <a:lnTo>
                    <a:pt x="25" y="11"/>
                  </a:lnTo>
                  <a:lnTo>
                    <a:pt x="24" y="17"/>
                  </a:lnTo>
                  <a:lnTo>
                    <a:pt x="23" y="21"/>
                  </a:lnTo>
                  <a:lnTo>
                    <a:pt x="18" y="29"/>
                  </a:lnTo>
                  <a:lnTo>
                    <a:pt x="13" y="3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14" name="Freeform 112"/>
            <p:cNvSpPr>
              <a:spLocks/>
            </p:cNvSpPr>
            <p:nvPr>
              <p:custDataLst>
                <p:tags r:id="rId99"/>
              </p:custDataLst>
            </p:nvPr>
          </p:nvSpPr>
          <p:spPr bwMode="auto">
            <a:xfrm>
              <a:off x="9128757" y="3257989"/>
              <a:ext cx="1587" cy="60325"/>
            </a:xfrm>
            <a:custGeom>
              <a:avLst/>
              <a:gdLst>
                <a:gd name="T0" fmla="*/ 0 w 7"/>
                <a:gd name="T1" fmla="*/ 2147483647 h 18"/>
                <a:gd name="T2" fmla="*/ 0 w 7"/>
                <a:gd name="T3" fmla="*/ 0 h 18"/>
                <a:gd name="T4" fmla="*/ 2147483647 w 7"/>
                <a:gd name="T5" fmla="*/ 2147483647 h 18"/>
                <a:gd name="T6" fmla="*/ 0 w 7"/>
                <a:gd name="T7" fmla="*/ 2147483647 h 1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7" h="18">
                  <a:moveTo>
                    <a:pt x="0" y="18"/>
                  </a:moveTo>
                  <a:lnTo>
                    <a:pt x="0" y="0"/>
                  </a:lnTo>
                  <a:lnTo>
                    <a:pt x="7" y="12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15" name="Freeform 113"/>
            <p:cNvSpPr>
              <a:spLocks/>
            </p:cNvSpPr>
            <p:nvPr>
              <p:custDataLst>
                <p:tags r:id="rId100"/>
              </p:custDataLst>
            </p:nvPr>
          </p:nvSpPr>
          <p:spPr bwMode="auto">
            <a:xfrm>
              <a:off x="5980744" y="2384864"/>
              <a:ext cx="9525" cy="57150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2147483647 w 33"/>
                <a:gd name="T19" fmla="*/ 2147483647 h 31"/>
                <a:gd name="T20" fmla="*/ 2147483647 w 33"/>
                <a:gd name="T21" fmla="*/ 2147483647 h 31"/>
                <a:gd name="T22" fmla="*/ 0 w 33"/>
                <a:gd name="T23" fmla="*/ 2147483647 h 3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33" h="31">
                  <a:moveTo>
                    <a:pt x="0" y="12"/>
                  </a:moveTo>
                  <a:lnTo>
                    <a:pt x="19" y="0"/>
                  </a:lnTo>
                  <a:lnTo>
                    <a:pt x="24" y="5"/>
                  </a:lnTo>
                  <a:lnTo>
                    <a:pt x="28" y="12"/>
                  </a:lnTo>
                  <a:lnTo>
                    <a:pt x="32" y="22"/>
                  </a:lnTo>
                  <a:lnTo>
                    <a:pt x="33" y="31"/>
                  </a:lnTo>
                  <a:lnTo>
                    <a:pt x="27" y="30"/>
                  </a:lnTo>
                  <a:lnTo>
                    <a:pt x="22" y="28"/>
                  </a:lnTo>
                  <a:lnTo>
                    <a:pt x="16" y="25"/>
                  </a:lnTo>
                  <a:lnTo>
                    <a:pt x="11" y="22"/>
                  </a:lnTo>
                  <a:lnTo>
                    <a:pt x="3" y="15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16" name="Freeform 114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5966457" y="2153089"/>
              <a:ext cx="3175" cy="57150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2147483647 w 14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0" y="6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17" name="Freeform 115"/>
            <p:cNvSpPr>
              <a:spLocks/>
            </p:cNvSpPr>
            <p:nvPr>
              <p:custDataLst>
                <p:tags r:id="rId102"/>
              </p:custDataLst>
            </p:nvPr>
          </p:nvSpPr>
          <p:spPr bwMode="auto">
            <a:xfrm>
              <a:off x="7447594" y="3931089"/>
              <a:ext cx="25400" cy="55563"/>
            </a:xfrm>
            <a:custGeom>
              <a:avLst/>
              <a:gdLst>
                <a:gd name="T0" fmla="*/ 2147483647 w 59"/>
                <a:gd name="T1" fmla="*/ 2147483647 h 31"/>
                <a:gd name="T2" fmla="*/ 2147483647 w 59"/>
                <a:gd name="T3" fmla="*/ 2147483647 h 31"/>
                <a:gd name="T4" fmla="*/ 2147483647 w 59"/>
                <a:gd name="T5" fmla="*/ 2147483647 h 31"/>
                <a:gd name="T6" fmla="*/ 2147483647 w 59"/>
                <a:gd name="T7" fmla="*/ 2147483647 h 31"/>
                <a:gd name="T8" fmla="*/ 2147483647 w 59"/>
                <a:gd name="T9" fmla="*/ 2147483647 h 31"/>
                <a:gd name="T10" fmla="*/ 2147483647 w 59"/>
                <a:gd name="T11" fmla="*/ 2147483647 h 31"/>
                <a:gd name="T12" fmla="*/ 2147483647 w 59"/>
                <a:gd name="T13" fmla="*/ 2147483647 h 31"/>
                <a:gd name="T14" fmla="*/ 2147483647 w 59"/>
                <a:gd name="T15" fmla="*/ 2147483647 h 31"/>
                <a:gd name="T16" fmla="*/ 2147483647 w 59"/>
                <a:gd name="T17" fmla="*/ 2147483647 h 31"/>
                <a:gd name="T18" fmla="*/ 2147483647 w 59"/>
                <a:gd name="T19" fmla="*/ 2147483647 h 31"/>
                <a:gd name="T20" fmla="*/ 2147483647 w 59"/>
                <a:gd name="T21" fmla="*/ 2147483647 h 31"/>
                <a:gd name="T22" fmla="*/ 2147483647 w 59"/>
                <a:gd name="T23" fmla="*/ 2147483647 h 31"/>
                <a:gd name="T24" fmla="*/ 2147483647 w 59"/>
                <a:gd name="T25" fmla="*/ 2147483647 h 31"/>
                <a:gd name="T26" fmla="*/ 2147483647 w 59"/>
                <a:gd name="T27" fmla="*/ 2147483647 h 31"/>
                <a:gd name="T28" fmla="*/ 0 w 59"/>
                <a:gd name="T29" fmla="*/ 2147483647 h 31"/>
                <a:gd name="T30" fmla="*/ 2147483647 w 59"/>
                <a:gd name="T31" fmla="*/ 2147483647 h 31"/>
                <a:gd name="T32" fmla="*/ 2147483647 w 59"/>
                <a:gd name="T33" fmla="*/ 2147483647 h 31"/>
                <a:gd name="T34" fmla="*/ 2147483647 w 59"/>
                <a:gd name="T35" fmla="*/ 2147483647 h 31"/>
                <a:gd name="T36" fmla="*/ 2147483647 w 59"/>
                <a:gd name="T37" fmla="*/ 2147483647 h 31"/>
                <a:gd name="T38" fmla="*/ 2147483647 w 59"/>
                <a:gd name="T39" fmla="*/ 2147483647 h 31"/>
                <a:gd name="T40" fmla="*/ 2147483647 w 59"/>
                <a:gd name="T41" fmla="*/ 0 h 31"/>
                <a:gd name="T42" fmla="*/ 2147483647 w 59"/>
                <a:gd name="T43" fmla="*/ 0 h 31"/>
                <a:gd name="T44" fmla="*/ 2147483647 w 59"/>
                <a:gd name="T45" fmla="*/ 2147483647 h 31"/>
                <a:gd name="T46" fmla="*/ 2147483647 w 59"/>
                <a:gd name="T47" fmla="*/ 2147483647 h 31"/>
                <a:gd name="T48" fmla="*/ 2147483647 w 59"/>
                <a:gd name="T49" fmla="*/ 2147483647 h 3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18" name="Freeform 116"/>
            <p:cNvSpPr>
              <a:spLocks/>
            </p:cNvSpPr>
            <p:nvPr>
              <p:custDataLst>
                <p:tags r:id="rId103"/>
              </p:custDataLst>
            </p:nvPr>
          </p:nvSpPr>
          <p:spPr bwMode="auto">
            <a:xfrm>
              <a:off x="7150732" y="3792977"/>
              <a:ext cx="19050" cy="58737"/>
            </a:xfrm>
            <a:custGeom>
              <a:avLst/>
              <a:gdLst>
                <a:gd name="T0" fmla="*/ 2147483647 w 47"/>
                <a:gd name="T1" fmla="*/ 0 h 68"/>
                <a:gd name="T2" fmla="*/ 2147483647 w 47"/>
                <a:gd name="T3" fmla="*/ 2147483647 h 68"/>
                <a:gd name="T4" fmla="*/ 2147483647 w 47"/>
                <a:gd name="T5" fmla="*/ 2147483647 h 68"/>
                <a:gd name="T6" fmla="*/ 2147483647 w 47"/>
                <a:gd name="T7" fmla="*/ 2147483647 h 68"/>
                <a:gd name="T8" fmla="*/ 0 w 47"/>
                <a:gd name="T9" fmla="*/ 2147483647 h 68"/>
                <a:gd name="T10" fmla="*/ 0 w 47"/>
                <a:gd name="T11" fmla="*/ 2147483647 h 68"/>
                <a:gd name="T12" fmla="*/ 2147483647 w 47"/>
                <a:gd name="T13" fmla="*/ 2147483647 h 68"/>
                <a:gd name="T14" fmla="*/ 2147483647 w 47"/>
                <a:gd name="T15" fmla="*/ 2147483647 h 68"/>
                <a:gd name="T16" fmla="*/ 2147483647 w 47"/>
                <a:gd name="T17" fmla="*/ 2147483647 h 68"/>
                <a:gd name="T18" fmla="*/ 2147483647 w 47"/>
                <a:gd name="T19" fmla="*/ 2147483647 h 68"/>
                <a:gd name="T20" fmla="*/ 2147483647 w 47"/>
                <a:gd name="T21" fmla="*/ 2147483647 h 68"/>
                <a:gd name="T22" fmla="*/ 2147483647 w 47"/>
                <a:gd name="T23" fmla="*/ 2147483647 h 68"/>
                <a:gd name="T24" fmla="*/ 2147483647 w 47"/>
                <a:gd name="T25" fmla="*/ 2147483647 h 68"/>
                <a:gd name="T26" fmla="*/ 2147483647 w 47"/>
                <a:gd name="T27" fmla="*/ 2147483647 h 68"/>
                <a:gd name="T28" fmla="*/ 2147483647 w 47"/>
                <a:gd name="T29" fmla="*/ 2147483647 h 68"/>
                <a:gd name="T30" fmla="*/ 2147483647 w 47"/>
                <a:gd name="T31" fmla="*/ 2147483647 h 68"/>
                <a:gd name="T32" fmla="*/ 2147483647 w 47"/>
                <a:gd name="T33" fmla="*/ 2147483647 h 68"/>
                <a:gd name="T34" fmla="*/ 2147483647 w 47"/>
                <a:gd name="T35" fmla="*/ 2147483647 h 68"/>
                <a:gd name="T36" fmla="*/ 2147483647 w 47"/>
                <a:gd name="T37" fmla="*/ 2147483647 h 68"/>
                <a:gd name="T38" fmla="*/ 2147483647 w 47"/>
                <a:gd name="T39" fmla="*/ 2147483647 h 68"/>
                <a:gd name="T40" fmla="*/ 2147483647 w 47"/>
                <a:gd name="T41" fmla="*/ 2147483647 h 68"/>
                <a:gd name="T42" fmla="*/ 2147483647 w 47"/>
                <a:gd name="T43" fmla="*/ 2147483647 h 68"/>
                <a:gd name="T44" fmla="*/ 2147483647 w 47"/>
                <a:gd name="T45" fmla="*/ 2147483647 h 68"/>
                <a:gd name="T46" fmla="*/ 2147483647 w 47"/>
                <a:gd name="T47" fmla="*/ 2147483647 h 68"/>
                <a:gd name="T48" fmla="*/ 2147483647 w 47"/>
                <a:gd name="T49" fmla="*/ 0 h 6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47" h="68">
                  <a:moveTo>
                    <a:pt x="14" y="0"/>
                  </a:moveTo>
                  <a:lnTo>
                    <a:pt x="8" y="10"/>
                  </a:lnTo>
                  <a:lnTo>
                    <a:pt x="4" y="19"/>
                  </a:lnTo>
                  <a:lnTo>
                    <a:pt x="2" y="28"/>
                  </a:lnTo>
                  <a:lnTo>
                    <a:pt x="0" y="37"/>
                  </a:lnTo>
                  <a:lnTo>
                    <a:pt x="0" y="42"/>
                  </a:lnTo>
                  <a:lnTo>
                    <a:pt x="2" y="47"/>
                  </a:lnTo>
                  <a:lnTo>
                    <a:pt x="3" y="51"/>
                  </a:lnTo>
                  <a:lnTo>
                    <a:pt x="5" y="55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3" y="62"/>
                  </a:lnTo>
                  <a:lnTo>
                    <a:pt x="16" y="64"/>
                  </a:lnTo>
                  <a:lnTo>
                    <a:pt x="22" y="67"/>
                  </a:lnTo>
                  <a:lnTo>
                    <a:pt x="31" y="68"/>
                  </a:lnTo>
                  <a:lnTo>
                    <a:pt x="39" y="68"/>
                  </a:lnTo>
                  <a:lnTo>
                    <a:pt x="47" y="68"/>
                  </a:lnTo>
                  <a:lnTo>
                    <a:pt x="41" y="58"/>
                  </a:lnTo>
                  <a:lnTo>
                    <a:pt x="38" y="48"/>
                  </a:lnTo>
                  <a:lnTo>
                    <a:pt x="36" y="43"/>
                  </a:lnTo>
                  <a:lnTo>
                    <a:pt x="35" y="38"/>
                  </a:lnTo>
                  <a:lnTo>
                    <a:pt x="33" y="31"/>
                  </a:lnTo>
                  <a:lnTo>
                    <a:pt x="33" y="25"/>
                  </a:lnTo>
                  <a:lnTo>
                    <a:pt x="24" y="13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25719" name="Group 117"/>
            <p:cNvGrpSpPr>
              <a:grpSpLocks/>
            </p:cNvGrpSpPr>
            <p:nvPr>
              <p:custDataLst>
                <p:tags r:id="rId104"/>
              </p:custDataLst>
            </p:nvPr>
          </p:nvGrpSpPr>
          <p:grpSpPr bwMode="auto">
            <a:xfrm>
              <a:off x="7922257" y="3980302"/>
              <a:ext cx="46037" cy="374650"/>
              <a:chOff x="3950" y="2430"/>
              <a:chExt cx="36" cy="234"/>
            </a:xfrm>
          </p:grpSpPr>
          <p:sp>
            <p:nvSpPr>
              <p:cNvPr id="26019" name="Freeform 118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0" name="Freeform 119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1" name="Freeform 120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2" name="Rectangle 121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3" name="Line 122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4" name="Freeform 123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5" name="Freeform 124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6" name="Line 125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7" name="Freeform 126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8" name="Freeform 127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29" name="Line 128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0" name="Freeform 129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1" name="Freeform 130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2" name="Freeform 131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3" name="Freeform 132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4" name="Freeform 133"/>
              <p:cNvSpPr>
                <a:spLocks/>
              </p:cNvSpPr>
              <p:nvPr/>
            </p:nvSpPr>
            <p:spPr bwMode="auto">
              <a:xfrm>
                <a:off x="3975" y="2658"/>
                <a:ext cx="6" cy="6"/>
              </a:xfrm>
              <a:custGeom>
                <a:avLst/>
                <a:gdLst>
                  <a:gd name="T0" fmla="*/ 0 w 19"/>
                  <a:gd name="T1" fmla="*/ 0 h 20"/>
                  <a:gd name="T2" fmla="*/ 0 w 19"/>
                  <a:gd name="T3" fmla="*/ 0 h 20"/>
                  <a:gd name="T4" fmla="*/ 0 w 19"/>
                  <a:gd name="T5" fmla="*/ 0 h 20"/>
                  <a:gd name="T6" fmla="*/ 0 w 19"/>
                  <a:gd name="T7" fmla="*/ 0 h 20"/>
                  <a:gd name="T8" fmla="*/ 0 w 19"/>
                  <a:gd name="T9" fmla="*/ 0 h 20"/>
                  <a:gd name="T10" fmla="*/ 0 w 19"/>
                  <a:gd name="T11" fmla="*/ 0 h 20"/>
                  <a:gd name="T12" fmla="*/ 0 w 19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9" h="20">
                    <a:moveTo>
                      <a:pt x="0" y="0"/>
                    </a:moveTo>
                    <a:lnTo>
                      <a:pt x="0" y="20"/>
                    </a:lnTo>
                    <a:lnTo>
                      <a:pt x="19" y="14"/>
                    </a:lnTo>
                    <a:lnTo>
                      <a:pt x="14" y="8"/>
                    </a:lnTo>
                    <a:lnTo>
                      <a:pt x="10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5" name="Freeform 134"/>
              <p:cNvSpPr>
                <a:spLocks/>
              </p:cNvSpPr>
              <p:nvPr/>
            </p:nvSpPr>
            <p:spPr bwMode="auto">
              <a:xfrm>
                <a:off x="3975" y="2644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0 w 19"/>
                  <a:gd name="T3" fmla="*/ 0 h 12"/>
                  <a:gd name="T4" fmla="*/ 0 w 19"/>
                  <a:gd name="T5" fmla="*/ 0 h 12"/>
                  <a:gd name="T6" fmla="*/ 0 w 19"/>
                  <a:gd name="T7" fmla="*/ 0 h 1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13" y="12"/>
                    </a:moveTo>
                    <a:lnTo>
                      <a:pt x="19" y="0"/>
                    </a:ln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6" name="Freeform 135"/>
              <p:cNvSpPr>
                <a:spLocks/>
              </p:cNvSpPr>
              <p:nvPr/>
            </p:nvSpPr>
            <p:spPr bwMode="auto">
              <a:xfrm>
                <a:off x="3975" y="2637"/>
                <a:ext cx="6" cy="1"/>
              </a:xfrm>
              <a:custGeom>
                <a:avLst/>
                <a:gdLst>
                  <a:gd name="T0" fmla="*/ 0 w 19"/>
                  <a:gd name="T1" fmla="*/ 0 h 1"/>
                  <a:gd name="T2" fmla="*/ 0 w 19"/>
                  <a:gd name="T3" fmla="*/ 0 h 1"/>
                  <a:gd name="T4" fmla="*/ 0 w 19"/>
                  <a:gd name="T5" fmla="*/ 0 h 1"/>
                  <a:gd name="T6" fmla="*/ 0 w 19"/>
                  <a:gd name="T7" fmla="*/ 0 h 1"/>
                  <a:gd name="T8" fmla="*/ 0 w 19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9" h="1">
                    <a:moveTo>
                      <a:pt x="0" y="0"/>
                    </a:moveTo>
                    <a:lnTo>
                      <a:pt x="10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7" name="Rectangle 136"/>
              <p:cNvSpPr>
                <a:spLocks noChangeArrowheads="1"/>
              </p:cNvSpPr>
              <p:nvPr/>
            </p:nvSpPr>
            <p:spPr bwMode="auto">
              <a:xfrm>
                <a:off x="3975" y="2632"/>
                <a:ext cx="8" cy="2"/>
              </a:xfrm>
              <a:prstGeom prst="rect">
                <a:avLst/>
              </a:prstGeom>
              <a:solidFill>
                <a:srgbClr val="C0C0C0"/>
              </a:solidFill>
              <a:ln w="9525">
                <a:solidFill>
                  <a:srgbClr val="FFFFFF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8" name="Line 137"/>
              <p:cNvSpPr>
                <a:spLocks noChangeShapeType="1"/>
              </p:cNvSpPr>
              <p:nvPr/>
            </p:nvSpPr>
            <p:spPr bwMode="auto">
              <a:xfrm flipV="1">
                <a:off x="3972" y="2595"/>
                <a:ext cx="5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39" name="Freeform 138"/>
              <p:cNvSpPr>
                <a:spLocks/>
              </p:cNvSpPr>
              <p:nvPr/>
            </p:nvSpPr>
            <p:spPr bwMode="auto">
              <a:xfrm>
                <a:off x="3975" y="2595"/>
                <a:ext cx="2" cy="1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0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lnTo>
                      <a:pt x="5" y="1"/>
                    </a:lnTo>
                    <a:lnTo>
                      <a:pt x="3" y="2"/>
                    </a:lnTo>
                    <a:lnTo>
                      <a:pt x="1" y="3"/>
                    </a:lnTo>
                    <a:lnTo>
                      <a:pt x="0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0" name="Freeform 139"/>
              <p:cNvSpPr>
                <a:spLocks/>
              </p:cNvSpPr>
              <p:nvPr/>
            </p:nvSpPr>
            <p:spPr bwMode="auto">
              <a:xfrm>
                <a:off x="3981" y="2555"/>
                <a:ext cx="5" cy="8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0 h 24"/>
                  <a:gd name="T4" fmla="*/ 0 w 14"/>
                  <a:gd name="T5" fmla="*/ 0 h 24"/>
                  <a:gd name="T6" fmla="*/ 0 w 14"/>
                  <a:gd name="T7" fmla="*/ 0 h 24"/>
                  <a:gd name="T8" fmla="*/ 0 w 14"/>
                  <a:gd name="T9" fmla="*/ 0 h 24"/>
                  <a:gd name="T10" fmla="*/ 0 w 14"/>
                  <a:gd name="T11" fmla="*/ 0 h 24"/>
                  <a:gd name="T12" fmla="*/ 0 w 14"/>
                  <a:gd name="T13" fmla="*/ 0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4" h="24">
                    <a:moveTo>
                      <a:pt x="14" y="0"/>
                    </a:moveTo>
                    <a:lnTo>
                      <a:pt x="13" y="5"/>
                    </a:lnTo>
                    <a:lnTo>
                      <a:pt x="9" y="12"/>
                    </a:lnTo>
                    <a:lnTo>
                      <a:pt x="5" y="19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1" name="Line 140"/>
              <p:cNvSpPr>
                <a:spLocks noChangeShapeType="1"/>
              </p:cNvSpPr>
              <p:nvPr/>
            </p:nvSpPr>
            <p:spPr bwMode="auto">
              <a:xfrm>
                <a:off x="3981" y="2559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2" name="Freeform 141"/>
              <p:cNvSpPr>
                <a:spLocks/>
              </p:cNvSpPr>
              <p:nvPr/>
            </p:nvSpPr>
            <p:spPr bwMode="auto">
              <a:xfrm>
                <a:off x="3977" y="2572"/>
                <a:ext cx="4" cy="3"/>
              </a:xfrm>
              <a:custGeom>
                <a:avLst/>
                <a:gdLst>
                  <a:gd name="T0" fmla="*/ 0 w 13"/>
                  <a:gd name="T1" fmla="*/ 0 h 12"/>
                  <a:gd name="T2" fmla="*/ 0 w 13"/>
                  <a:gd name="T3" fmla="*/ 0 h 12"/>
                  <a:gd name="T4" fmla="*/ 0 w 13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12">
                    <a:moveTo>
                      <a:pt x="13" y="12"/>
                    </a:moveTo>
                    <a:lnTo>
                      <a:pt x="0" y="0"/>
                    </a:lnTo>
                    <a:lnTo>
                      <a:pt x="1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3" name="Freeform 142"/>
              <p:cNvSpPr>
                <a:spLocks/>
              </p:cNvSpPr>
              <p:nvPr/>
            </p:nvSpPr>
            <p:spPr bwMode="auto">
              <a:xfrm>
                <a:off x="3981" y="2585"/>
                <a:ext cx="2" cy="6"/>
              </a:xfrm>
              <a:custGeom>
                <a:avLst/>
                <a:gdLst>
                  <a:gd name="T0" fmla="*/ 0 w 7"/>
                  <a:gd name="T1" fmla="*/ 0 h 19"/>
                  <a:gd name="T2" fmla="*/ 0 w 7"/>
                  <a:gd name="T3" fmla="*/ 0 h 19"/>
                  <a:gd name="T4" fmla="*/ 0 w 7"/>
                  <a:gd name="T5" fmla="*/ 0 h 19"/>
                  <a:gd name="T6" fmla="*/ 0 w 7"/>
                  <a:gd name="T7" fmla="*/ 0 h 19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lnTo>
                      <a:pt x="0" y="19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4" name="Line 143"/>
              <p:cNvSpPr>
                <a:spLocks noChangeShapeType="1"/>
              </p:cNvSpPr>
              <p:nvPr/>
            </p:nvSpPr>
            <p:spPr bwMode="auto">
              <a:xfrm flipV="1">
                <a:off x="3981" y="2599"/>
                <a:ext cx="1" cy="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5" name="Freeform 144"/>
              <p:cNvSpPr>
                <a:spLocks/>
              </p:cNvSpPr>
              <p:nvPr/>
            </p:nvSpPr>
            <p:spPr bwMode="auto">
              <a:xfrm>
                <a:off x="3970" y="2545"/>
                <a:ext cx="2" cy="6"/>
              </a:xfrm>
              <a:custGeom>
                <a:avLst/>
                <a:gdLst>
                  <a:gd name="T0" fmla="*/ 0 w 8"/>
                  <a:gd name="T1" fmla="*/ 0 h 18"/>
                  <a:gd name="T2" fmla="*/ 0 w 8"/>
                  <a:gd name="T3" fmla="*/ 0 h 18"/>
                  <a:gd name="T4" fmla="*/ 0 w 8"/>
                  <a:gd name="T5" fmla="*/ 0 h 18"/>
                  <a:gd name="T6" fmla="*/ 0 w 8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8" h="18">
                    <a:moveTo>
                      <a:pt x="0" y="18"/>
                    </a:moveTo>
                    <a:lnTo>
                      <a:pt x="8" y="6"/>
                    </a:lnTo>
                    <a:lnTo>
                      <a:pt x="0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6" name="Freeform 145"/>
              <p:cNvSpPr>
                <a:spLocks/>
              </p:cNvSpPr>
              <p:nvPr/>
            </p:nvSpPr>
            <p:spPr bwMode="auto">
              <a:xfrm>
                <a:off x="3968" y="2532"/>
                <a:ext cx="2" cy="7"/>
              </a:xfrm>
              <a:custGeom>
                <a:avLst/>
                <a:gdLst>
                  <a:gd name="T0" fmla="*/ 0 w 6"/>
                  <a:gd name="T1" fmla="*/ 0 h 19"/>
                  <a:gd name="T2" fmla="*/ 0 w 6"/>
                  <a:gd name="T3" fmla="*/ 0 h 19"/>
                  <a:gd name="T4" fmla="*/ 0 w 6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" h="19">
                    <a:moveTo>
                      <a:pt x="0" y="0"/>
                    </a:moveTo>
                    <a:lnTo>
                      <a:pt x="0" y="19"/>
                    </a:lnTo>
                    <a:lnTo>
                      <a:pt x="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7" name="Freeform 146"/>
              <p:cNvSpPr>
                <a:spLocks/>
              </p:cNvSpPr>
              <p:nvPr/>
            </p:nvSpPr>
            <p:spPr bwMode="auto">
              <a:xfrm>
                <a:off x="3965" y="2513"/>
                <a:ext cx="10" cy="5"/>
              </a:xfrm>
              <a:custGeom>
                <a:avLst/>
                <a:gdLst>
                  <a:gd name="T0" fmla="*/ 0 w 28"/>
                  <a:gd name="T1" fmla="*/ 0 h 19"/>
                  <a:gd name="T2" fmla="*/ 0 w 28"/>
                  <a:gd name="T3" fmla="*/ 0 h 19"/>
                  <a:gd name="T4" fmla="*/ 0 w 28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8" h="19">
                    <a:moveTo>
                      <a:pt x="0" y="0"/>
                    </a:moveTo>
                    <a:lnTo>
                      <a:pt x="0" y="19"/>
                    </a:lnTo>
                    <a:lnTo>
                      <a:pt x="28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8" name="Freeform 147"/>
              <p:cNvSpPr>
                <a:spLocks/>
              </p:cNvSpPr>
              <p:nvPr/>
            </p:nvSpPr>
            <p:spPr bwMode="auto">
              <a:xfrm>
                <a:off x="3970" y="2513"/>
                <a:ext cx="5" cy="5"/>
              </a:xfrm>
              <a:custGeom>
                <a:avLst/>
                <a:gdLst>
                  <a:gd name="T0" fmla="*/ 0 w 15"/>
                  <a:gd name="T1" fmla="*/ 0 h 19"/>
                  <a:gd name="T2" fmla="*/ 0 w 15"/>
                  <a:gd name="T3" fmla="*/ 0 h 19"/>
                  <a:gd name="T4" fmla="*/ 0 w 15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" h="19">
                    <a:moveTo>
                      <a:pt x="15" y="19"/>
                    </a:moveTo>
                    <a:lnTo>
                      <a:pt x="8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49" name="Freeform 148"/>
              <p:cNvSpPr>
                <a:spLocks/>
              </p:cNvSpPr>
              <p:nvPr/>
            </p:nvSpPr>
            <p:spPr bwMode="auto">
              <a:xfrm>
                <a:off x="3950" y="2430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8">
                    <a:moveTo>
                      <a:pt x="13" y="18"/>
                    </a:moveTo>
                    <a:lnTo>
                      <a:pt x="20" y="0"/>
                    </a:lnTo>
                    <a:lnTo>
                      <a:pt x="0" y="0"/>
                    </a:lnTo>
                    <a:lnTo>
                      <a:pt x="13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  <p:grpSp>
          <p:nvGrpSpPr>
            <p:cNvPr id="25720" name="Group 149"/>
            <p:cNvGrpSpPr>
              <a:grpSpLocks/>
            </p:cNvGrpSpPr>
            <p:nvPr>
              <p:custDataLst>
                <p:tags r:id="rId105"/>
              </p:custDataLst>
            </p:nvPr>
          </p:nvGrpSpPr>
          <p:grpSpPr bwMode="auto">
            <a:xfrm>
              <a:off x="9987594" y="4480364"/>
              <a:ext cx="185738" cy="214313"/>
              <a:chOff x="5486" y="2743"/>
              <a:chExt cx="137" cy="132"/>
            </a:xfrm>
          </p:grpSpPr>
          <p:sp>
            <p:nvSpPr>
              <p:cNvPr id="26010" name="Freeform 150"/>
              <p:cNvSpPr>
                <a:spLocks/>
              </p:cNvSpPr>
              <p:nvPr/>
            </p:nvSpPr>
            <p:spPr bwMode="auto">
              <a:xfrm>
                <a:off x="5595" y="2806"/>
                <a:ext cx="13" cy="28"/>
              </a:xfrm>
              <a:custGeom>
                <a:avLst/>
                <a:gdLst>
                  <a:gd name="T0" fmla="*/ 0 w 40"/>
                  <a:gd name="T1" fmla="*/ 0 h 87"/>
                  <a:gd name="T2" fmla="*/ 0 w 40"/>
                  <a:gd name="T3" fmla="*/ 0 h 87"/>
                  <a:gd name="T4" fmla="*/ 0 w 40"/>
                  <a:gd name="T5" fmla="*/ 0 h 87"/>
                  <a:gd name="T6" fmla="*/ 0 w 40"/>
                  <a:gd name="T7" fmla="*/ 0 h 87"/>
                  <a:gd name="T8" fmla="*/ 0 w 40"/>
                  <a:gd name="T9" fmla="*/ 0 h 87"/>
                  <a:gd name="T10" fmla="*/ 0 w 40"/>
                  <a:gd name="T11" fmla="*/ 0 h 87"/>
                  <a:gd name="T12" fmla="*/ 0 w 40"/>
                  <a:gd name="T13" fmla="*/ 0 h 87"/>
                  <a:gd name="T14" fmla="*/ 0 w 40"/>
                  <a:gd name="T15" fmla="*/ 0 h 87"/>
                  <a:gd name="T16" fmla="*/ 0 w 40"/>
                  <a:gd name="T17" fmla="*/ 0 h 87"/>
                  <a:gd name="T18" fmla="*/ 0 w 40"/>
                  <a:gd name="T19" fmla="*/ 0 h 87"/>
                  <a:gd name="T20" fmla="*/ 0 w 40"/>
                  <a:gd name="T21" fmla="*/ 0 h 87"/>
                  <a:gd name="T22" fmla="*/ 0 w 40"/>
                  <a:gd name="T23" fmla="*/ 0 h 87"/>
                  <a:gd name="T24" fmla="*/ 0 w 40"/>
                  <a:gd name="T25" fmla="*/ 0 h 87"/>
                  <a:gd name="T26" fmla="*/ 0 w 40"/>
                  <a:gd name="T27" fmla="*/ 0 h 87"/>
                  <a:gd name="T28" fmla="*/ 0 w 40"/>
                  <a:gd name="T29" fmla="*/ 0 h 87"/>
                  <a:gd name="T30" fmla="*/ 0 w 40"/>
                  <a:gd name="T31" fmla="*/ 0 h 87"/>
                  <a:gd name="T32" fmla="*/ 0 w 40"/>
                  <a:gd name="T33" fmla="*/ 0 h 87"/>
                  <a:gd name="T34" fmla="*/ 0 w 40"/>
                  <a:gd name="T35" fmla="*/ 0 h 87"/>
                  <a:gd name="T36" fmla="*/ 0 w 40"/>
                  <a:gd name="T37" fmla="*/ 0 h 87"/>
                  <a:gd name="T38" fmla="*/ 0 w 40"/>
                  <a:gd name="T39" fmla="*/ 0 h 87"/>
                  <a:gd name="T40" fmla="*/ 0 w 40"/>
                  <a:gd name="T41" fmla="*/ 0 h 87"/>
                  <a:gd name="T42" fmla="*/ 0 w 40"/>
                  <a:gd name="T43" fmla="*/ 0 h 87"/>
                  <a:gd name="T44" fmla="*/ 0 w 40"/>
                  <a:gd name="T45" fmla="*/ 0 h 87"/>
                  <a:gd name="T46" fmla="*/ 0 w 40"/>
                  <a:gd name="T47" fmla="*/ 0 h 87"/>
                  <a:gd name="T48" fmla="*/ 0 w 40"/>
                  <a:gd name="T49" fmla="*/ 0 h 8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0" h="87">
                    <a:moveTo>
                      <a:pt x="0" y="31"/>
                    </a:moveTo>
                    <a:lnTo>
                      <a:pt x="0" y="42"/>
                    </a:lnTo>
                    <a:lnTo>
                      <a:pt x="2" y="51"/>
                    </a:lnTo>
                    <a:lnTo>
                      <a:pt x="5" y="59"/>
                    </a:lnTo>
                    <a:lnTo>
                      <a:pt x="10" y="66"/>
                    </a:lnTo>
                    <a:lnTo>
                      <a:pt x="15" y="72"/>
                    </a:lnTo>
                    <a:lnTo>
                      <a:pt x="22" y="77"/>
                    </a:lnTo>
                    <a:lnTo>
                      <a:pt x="31" y="82"/>
                    </a:lnTo>
                    <a:lnTo>
                      <a:pt x="40" y="87"/>
                    </a:lnTo>
                    <a:lnTo>
                      <a:pt x="35" y="82"/>
                    </a:lnTo>
                    <a:lnTo>
                      <a:pt x="32" y="77"/>
                    </a:lnTo>
                    <a:lnTo>
                      <a:pt x="29" y="71"/>
                    </a:lnTo>
                    <a:lnTo>
                      <a:pt x="26" y="65"/>
                    </a:lnTo>
                    <a:lnTo>
                      <a:pt x="22" y="52"/>
                    </a:lnTo>
                    <a:lnTo>
                      <a:pt x="20" y="39"/>
                    </a:lnTo>
                    <a:lnTo>
                      <a:pt x="18" y="27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8" y="6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6"/>
                    </a:lnTo>
                    <a:lnTo>
                      <a:pt x="0" y="2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11" name="Freeform 151"/>
              <p:cNvSpPr>
                <a:spLocks/>
              </p:cNvSpPr>
              <p:nvPr/>
            </p:nvSpPr>
            <p:spPr bwMode="auto">
              <a:xfrm>
                <a:off x="5603" y="2842"/>
                <a:ext cx="20" cy="12"/>
              </a:xfrm>
              <a:custGeom>
                <a:avLst/>
                <a:gdLst>
                  <a:gd name="T0" fmla="*/ 0 w 61"/>
                  <a:gd name="T1" fmla="*/ 0 h 37"/>
                  <a:gd name="T2" fmla="*/ 0 w 61"/>
                  <a:gd name="T3" fmla="*/ 0 h 37"/>
                  <a:gd name="T4" fmla="*/ 0 w 61"/>
                  <a:gd name="T5" fmla="*/ 0 h 37"/>
                  <a:gd name="T6" fmla="*/ 0 w 61"/>
                  <a:gd name="T7" fmla="*/ 0 h 37"/>
                  <a:gd name="T8" fmla="*/ 0 w 61"/>
                  <a:gd name="T9" fmla="*/ 0 h 37"/>
                  <a:gd name="T10" fmla="*/ 0 w 61"/>
                  <a:gd name="T11" fmla="*/ 0 h 37"/>
                  <a:gd name="T12" fmla="*/ 0 w 61"/>
                  <a:gd name="T13" fmla="*/ 0 h 37"/>
                  <a:gd name="T14" fmla="*/ 0 w 61"/>
                  <a:gd name="T15" fmla="*/ 0 h 37"/>
                  <a:gd name="T16" fmla="*/ 0 w 61"/>
                  <a:gd name="T17" fmla="*/ 0 h 37"/>
                  <a:gd name="T18" fmla="*/ 0 w 61"/>
                  <a:gd name="T19" fmla="*/ 0 h 37"/>
                  <a:gd name="T20" fmla="*/ 0 w 61"/>
                  <a:gd name="T21" fmla="*/ 0 h 37"/>
                  <a:gd name="T22" fmla="*/ 0 w 61"/>
                  <a:gd name="T23" fmla="*/ 0 h 37"/>
                  <a:gd name="T24" fmla="*/ 0 w 61"/>
                  <a:gd name="T25" fmla="*/ 0 h 37"/>
                  <a:gd name="T26" fmla="*/ 0 w 61"/>
                  <a:gd name="T27" fmla="*/ 0 h 3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61" h="37">
                    <a:moveTo>
                      <a:pt x="0" y="31"/>
                    </a:moveTo>
                    <a:lnTo>
                      <a:pt x="19" y="32"/>
                    </a:lnTo>
                    <a:lnTo>
                      <a:pt x="35" y="34"/>
                    </a:lnTo>
                    <a:lnTo>
                      <a:pt x="49" y="36"/>
                    </a:lnTo>
                    <a:lnTo>
                      <a:pt x="61" y="37"/>
                    </a:lnTo>
                    <a:lnTo>
                      <a:pt x="55" y="29"/>
                    </a:lnTo>
                    <a:lnTo>
                      <a:pt x="49" y="22"/>
                    </a:lnTo>
                    <a:lnTo>
                      <a:pt x="42" y="17"/>
                    </a:lnTo>
                    <a:lnTo>
                      <a:pt x="35" y="12"/>
                    </a:lnTo>
                    <a:lnTo>
                      <a:pt x="28" y="9"/>
                    </a:lnTo>
                    <a:lnTo>
                      <a:pt x="19" y="5"/>
                    </a:lnTo>
                    <a:lnTo>
                      <a:pt x="10" y="2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12" name="Freeform 152"/>
              <p:cNvSpPr>
                <a:spLocks/>
              </p:cNvSpPr>
              <p:nvPr/>
            </p:nvSpPr>
            <p:spPr bwMode="auto">
              <a:xfrm>
                <a:off x="5568" y="2865"/>
                <a:ext cx="13" cy="10"/>
              </a:xfrm>
              <a:custGeom>
                <a:avLst/>
                <a:gdLst>
                  <a:gd name="T0" fmla="*/ 0 w 40"/>
                  <a:gd name="T1" fmla="*/ 0 h 30"/>
                  <a:gd name="T2" fmla="*/ 0 w 40"/>
                  <a:gd name="T3" fmla="*/ 0 h 30"/>
                  <a:gd name="T4" fmla="*/ 0 w 40"/>
                  <a:gd name="T5" fmla="*/ 0 h 30"/>
                  <a:gd name="T6" fmla="*/ 0 w 40"/>
                  <a:gd name="T7" fmla="*/ 0 h 30"/>
                  <a:gd name="T8" fmla="*/ 0 w 40"/>
                  <a:gd name="T9" fmla="*/ 0 h 30"/>
                  <a:gd name="T10" fmla="*/ 0 w 40"/>
                  <a:gd name="T11" fmla="*/ 0 h 30"/>
                  <a:gd name="T12" fmla="*/ 0 w 40"/>
                  <a:gd name="T13" fmla="*/ 0 h 30"/>
                  <a:gd name="T14" fmla="*/ 0 w 40"/>
                  <a:gd name="T15" fmla="*/ 0 h 30"/>
                  <a:gd name="T16" fmla="*/ 0 w 40"/>
                  <a:gd name="T17" fmla="*/ 0 h 30"/>
                  <a:gd name="T18" fmla="*/ 0 w 40"/>
                  <a:gd name="T19" fmla="*/ 0 h 30"/>
                  <a:gd name="T20" fmla="*/ 0 w 40"/>
                  <a:gd name="T21" fmla="*/ 0 h 30"/>
                  <a:gd name="T22" fmla="*/ 0 w 40"/>
                  <a:gd name="T23" fmla="*/ 0 h 30"/>
                  <a:gd name="T24" fmla="*/ 0 w 40"/>
                  <a:gd name="T25" fmla="*/ 0 h 30"/>
                  <a:gd name="T26" fmla="*/ 0 w 40"/>
                  <a:gd name="T27" fmla="*/ 0 h 30"/>
                  <a:gd name="T28" fmla="*/ 0 w 40"/>
                  <a:gd name="T29" fmla="*/ 0 h 30"/>
                  <a:gd name="T30" fmla="*/ 0 w 40"/>
                  <a:gd name="T31" fmla="*/ 0 h 30"/>
                  <a:gd name="T32" fmla="*/ 0 w 40"/>
                  <a:gd name="T33" fmla="*/ 0 h 3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0" h="30">
                    <a:moveTo>
                      <a:pt x="40" y="30"/>
                    </a:moveTo>
                    <a:lnTo>
                      <a:pt x="33" y="28"/>
                    </a:lnTo>
                    <a:lnTo>
                      <a:pt x="26" y="25"/>
                    </a:lnTo>
                    <a:lnTo>
                      <a:pt x="21" y="22"/>
                    </a:lnTo>
                    <a:lnTo>
                      <a:pt x="15" y="19"/>
                    </a:lnTo>
                    <a:lnTo>
                      <a:pt x="11" y="16"/>
                    </a:lnTo>
                    <a:lnTo>
                      <a:pt x="6" y="11"/>
                    </a:lnTo>
                    <a:lnTo>
                      <a:pt x="3" y="6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15" y="6"/>
                    </a:lnTo>
                    <a:lnTo>
                      <a:pt x="22" y="10"/>
                    </a:lnTo>
                    <a:lnTo>
                      <a:pt x="27" y="15"/>
                    </a:lnTo>
                    <a:lnTo>
                      <a:pt x="33" y="19"/>
                    </a:lnTo>
                    <a:lnTo>
                      <a:pt x="36" y="23"/>
                    </a:lnTo>
                    <a:lnTo>
                      <a:pt x="39" y="27"/>
                    </a:lnTo>
                    <a:lnTo>
                      <a:pt x="4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13" name="Freeform 153"/>
              <p:cNvSpPr>
                <a:spLocks/>
              </p:cNvSpPr>
              <p:nvPr/>
            </p:nvSpPr>
            <p:spPr bwMode="auto">
              <a:xfrm>
                <a:off x="5515" y="2789"/>
                <a:ext cx="24" cy="26"/>
              </a:xfrm>
              <a:custGeom>
                <a:avLst/>
                <a:gdLst>
                  <a:gd name="T0" fmla="*/ 0 w 74"/>
                  <a:gd name="T1" fmla="*/ 0 h 80"/>
                  <a:gd name="T2" fmla="*/ 0 w 74"/>
                  <a:gd name="T3" fmla="*/ 0 h 80"/>
                  <a:gd name="T4" fmla="*/ 0 w 74"/>
                  <a:gd name="T5" fmla="*/ 0 h 80"/>
                  <a:gd name="T6" fmla="*/ 0 w 74"/>
                  <a:gd name="T7" fmla="*/ 0 h 80"/>
                  <a:gd name="T8" fmla="*/ 0 w 74"/>
                  <a:gd name="T9" fmla="*/ 0 h 80"/>
                  <a:gd name="T10" fmla="*/ 0 w 74"/>
                  <a:gd name="T11" fmla="*/ 0 h 80"/>
                  <a:gd name="T12" fmla="*/ 0 w 74"/>
                  <a:gd name="T13" fmla="*/ 0 h 80"/>
                  <a:gd name="T14" fmla="*/ 0 w 74"/>
                  <a:gd name="T15" fmla="*/ 0 h 80"/>
                  <a:gd name="T16" fmla="*/ 0 w 74"/>
                  <a:gd name="T17" fmla="*/ 0 h 80"/>
                  <a:gd name="T18" fmla="*/ 0 w 74"/>
                  <a:gd name="T19" fmla="*/ 0 h 80"/>
                  <a:gd name="T20" fmla="*/ 0 w 74"/>
                  <a:gd name="T21" fmla="*/ 0 h 80"/>
                  <a:gd name="T22" fmla="*/ 0 w 74"/>
                  <a:gd name="T23" fmla="*/ 0 h 80"/>
                  <a:gd name="T24" fmla="*/ 0 w 74"/>
                  <a:gd name="T25" fmla="*/ 0 h 80"/>
                  <a:gd name="T26" fmla="*/ 0 w 74"/>
                  <a:gd name="T27" fmla="*/ 0 h 80"/>
                  <a:gd name="T28" fmla="*/ 0 w 74"/>
                  <a:gd name="T29" fmla="*/ 0 h 80"/>
                  <a:gd name="T30" fmla="*/ 0 w 74"/>
                  <a:gd name="T31" fmla="*/ 0 h 80"/>
                  <a:gd name="T32" fmla="*/ 0 w 74"/>
                  <a:gd name="T33" fmla="*/ 0 h 80"/>
                  <a:gd name="T34" fmla="*/ 0 w 74"/>
                  <a:gd name="T35" fmla="*/ 0 h 80"/>
                  <a:gd name="T36" fmla="*/ 0 w 74"/>
                  <a:gd name="T37" fmla="*/ 0 h 80"/>
                  <a:gd name="T38" fmla="*/ 0 w 74"/>
                  <a:gd name="T39" fmla="*/ 0 h 80"/>
                  <a:gd name="T40" fmla="*/ 0 w 74"/>
                  <a:gd name="T41" fmla="*/ 0 h 80"/>
                  <a:gd name="T42" fmla="*/ 0 w 74"/>
                  <a:gd name="T43" fmla="*/ 0 h 80"/>
                  <a:gd name="T44" fmla="*/ 0 w 74"/>
                  <a:gd name="T45" fmla="*/ 0 h 80"/>
                  <a:gd name="T46" fmla="*/ 0 w 74"/>
                  <a:gd name="T47" fmla="*/ 0 h 80"/>
                  <a:gd name="T48" fmla="*/ 0 w 74"/>
                  <a:gd name="T49" fmla="*/ 0 h 80"/>
                  <a:gd name="T50" fmla="*/ 0 w 74"/>
                  <a:gd name="T51" fmla="*/ 0 h 80"/>
                  <a:gd name="T52" fmla="*/ 0 w 74"/>
                  <a:gd name="T53" fmla="*/ 0 h 80"/>
                  <a:gd name="T54" fmla="*/ 0 w 74"/>
                  <a:gd name="T55" fmla="*/ 0 h 80"/>
                  <a:gd name="T56" fmla="*/ 0 w 74"/>
                  <a:gd name="T57" fmla="*/ 0 h 80"/>
                  <a:gd name="T58" fmla="*/ 0 w 74"/>
                  <a:gd name="T59" fmla="*/ 0 h 80"/>
                  <a:gd name="T60" fmla="*/ 0 w 74"/>
                  <a:gd name="T61" fmla="*/ 0 h 8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4" h="80">
                    <a:moveTo>
                      <a:pt x="74" y="80"/>
                    </a:moveTo>
                    <a:lnTo>
                      <a:pt x="72" y="73"/>
                    </a:lnTo>
                    <a:lnTo>
                      <a:pt x="71" y="66"/>
                    </a:lnTo>
                    <a:lnTo>
                      <a:pt x="69" y="60"/>
                    </a:lnTo>
                    <a:lnTo>
                      <a:pt x="66" y="53"/>
                    </a:lnTo>
                    <a:lnTo>
                      <a:pt x="58" y="42"/>
                    </a:lnTo>
                    <a:lnTo>
                      <a:pt x="48" y="33"/>
                    </a:lnTo>
                    <a:lnTo>
                      <a:pt x="38" y="25"/>
                    </a:lnTo>
                    <a:lnTo>
                      <a:pt x="29" y="17"/>
                    </a:lnTo>
                    <a:lnTo>
                      <a:pt x="20" y="9"/>
                    </a:lnTo>
                    <a:lnTo>
                      <a:pt x="13" y="0"/>
                    </a:lnTo>
                    <a:lnTo>
                      <a:pt x="9" y="5"/>
                    </a:lnTo>
                    <a:lnTo>
                      <a:pt x="4" y="10"/>
                    </a:lnTo>
                    <a:lnTo>
                      <a:pt x="1" y="14"/>
                    </a:lnTo>
                    <a:lnTo>
                      <a:pt x="0" y="19"/>
                    </a:lnTo>
                    <a:lnTo>
                      <a:pt x="0" y="25"/>
                    </a:lnTo>
                    <a:lnTo>
                      <a:pt x="2" y="30"/>
                    </a:lnTo>
                    <a:lnTo>
                      <a:pt x="4" y="36"/>
                    </a:lnTo>
                    <a:lnTo>
                      <a:pt x="7" y="41"/>
                    </a:lnTo>
                    <a:lnTo>
                      <a:pt x="10" y="46"/>
                    </a:lnTo>
                    <a:lnTo>
                      <a:pt x="14" y="51"/>
                    </a:lnTo>
                    <a:lnTo>
                      <a:pt x="19" y="56"/>
                    </a:lnTo>
                    <a:lnTo>
                      <a:pt x="24" y="61"/>
                    </a:lnTo>
                    <a:lnTo>
                      <a:pt x="30" y="66"/>
                    </a:lnTo>
                    <a:lnTo>
                      <a:pt x="35" y="69"/>
                    </a:lnTo>
                    <a:lnTo>
                      <a:pt x="42" y="72"/>
                    </a:lnTo>
                    <a:lnTo>
                      <a:pt x="47" y="75"/>
                    </a:lnTo>
                    <a:lnTo>
                      <a:pt x="54" y="77"/>
                    </a:lnTo>
                    <a:lnTo>
                      <a:pt x="60" y="79"/>
                    </a:lnTo>
                    <a:lnTo>
                      <a:pt x="67" y="80"/>
                    </a:lnTo>
                    <a:lnTo>
                      <a:pt x="74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14" name="Freeform 154"/>
              <p:cNvSpPr>
                <a:spLocks/>
              </p:cNvSpPr>
              <p:nvPr/>
            </p:nvSpPr>
            <p:spPr bwMode="auto">
              <a:xfrm>
                <a:off x="5555" y="2785"/>
                <a:ext cx="26" cy="27"/>
              </a:xfrm>
              <a:custGeom>
                <a:avLst/>
                <a:gdLst>
                  <a:gd name="T0" fmla="*/ 0 w 86"/>
                  <a:gd name="T1" fmla="*/ 0 h 80"/>
                  <a:gd name="T2" fmla="*/ 0 w 86"/>
                  <a:gd name="T3" fmla="*/ 0 h 80"/>
                  <a:gd name="T4" fmla="*/ 0 w 86"/>
                  <a:gd name="T5" fmla="*/ 0 h 80"/>
                  <a:gd name="T6" fmla="*/ 0 w 86"/>
                  <a:gd name="T7" fmla="*/ 0 h 80"/>
                  <a:gd name="T8" fmla="*/ 0 w 86"/>
                  <a:gd name="T9" fmla="*/ 0 h 80"/>
                  <a:gd name="T10" fmla="*/ 0 w 86"/>
                  <a:gd name="T11" fmla="*/ 0 h 80"/>
                  <a:gd name="T12" fmla="*/ 0 w 86"/>
                  <a:gd name="T13" fmla="*/ 0 h 80"/>
                  <a:gd name="T14" fmla="*/ 0 w 86"/>
                  <a:gd name="T15" fmla="*/ 0 h 80"/>
                  <a:gd name="T16" fmla="*/ 0 w 86"/>
                  <a:gd name="T17" fmla="*/ 0 h 80"/>
                  <a:gd name="T18" fmla="*/ 0 w 86"/>
                  <a:gd name="T19" fmla="*/ 0 h 80"/>
                  <a:gd name="T20" fmla="*/ 0 w 86"/>
                  <a:gd name="T21" fmla="*/ 0 h 80"/>
                  <a:gd name="T22" fmla="*/ 0 w 86"/>
                  <a:gd name="T23" fmla="*/ 0 h 80"/>
                  <a:gd name="T24" fmla="*/ 0 w 86"/>
                  <a:gd name="T25" fmla="*/ 0 h 80"/>
                  <a:gd name="T26" fmla="*/ 0 w 86"/>
                  <a:gd name="T27" fmla="*/ 0 h 80"/>
                  <a:gd name="T28" fmla="*/ 0 w 86"/>
                  <a:gd name="T29" fmla="*/ 0 h 80"/>
                  <a:gd name="T30" fmla="*/ 0 w 86"/>
                  <a:gd name="T31" fmla="*/ 0 h 80"/>
                  <a:gd name="T32" fmla="*/ 0 w 86"/>
                  <a:gd name="T33" fmla="*/ 0 h 80"/>
                  <a:gd name="T34" fmla="*/ 0 w 86"/>
                  <a:gd name="T35" fmla="*/ 0 h 80"/>
                  <a:gd name="T36" fmla="*/ 0 w 86"/>
                  <a:gd name="T37" fmla="*/ 0 h 80"/>
                  <a:gd name="T38" fmla="*/ 0 w 86"/>
                  <a:gd name="T39" fmla="*/ 0 h 80"/>
                  <a:gd name="T40" fmla="*/ 0 w 86"/>
                  <a:gd name="T41" fmla="*/ 0 h 80"/>
                  <a:gd name="T42" fmla="*/ 0 w 86"/>
                  <a:gd name="T43" fmla="*/ 0 h 80"/>
                  <a:gd name="T44" fmla="*/ 0 w 86"/>
                  <a:gd name="T45" fmla="*/ 0 h 8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6" h="80">
                    <a:moveTo>
                      <a:pt x="52" y="80"/>
                    </a:moveTo>
                    <a:lnTo>
                      <a:pt x="86" y="80"/>
                    </a:lnTo>
                    <a:lnTo>
                      <a:pt x="86" y="61"/>
                    </a:lnTo>
                    <a:lnTo>
                      <a:pt x="79" y="59"/>
                    </a:lnTo>
                    <a:lnTo>
                      <a:pt x="72" y="56"/>
                    </a:lnTo>
                    <a:lnTo>
                      <a:pt x="67" y="53"/>
                    </a:lnTo>
                    <a:lnTo>
                      <a:pt x="61" y="49"/>
                    </a:lnTo>
                    <a:lnTo>
                      <a:pt x="51" y="41"/>
                    </a:lnTo>
                    <a:lnTo>
                      <a:pt x="43" y="33"/>
                    </a:lnTo>
                    <a:lnTo>
                      <a:pt x="34" y="25"/>
                    </a:lnTo>
                    <a:lnTo>
                      <a:pt x="24" y="16"/>
                    </a:lnTo>
                    <a:lnTo>
                      <a:pt x="13" y="7"/>
                    </a:lnTo>
                    <a:lnTo>
                      <a:pt x="0" y="0"/>
                    </a:lnTo>
                    <a:lnTo>
                      <a:pt x="1" y="8"/>
                    </a:lnTo>
                    <a:lnTo>
                      <a:pt x="5" y="20"/>
                    </a:lnTo>
                    <a:lnTo>
                      <a:pt x="11" y="32"/>
                    </a:lnTo>
                    <a:lnTo>
                      <a:pt x="18" y="44"/>
                    </a:lnTo>
                    <a:lnTo>
                      <a:pt x="27" y="57"/>
                    </a:lnTo>
                    <a:lnTo>
                      <a:pt x="36" y="67"/>
                    </a:lnTo>
                    <a:lnTo>
                      <a:pt x="40" y="72"/>
                    </a:lnTo>
                    <a:lnTo>
                      <a:pt x="45" y="76"/>
                    </a:lnTo>
                    <a:lnTo>
                      <a:pt x="49" y="79"/>
                    </a:lnTo>
                    <a:lnTo>
                      <a:pt x="52" y="8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15" name="Freeform 155"/>
              <p:cNvSpPr>
                <a:spLocks/>
              </p:cNvSpPr>
              <p:nvPr/>
            </p:nvSpPr>
            <p:spPr bwMode="auto">
              <a:xfrm>
                <a:off x="5570" y="2825"/>
                <a:ext cx="25" cy="11"/>
              </a:xfrm>
              <a:custGeom>
                <a:avLst/>
                <a:gdLst>
                  <a:gd name="T0" fmla="*/ 0 w 74"/>
                  <a:gd name="T1" fmla="*/ 0 h 31"/>
                  <a:gd name="T2" fmla="*/ 0 w 74"/>
                  <a:gd name="T3" fmla="*/ 0 h 31"/>
                  <a:gd name="T4" fmla="*/ 0 w 74"/>
                  <a:gd name="T5" fmla="*/ 0 h 31"/>
                  <a:gd name="T6" fmla="*/ 0 w 74"/>
                  <a:gd name="T7" fmla="*/ 0 h 31"/>
                  <a:gd name="T8" fmla="*/ 0 w 74"/>
                  <a:gd name="T9" fmla="*/ 0 h 31"/>
                  <a:gd name="T10" fmla="*/ 0 w 74"/>
                  <a:gd name="T11" fmla="*/ 0 h 31"/>
                  <a:gd name="T12" fmla="*/ 0 w 74"/>
                  <a:gd name="T13" fmla="*/ 0 h 31"/>
                  <a:gd name="T14" fmla="*/ 0 w 74"/>
                  <a:gd name="T15" fmla="*/ 0 h 31"/>
                  <a:gd name="T16" fmla="*/ 0 w 74"/>
                  <a:gd name="T17" fmla="*/ 0 h 31"/>
                  <a:gd name="T18" fmla="*/ 0 w 74"/>
                  <a:gd name="T19" fmla="*/ 0 h 31"/>
                  <a:gd name="T20" fmla="*/ 0 w 74"/>
                  <a:gd name="T21" fmla="*/ 0 h 31"/>
                  <a:gd name="T22" fmla="*/ 0 w 74"/>
                  <a:gd name="T23" fmla="*/ 0 h 31"/>
                  <a:gd name="T24" fmla="*/ 0 w 74"/>
                  <a:gd name="T25" fmla="*/ 0 h 31"/>
                  <a:gd name="T26" fmla="*/ 0 w 74"/>
                  <a:gd name="T27" fmla="*/ 0 h 31"/>
                  <a:gd name="T28" fmla="*/ 0 w 74"/>
                  <a:gd name="T29" fmla="*/ 0 h 31"/>
                  <a:gd name="T30" fmla="*/ 0 w 74"/>
                  <a:gd name="T31" fmla="*/ 0 h 31"/>
                  <a:gd name="T32" fmla="*/ 0 w 74"/>
                  <a:gd name="T33" fmla="*/ 0 h 31"/>
                  <a:gd name="T34" fmla="*/ 0 w 74"/>
                  <a:gd name="T35" fmla="*/ 0 h 31"/>
                  <a:gd name="T36" fmla="*/ 0 w 74"/>
                  <a:gd name="T37" fmla="*/ 0 h 31"/>
                  <a:gd name="T38" fmla="*/ 0 w 74"/>
                  <a:gd name="T39" fmla="*/ 0 h 31"/>
                  <a:gd name="T40" fmla="*/ 0 w 74"/>
                  <a:gd name="T41" fmla="*/ 0 h 31"/>
                  <a:gd name="T42" fmla="*/ 0 w 74"/>
                  <a:gd name="T43" fmla="*/ 0 h 31"/>
                  <a:gd name="T44" fmla="*/ 0 w 74"/>
                  <a:gd name="T45" fmla="*/ 0 h 31"/>
                  <a:gd name="T46" fmla="*/ 0 w 74"/>
                  <a:gd name="T47" fmla="*/ 0 h 31"/>
                  <a:gd name="T48" fmla="*/ 0 w 74"/>
                  <a:gd name="T49" fmla="*/ 0 h 31"/>
                  <a:gd name="T50" fmla="*/ 0 w 74"/>
                  <a:gd name="T51" fmla="*/ 0 h 31"/>
                  <a:gd name="T52" fmla="*/ 0 w 74"/>
                  <a:gd name="T53" fmla="*/ 0 h 31"/>
                  <a:gd name="T54" fmla="*/ 0 w 74"/>
                  <a:gd name="T55" fmla="*/ 0 h 31"/>
                  <a:gd name="T56" fmla="*/ 0 w 74"/>
                  <a:gd name="T57" fmla="*/ 0 h 31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4" h="31">
                    <a:moveTo>
                      <a:pt x="0" y="7"/>
                    </a:moveTo>
                    <a:lnTo>
                      <a:pt x="3" y="11"/>
                    </a:lnTo>
                    <a:lnTo>
                      <a:pt x="5" y="15"/>
                    </a:lnTo>
                    <a:lnTo>
                      <a:pt x="9" y="18"/>
                    </a:lnTo>
                    <a:lnTo>
                      <a:pt x="14" y="21"/>
                    </a:lnTo>
                    <a:lnTo>
                      <a:pt x="18" y="24"/>
                    </a:lnTo>
                    <a:lnTo>
                      <a:pt x="23" y="26"/>
                    </a:lnTo>
                    <a:lnTo>
                      <a:pt x="29" y="28"/>
                    </a:lnTo>
                    <a:lnTo>
                      <a:pt x="34" y="29"/>
                    </a:lnTo>
                    <a:lnTo>
                      <a:pt x="47" y="31"/>
                    </a:lnTo>
                    <a:lnTo>
                      <a:pt x="58" y="31"/>
                    </a:lnTo>
                    <a:lnTo>
                      <a:pt x="63" y="30"/>
                    </a:lnTo>
                    <a:lnTo>
                      <a:pt x="67" y="29"/>
                    </a:lnTo>
                    <a:lnTo>
                      <a:pt x="71" y="27"/>
                    </a:lnTo>
                    <a:lnTo>
                      <a:pt x="74" y="25"/>
                    </a:lnTo>
                    <a:lnTo>
                      <a:pt x="64" y="18"/>
                    </a:lnTo>
                    <a:lnTo>
                      <a:pt x="55" y="13"/>
                    </a:lnTo>
                    <a:lnTo>
                      <a:pt x="51" y="10"/>
                    </a:lnTo>
                    <a:lnTo>
                      <a:pt x="47" y="8"/>
                    </a:lnTo>
                    <a:lnTo>
                      <a:pt x="43" y="5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2" y="1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6" y="3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16" name="Freeform 156"/>
              <p:cNvSpPr>
                <a:spLocks/>
              </p:cNvSpPr>
              <p:nvPr/>
            </p:nvSpPr>
            <p:spPr bwMode="auto">
              <a:xfrm>
                <a:off x="5562" y="2819"/>
                <a:ext cx="6" cy="1"/>
              </a:xfrm>
              <a:custGeom>
                <a:avLst/>
                <a:gdLst>
                  <a:gd name="T0" fmla="*/ 0 w 20"/>
                  <a:gd name="T1" fmla="*/ 0 h 1"/>
                  <a:gd name="T2" fmla="*/ 0 w 20"/>
                  <a:gd name="T3" fmla="*/ 0 h 1"/>
                  <a:gd name="T4" fmla="*/ 0 w 20"/>
                  <a:gd name="T5" fmla="*/ 0 h 1"/>
                  <a:gd name="T6" fmla="*/ 0 w 20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1">
                    <a:moveTo>
                      <a:pt x="20" y="0"/>
                    </a:moveTo>
                    <a:lnTo>
                      <a:pt x="0" y="0"/>
                    </a:lnTo>
                    <a:lnTo>
                      <a:pt x="10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17" name="Freeform 157"/>
              <p:cNvSpPr>
                <a:spLocks/>
              </p:cNvSpPr>
              <p:nvPr/>
            </p:nvSpPr>
            <p:spPr bwMode="auto">
              <a:xfrm>
                <a:off x="5509" y="2769"/>
                <a:ext cx="32" cy="21"/>
              </a:xfrm>
              <a:custGeom>
                <a:avLst/>
                <a:gdLst>
                  <a:gd name="T0" fmla="*/ 0 w 100"/>
                  <a:gd name="T1" fmla="*/ 0 h 65"/>
                  <a:gd name="T2" fmla="*/ 0 w 100"/>
                  <a:gd name="T3" fmla="*/ 0 h 65"/>
                  <a:gd name="T4" fmla="*/ 0 w 100"/>
                  <a:gd name="T5" fmla="*/ 0 h 65"/>
                  <a:gd name="T6" fmla="*/ 0 w 100"/>
                  <a:gd name="T7" fmla="*/ 0 h 65"/>
                  <a:gd name="T8" fmla="*/ 0 w 100"/>
                  <a:gd name="T9" fmla="*/ 0 h 65"/>
                  <a:gd name="T10" fmla="*/ 0 w 100"/>
                  <a:gd name="T11" fmla="*/ 0 h 65"/>
                  <a:gd name="T12" fmla="*/ 0 w 100"/>
                  <a:gd name="T13" fmla="*/ 0 h 65"/>
                  <a:gd name="T14" fmla="*/ 0 w 100"/>
                  <a:gd name="T15" fmla="*/ 0 h 65"/>
                  <a:gd name="T16" fmla="*/ 0 w 100"/>
                  <a:gd name="T17" fmla="*/ 0 h 65"/>
                  <a:gd name="T18" fmla="*/ 0 w 100"/>
                  <a:gd name="T19" fmla="*/ 0 h 65"/>
                  <a:gd name="T20" fmla="*/ 0 w 100"/>
                  <a:gd name="T21" fmla="*/ 0 h 65"/>
                  <a:gd name="T22" fmla="*/ 0 w 100"/>
                  <a:gd name="T23" fmla="*/ 0 h 65"/>
                  <a:gd name="T24" fmla="*/ 0 w 100"/>
                  <a:gd name="T25" fmla="*/ 0 h 65"/>
                  <a:gd name="T26" fmla="*/ 0 w 100"/>
                  <a:gd name="T27" fmla="*/ 0 h 65"/>
                  <a:gd name="T28" fmla="*/ 0 w 100"/>
                  <a:gd name="T29" fmla="*/ 0 h 65"/>
                  <a:gd name="T30" fmla="*/ 0 w 100"/>
                  <a:gd name="T31" fmla="*/ 0 h 65"/>
                  <a:gd name="T32" fmla="*/ 0 w 100"/>
                  <a:gd name="T33" fmla="*/ 0 h 65"/>
                  <a:gd name="T34" fmla="*/ 0 w 100"/>
                  <a:gd name="T35" fmla="*/ 0 h 65"/>
                  <a:gd name="T36" fmla="*/ 0 w 100"/>
                  <a:gd name="T37" fmla="*/ 0 h 65"/>
                  <a:gd name="T38" fmla="*/ 0 w 100"/>
                  <a:gd name="T39" fmla="*/ 0 h 65"/>
                  <a:gd name="T40" fmla="*/ 0 w 100"/>
                  <a:gd name="T41" fmla="*/ 0 h 65"/>
                  <a:gd name="T42" fmla="*/ 0 w 100"/>
                  <a:gd name="T43" fmla="*/ 0 h 65"/>
                  <a:gd name="T44" fmla="*/ 0 w 100"/>
                  <a:gd name="T45" fmla="*/ 0 h 65"/>
                  <a:gd name="T46" fmla="*/ 0 w 100"/>
                  <a:gd name="T47" fmla="*/ 0 h 6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0" h="65">
                    <a:moveTo>
                      <a:pt x="7" y="25"/>
                    </a:moveTo>
                    <a:lnTo>
                      <a:pt x="35" y="40"/>
                    </a:lnTo>
                    <a:lnTo>
                      <a:pt x="61" y="55"/>
                    </a:lnTo>
                    <a:lnTo>
                      <a:pt x="72" y="60"/>
                    </a:lnTo>
                    <a:lnTo>
                      <a:pt x="83" y="65"/>
                    </a:lnTo>
                    <a:lnTo>
                      <a:pt x="87" y="65"/>
                    </a:lnTo>
                    <a:lnTo>
                      <a:pt x="91" y="65"/>
                    </a:lnTo>
                    <a:lnTo>
                      <a:pt x="96" y="65"/>
                    </a:lnTo>
                    <a:lnTo>
                      <a:pt x="100" y="62"/>
                    </a:lnTo>
                    <a:lnTo>
                      <a:pt x="94" y="60"/>
                    </a:lnTo>
                    <a:lnTo>
                      <a:pt x="88" y="56"/>
                    </a:lnTo>
                    <a:lnTo>
                      <a:pt x="83" y="52"/>
                    </a:lnTo>
                    <a:lnTo>
                      <a:pt x="78" y="46"/>
                    </a:lnTo>
                    <a:lnTo>
                      <a:pt x="67" y="34"/>
                    </a:lnTo>
                    <a:lnTo>
                      <a:pt x="57" y="21"/>
                    </a:lnTo>
                    <a:lnTo>
                      <a:pt x="52" y="15"/>
                    </a:lnTo>
                    <a:lnTo>
                      <a:pt x="46" y="10"/>
                    </a:lnTo>
                    <a:lnTo>
                      <a:pt x="40" y="4"/>
                    </a:lnTo>
                    <a:lnTo>
                      <a:pt x="33" y="1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6"/>
                    </a:lnTo>
                    <a:lnTo>
                      <a:pt x="7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18" name="Freeform 158"/>
              <p:cNvSpPr>
                <a:spLocks/>
              </p:cNvSpPr>
              <p:nvPr/>
            </p:nvSpPr>
            <p:spPr bwMode="auto">
              <a:xfrm>
                <a:off x="5486" y="2743"/>
                <a:ext cx="24" cy="34"/>
              </a:xfrm>
              <a:custGeom>
                <a:avLst/>
                <a:gdLst>
                  <a:gd name="T0" fmla="*/ 0 w 79"/>
                  <a:gd name="T1" fmla="*/ 0 h 104"/>
                  <a:gd name="T2" fmla="*/ 0 w 79"/>
                  <a:gd name="T3" fmla="*/ 0 h 104"/>
                  <a:gd name="T4" fmla="*/ 0 w 79"/>
                  <a:gd name="T5" fmla="*/ 0 h 104"/>
                  <a:gd name="T6" fmla="*/ 0 w 79"/>
                  <a:gd name="T7" fmla="*/ 0 h 104"/>
                  <a:gd name="T8" fmla="*/ 0 w 79"/>
                  <a:gd name="T9" fmla="*/ 0 h 104"/>
                  <a:gd name="T10" fmla="*/ 0 w 79"/>
                  <a:gd name="T11" fmla="*/ 0 h 104"/>
                  <a:gd name="T12" fmla="*/ 0 w 79"/>
                  <a:gd name="T13" fmla="*/ 0 h 104"/>
                  <a:gd name="T14" fmla="*/ 0 w 79"/>
                  <a:gd name="T15" fmla="*/ 0 h 104"/>
                  <a:gd name="T16" fmla="*/ 0 w 79"/>
                  <a:gd name="T17" fmla="*/ 0 h 104"/>
                  <a:gd name="T18" fmla="*/ 0 w 79"/>
                  <a:gd name="T19" fmla="*/ 0 h 104"/>
                  <a:gd name="T20" fmla="*/ 0 w 79"/>
                  <a:gd name="T21" fmla="*/ 0 h 104"/>
                  <a:gd name="T22" fmla="*/ 0 w 79"/>
                  <a:gd name="T23" fmla="*/ 0 h 104"/>
                  <a:gd name="T24" fmla="*/ 0 w 79"/>
                  <a:gd name="T25" fmla="*/ 0 h 104"/>
                  <a:gd name="T26" fmla="*/ 0 w 79"/>
                  <a:gd name="T27" fmla="*/ 0 h 104"/>
                  <a:gd name="T28" fmla="*/ 0 w 79"/>
                  <a:gd name="T29" fmla="*/ 0 h 104"/>
                  <a:gd name="T30" fmla="*/ 0 w 79"/>
                  <a:gd name="T31" fmla="*/ 0 h 104"/>
                  <a:gd name="T32" fmla="*/ 0 w 79"/>
                  <a:gd name="T33" fmla="*/ 0 h 104"/>
                  <a:gd name="T34" fmla="*/ 0 w 79"/>
                  <a:gd name="T35" fmla="*/ 0 h 104"/>
                  <a:gd name="T36" fmla="*/ 0 w 79"/>
                  <a:gd name="T37" fmla="*/ 0 h 104"/>
                  <a:gd name="T38" fmla="*/ 0 w 79"/>
                  <a:gd name="T39" fmla="*/ 0 h 104"/>
                  <a:gd name="T40" fmla="*/ 0 w 79"/>
                  <a:gd name="T41" fmla="*/ 0 h 104"/>
                  <a:gd name="T42" fmla="*/ 0 w 79"/>
                  <a:gd name="T43" fmla="*/ 0 h 104"/>
                  <a:gd name="T44" fmla="*/ 0 w 79"/>
                  <a:gd name="T45" fmla="*/ 0 h 104"/>
                  <a:gd name="T46" fmla="*/ 0 w 79"/>
                  <a:gd name="T47" fmla="*/ 0 h 10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79" h="104">
                    <a:moveTo>
                      <a:pt x="72" y="85"/>
                    </a:moveTo>
                    <a:lnTo>
                      <a:pt x="56" y="61"/>
                    </a:lnTo>
                    <a:lnTo>
                      <a:pt x="43" y="41"/>
                    </a:lnTo>
                    <a:lnTo>
                      <a:pt x="29" y="20"/>
                    </a:lnTo>
                    <a:lnTo>
                      <a:pt x="12" y="0"/>
                    </a:lnTo>
                    <a:lnTo>
                      <a:pt x="6" y="16"/>
                    </a:lnTo>
                    <a:lnTo>
                      <a:pt x="2" y="33"/>
                    </a:lnTo>
                    <a:lnTo>
                      <a:pt x="0" y="40"/>
                    </a:lnTo>
                    <a:lnTo>
                      <a:pt x="0" y="48"/>
                    </a:lnTo>
                    <a:lnTo>
                      <a:pt x="0" y="55"/>
                    </a:lnTo>
                    <a:lnTo>
                      <a:pt x="0" y="62"/>
                    </a:lnTo>
                    <a:lnTo>
                      <a:pt x="1" y="68"/>
                    </a:lnTo>
                    <a:lnTo>
                      <a:pt x="3" y="74"/>
                    </a:lnTo>
                    <a:lnTo>
                      <a:pt x="6" y="79"/>
                    </a:lnTo>
                    <a:lnTo>
                      <a:pt x="10" y="83"/>
                    </a:lnTo>
                    <a:lnTo>
                      <a:pt x="14" y="88"/>
                    </a:lnTo>
                    <a:lnTo>
                      <a:pt x="20" y="90"/>
                    </a:lnTo>
                    <a:lnTo>
                      <a:pt x="25" y="92"/>
                    </a:lnTo>
                    <a:lnTo>
                      <a:pt x="33" y="92"/>
                    </a:lnTo>
                    <a:lnTo>
                      <a:pt x="43" y="93"/>
                    </a:lnTo>
                    <a:lnTo>
                      <a:pt x="54" y="96"/>
                    </a:lnTo>
                    <a:lnTo>
                      <a:pt x="65" y="100"/>
                    </a:lnTo>
                    <a:lnTo>
                      <a:pt x="79" y="104"/>
                    </a:lnTo>
                    <a:lnTo>
                      <a:pt x="72" y="8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  <p:sp>
          <p:nvSpPr>
            <p:cNvPr id="25721" name="Freeform 159"/>
            <p:cNvSpPr>
              <a:spLocks/>
            </p:cNvSpPr>
            <p:nvPr>
              <p:custDataLst>
                <p:tags r:id="rId106"/>
              </p:custDataLst>
            </p:nvPr>
          </p:nvSpPr>
          <p:spPr bwMode="auto">
            <a:xfrm>
              <a:off x="6333169" y="4218427"/>
              <a:ext cx="11113" cy="55562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22" name="Freeform 160"/>
            <p:cNvSpPr>
              <a:spLocks/>
            </p:cNvSpPr>
            <p:nvPr>
              <p:custDataLst>
                <p:tags r:id="rId107"/>
              </p:custDataLst>
            </p:nvPr>
          </p:nvSpPr>
          <p:spPr bwMode="auto">
            <a:xfrm>
              <a:off x="6256969" y="4358127"/>
              <a:ext cx="14288" cy="57150"/>
            </a:xfrm>
            <a:custGeom>
              <a:avLst/>
              <a:gdLst>
                <a:gd name="T0" fmla="*/ 0 w 39"/>
                <a:gd name="T1" fmla="*/ 0 h 35"/>
                <a:gd name="T2" fmla="*/ 2147483647 w 39"/>
                <a:gd name="T3" fmla="*/ 0 h 35"/>
                <a:gd name="T4" fmla="*/ 2147483647 w 39"/>
                <a:gd name="T5" fmla="*/ 2147483647 h 35"/>
                <a:gd name="T6" fmla="*/ 2147483647 w 39"/>
                <a:gd name="T7" fmla="*/ 2147483647 h 35"/>
                <a:gd name="T8" fmla="*/ 2147483647 w 39"/>
                <a:gd name="T9" fmla="*/ 2147483647 h 35"/>
                <a:gd name="T10" fmla="*/ 2147483647 w 39"/>
                <a:gd name="T11" fmla="*/ 2147483647 h 35"/>
                <a:gd name="T12" fmla="*/ 2147483647 w 39"/>
                <a:gd name="T13" fmla="*/ 2147483647 h 35"/>
                <a:gd name="T14" fmla="*/ 2147483647 w 39"/>
                <a:gd name="T15" fmla="*/ 2147483647 h 35"/>
                <a:gd name="T16" fmla="*/ 2147483647 w 39"/>
                <a:gd name="T17" fmla="*/ 2147483647 h 35"/>
                <a:gd name="T18" fmla="*/ 2147483647 w 39"/>
                <a:gd name="T19" fmla="*/ 2147483647 h 35"/>
                <a:gd name="T20" fmla="*/ 2147483647 w 39"/>
                <a:gd name="T21" fmla="*/ 2147483647 h 35"/>
                <a:gd name="T22" fmla="*/ 2147483647 w 39"/>
                <a:gd name="T23" fmla="*/ 2147483647 h 35"/>
                <a:gd name="T24" fmla="*/ 2147483647 w 39"/>
                <a:gd name="T25" fmla="*/ 2147483647 h 35"/>
                <a:gd name="T26" fmla="*/ 0 w 39"/>
                <a:gd name="T27" fmla="*/ 0 h 3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39" h="35">
                  <a:moveTo>
                    <a:pt x="0" y="0"/>
                  </a:moveTo>
                  <a:lnTo>
                    <a:pt x="39" y="0"/>
                  </a:lnTo>
                  <a:lnTo>
                    <a:pt x="36" y="9"/>
                  </a:lnTo>
                  <a:lnTo>
                    <a:pt x="33" y="19"/>
                  </a:lnTo>
                  <a:lnTo>
                    <a:pt x="27" y="28"/>
                  </a:lnTo>
                  <a:lnTo>
                    <a:pt x="22" y="34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1" y="31"/>
                  </a:lnTo>
                  <a:lnTo>
                    <a:pt x="7" y="26"/>
                  </a:lnTo>
                  <a:lnTo>
                    <a:pt x="5" y="20"/>
                  </a:lnTo>
                  <a:lnTo>
                    <a:pt x="2" y="1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182" name="Freeform 161"/>
            <p:cNvSpPr>
              <a:spLocks/>
            </p:cNvSpPr>
            <p:nvPr>
              <p:custDataLst>
                <p:tags r:id="rId108"/>
              </p:custDataLst>
            </p:nvPr>
          </p:nvSpPr>
          <p:spPr bwMode="auto">
            <a:xfrm>
              <a:off x="8054864" y="2685436"/>
              <a:ext cx="729347" cy="330612"/>
            </a:xfrm>
            <a:custGeom>
              <a:avLst/>
              <a:gdLst>
                <a:gd name="T0" fmla="*/ 32 w 1688"/>
                <a:gd name="T1" fmla="*/ 216 h 630"/>
                <a:gd name="T2" fmla="*/ 86 w 1688"/>
                <a:gd name="T3" fmla="*/ 249 h 630"/>
                <a:gd name="T4" fmla="*/ 155 w 1688"/>
                <a:gd name="T5" fmla="*/ 264 h 630"/>
                <a:gd name="T6" fmla="*/ 191 w 1688"/>
                <a:gd name="T7" fmla="*/ 281 h 630"/>
                <a:gd name="T8" fmla="*/ 238 w 1688"/>
                <a:gd name="T9" fmla="*/ 331 h 630"/>
                <a:gd name="T10" fmla="*/ 253 w 1688"/>
                <a:gd name="T11" fmla="*/ 349 h 630"/>
                <a:gd name="T12" fmla="*/ 254 w 1688"/>
                <a:gd name="T13" fmla="*/ 386 h 630"/>
                <a:gd name="T14" fmla="*/ 273 w 1688"/>
                <a:gd name="T15" fmla="*/ 408 h 630"/>
                <a:gd name="T16" fmla="*/ 341 w 1688"/>
                <a:gd name="T17" fmla="*/ 416 h 630"/>
                <a:gd name="T18" fmla="*/ 463 w 1688"/>
                <a:gd name="T19" fmla="*/ 452 h 630"/>
                <a:gd name="T20" fmla="*/ 546 w 1688"/>
                <a:gd name="T21" fmla="*/ 469 h 630"/>
                <a:gd name="T22" fmla="*/ 575 w 1688"/>
                <a:gd name="T23" fmla="*/ 510 h 630"/>
                <a:gd name="T24" fmla="*/ 622 w 1688"/>
                <a:gd name="T25" fmla="*/ 542 h 630"/>
                <a:gd name="T26" fmla="*/ 670 w 1688"/>
                <a:gd name="T27" fmla="*/ 555 h 630"/>
                <a:gd name="T28" fmla="*/ 917 w 1688"/>
                <a:gd name="T29" fmla="*/ 576 h 630"/>
                <a:gd name="T30" fmla="*/ 1037 w 1688"/>
                <a:gd name="T31" fmla="*/ 614 h 630"/>
                <a:gd name="T32" fmla="*/ 1117 w 1688"/>
                <a:gd name="T33" fmla="*/ 630 h 630"/>
                <a:gd name="T34" fmla="*/ 1157 w 1688"/>
                <a:gd name="T35" fmla="*/ 613 h 630"/>
                <a:gd name="T36" fmla="*/ 1344 w 1688"/>
                <a:gd name="T37" fmla="*/ 564 h 630"/>
                <a:gd name="T38" fmla="*/ 1395 w 1688"/>
                <a:gd name="T39" fmla="*/ 510 h 630"/>
                <a:gd name="T40" fmla="*/ 1403 w 1688"/>
                <a:gd name="T41" fmla="*/ 483 h 630"/>
                <a:gd name="T42" fmla="*/ 1386 w 1688"/>
                <a:gd name="T43" fmla="*/ 455 h 630"/>
                <a:gd name="T44" fmla="*/ 1370 w 1688"/>
                <a:gd name="T45" fmla="*/ 415 h 630"/>
                <a:gd name="T46" fmla="*/ 1499 w 1688"/>
                <a:gd name="T47" fmla="*/ 394 h 630"/>
                <a:gd name="T48" fmla="*/ 1594 w 1688"/>
                <a:gd name="T49" fmla="*/ 343 h 630"/>
                <a:gd name="T50" fmla="*/ 1651 w 1688"/>
                <a:gd name="T51" fmla="*/ 325 h 630"/>
                <a:gd name="T52" fmla="*/ 1688 w 1688"/>
                <a:gd name="T53" fmla="*/ 297 h 630"/>
                <a:gd name="T54" fmla="*/ 1656 w 1688"/>
                <a:gd name="T55" fmla="*/ 279 h 630"/>
                <a:gd name="T56" fmla="*/ 1619 w 1688"/>
                <a:gd name="T57" fmla="*/ 252 h 630"/>
                <a:gd name="T58" fmla="*/ 1583 w 1688"/>
                <a:gd name="T59" fmla="*/ 248 h 630"/>
                <a:gd name="T60" fmla="*/ 1553 w 1688"/>
                <a:gd name="T61" fmla="*/ 258 h 630"/>
                <a:gd name="T62" fmla="*/ 1497 w 1688"/>
                <a:gd name="T63" fmla="*/ 256 h 630"/>
                <a:gd name="T64" fmla="*/ 1457 w 1688"/>
                <a:gd name="T65" fmla="*/ 235 h 630"/>
                <a:gd name="T66" fmla="*/ 1434 w 1688"/>
                <a:gd name="T67" fmla="*/ 187 h 630"/>
                <a:gd name="T68" fmla="*/ 1367 w 1688"/>
                <a:gd name="T69" fmla="*/ 124 h 630"/>
                <a:gd name="T70" fmla="*/ 1286 w 1688"/>
                <a:gd name="T71" fmla="*/ 120 h 630"/>
                <a:gd name="T72" fmla="*/ 1260 w 1688"/>
                <a:gd name="T73" fmla="*/ 147 h 630"/>
                <a:gd name="T74" fmla="*/ 1236 w 1688"/>
                <a:gd name="T75" fmla="*/ 165 h 630"/>
                <a:gd name="T76" fmla="*/ 1168 w 1688"/>
                <a:gd name="T77" fmla="*/ 167 h 630"/>
                <a:gd name="T78" fmla="*/ 1044 w 1688"/>
                <a:gd name="T79" fmla="*/ 167 h 630"/>
                <a:gd name="T80" fmla="*/ 986 w 1688"/>
                <a:gd name="T81" fmla="*/ 140 h 630"/>
                <a:gd name="T82" fmla="*/ 922 w 1688"/>
                <a:gd name="T83" fmla="*/ 108 h 630"/>
                <a:gd name="T84" fmla="*/ 852 w 1688"/>
                <a:gd name="T85" fmla="*/ 100 h 630"/>
                <a:gd name="T86" fmla="*/ 801 w 1688"/>
                <a:gd name="T87" fmla="*/ 114 h 630"/>
                <a:gd name="T88" fmla="*/ 740 w 1688"/>
                <a:gd name="T89" fmla="*/ 116 h 630"/>
                <a:gd name="T90" fmla="*/ 692 w 1688"/>
                <a:gd name="T91" fmla="*/ 101 h 630"/>
                <a:gd name="T92" fmla="*/ 662 w 1688"/>
                <a:gd name="T93" fmla="*/ 68 h 630"/>
                <a:gd name="T94" fmla="*/ 446 w 1688"/>
                <a:gd name="T95" fmla="*/ 7 h 630"/>
                <a:gd name="T96" fmla="*/ 446 w 1688"/>
                <a:gd name="T97" fmla="*/ 44 h 630"/>
                <a:gd name="T98" fmla="*/ 471 w 1688"/>
                <a:gd name="T99" fmla="*/ 79 h 630"/>
                <a:gd name="T100" fmla="*/ 490 w 1688"/>
                <a:gd name="T101" fmla="*/ 106 h 630"/>
                <a:gd name="T102" fmla="*/ 307 w 1688"/>
                <a:gd name="T103" fmla="*/ 122 h 630"/>
                <a:gd name="T104" fmla="*/ 294 w 1688"/>
                <a:gd name="T105" fmla="*/ 87 h 630"/>
                <a:gd name="T106" fmla="*/ 225 w 1688"/>
                <a:gd name="T107" fmla="*/ 97 h 630"/>
                <a:gd name="T108" fmla="*/ 185 w 1688"/>
                <a:gd name="T109" fmla="*/ 88 h 630"/>
                <a:gd name="T110" fmla="*/ 138 w 1688"/>
                <a:gd name="T111" fmla="*/ 97 h 630"/>
                <a:gd name="T112" fmla="*/ 68 w 1688"/>
                <a:gd name="T113" fmla="*/ 143 h 630"/>
                <a:gd name="T114" fmla="*/ 31 w 1688"/>
                <a:gd name="T115" fmla="*/ 151 h 630"/>
                <a:gd name="T116" fmla="*/ 4 w 1688"/>
                <a:gd name="T117" fmla="*/ 16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88" h="630">
                  <a:moveTo>
                    <a:pt x="0" y="180"/>
                  </a:moveTo>
                  <a:lnTo>
                    <a:pt x="7" y="190"/>
                  </a:lnTo>
                  <a:lnTo>
                    <a:pt x="15" y="199"/>
                  </a:lnTo>
                  <a:lnTo>
                    <a:pt x="22" y="208"/>
                  </a:lnTo>
                  <a:lnTo>
                    <a:pt x="32" y="216"/>
                  </a:lnTo>
                  <a:lnTo>
                    <a:pt x="41" y="224"/>
                  </a:lnTo>
                  <a:lnTo>
                    <a:pt x="51" y="232"/>
                  </a:lnTo>
                  <a:lnTo>
                    <a:pt x="62" y="238"/>
                  </a:lnTo>
                  <a:lnTo>
                    <a:pt x="74" y="244"/>
                  </a:lnTo>
                  <a:lnTo>
                    <a:pt x="86" y="249"/>
                  </a:lnTo>
                  <a:lnTo>
                    <a:pt x="99" y="253"/>
                  </a:lnTo>
                  <a:lnTo>
                    <a:pt x="112" y="257"/>
                  </a:lnTo>
                  <a:lnTo>
                    <a:pt x="126" y="260"/>
                  </a:lnTo>
                  <a:lnTo>
                    <a:pt x="140" y="262"/>
                  </a:lnTo>
                  <a:lnTo>
                    <a:pt x="155" y="264"/>
                  </a:lnTo>
                  <a:lnTo>
                    <a:pt x="171" y="265"/>
                  </a:lnTo>
                  <a:lnTo>
                    <a:pt x="187" y="266"/>
                  </a:lnTo>
                  <a:lnTo>
                    <a:pt x="187" y="270"/>
                  </a:lnTo>
                  <a:lnTo>
                    <a:pt x="189" y="276"/>
                  </a:lnTo>
                  <a:lnTo>
                    <a:pt x="191" y="281"/>
                  </a:lnTo>
                  <a:lnTo>
                    <a:pt x="196" y="288"/>
                  </a:lnTo>
                  <a:lnTo>
                    <a:pt x="205" y="300"/>
                  </a:lnTo>
                  <a:lnTo>
                    <a:pt x="215" y="312"/>
                  </a:lnTo>
                  <a:lnTo>
                    <a:pt x="227" y="323"/>
                  </a:lnTo>
                  <a:lnTo>
                    <a:pt x="238" y="331"/>
                  </a:lnTo>
                  <a:lnTo>
                    <a:pt x="242" y="335"/>
                  </a:lnTo>
                  <a:lnTo>
                    <a:pt x="246" y="337"/>
                  </a:lnTo>
                  <a:lnTo>
                    <a:pt x="251" y="340"/>
                  </a:lnTo>
                  <a:lnTo>
                    <a:pt x="253" y="340"/>
                  </a:lnTo>
                  <a:lnTo>
                    <a:pt x="253" y="349"/>
                  </a:lnTo>
                  <a:lnTo>
                    <a:pt x="253" y="358"/>
                  </a:lnTo>
                  <a:lnTo>
                    <a:pt x="253" y="365"/>
                  </a:lnTo>
                  <a:lnTo>
                    <a:pt x="253" y="370"/>
                  </a:lnTo>
                  <a:lnTo>
                    <a:pt x="253" y="379"/>
                  </a:lnTo>
                  <a:lnTo>
                    <a:pt x="254" y="386"/>
                  </a:lnTo>
                  <a:lnTo>
                    <a:pt x="256" y="394"/>
                  </a:lnTo>
                  <a:lnTo>
                    <a:pt x="260" y="402"/>
                  </a:lnTo>
                  <a:lnTo>
                    <a:pt x="262" y="404"/>
                  </a:lnTo>
                  <a:lnTo>
                    <a:pt x="266" y="406"/>
                  </a:lnTo>
                  <a:lnTo>
                    <a:pt x="273" y="408"/>
                  </a:lnTo>
                  <a:lnTo>
                    <a:pt x="280" y="410"/>
                  </a:lnTo>
                  <a:lnTo>
                    <a:pt x="296" y="413"/>
                  </a:lnTo>
                  <a:lnTo>
                    <a:pt x="307" y="414"/>
                  </a:lnTo>
                  <a:lnTo>
                    <a:pt x="323" y="414"/>
                  </a:lnTo>
                  <a:lnTo>
                    <a:pt x="341" y="416"/>
                  </a:lnTo>
                  <a:lnTo>
                    <a:pt x="356" y="419"/>
                  </a:lnTo>
                  <a:lnTo>
                    <a:pt x="373" y="422"/>
                  </a:lnTo>
                  <a:lnTo>
                    <a:pt x="403" y="431"/>
                  </a:lnTo>
                  <a:lnTo>
                    <a:pt x="433" y="441"/>
                  </a:lnTo>
                  <a:lnTo>
                    <a:pt x="463" y="452"/>
                  </a:lnTo>
                  <a:lnTo>
                    <a:pt x="490" y="461"/>
                  </a:lnTo>
                  <a:lnTo>
                    <a:pt x="504" y="464"/>
                  </a:lnTo>
                  <a:lnTo>
                    <a:pt x="518" y="467"/>
                  </a:lnTo>
                  <a:lnTo>
                    <a:pt x="532" y="469"/>
                  </a:lnTo>
                  <a:lnTo>
                    <a:pt x="546" y="469"/>
                  </a:lnTo>
                  <a:lnTo>
                    <a:pt x="548" y="477"/>
                  </a:lnTo>
                  <a:lnTo>
                    <a:pt x="554" y="485"/>
                  </a:lnTo>
                  <a:lnTo>
                    <a:pt x="559" y="493"/>
                  </a:lnTo>
                  <a:lnTo>
                    <a:pt x="566" y="501"/>
                  </a:lnTo>
                  <a:lnTo>
                    <a:pt x="575" y="510"/>
                  </a:lnTo>
                  <a:lnTo>
                    <a:pt x="583" y="517"/>
                  </a:lnTo>
                  <a:lnTo>
                    <a:pt x="592" y="524"/>
                  </a:lnTo>
                  <a:lnTo>
                    <a:pt x="602" y="531"/>
                  </a:lnTo>
                  <a:lnTo>
                    <a:pt x="612" y="537"/>
                  </a:lnTo>
                  <a:lnTo>
                    <a:pt x="622" y="542"/>
                  </a:lnTo>
                  <a:lnTo>
                    <a:pt x="633" y="547"/>
                  </a:lnTo>
                  <a:lnTo>
                    <a:pt x="643" y="550"/>
                  </a:lnTo>
                  <a:lnTo>
                    <a:pt x="653" y="553"/>
                  </a:lnTo>
                  <a:lnTo>
                    <a:pt x="661" y="555"/>
                  </a:lnTo>
                  <a:lnTo>
                    <a:pt x="670" y="555"/>
                  </a:lnTo>
                  <a:lnTo>
                    <a:pt x="679" y="555"/>
                  </a:lnTo>
                  <a:lnTo>
                    <a:pt x="738" y="568"/>
                  </a:lnTo>
                  <a:lnTo>
                    <a:pt x="904" y="568"/>
                  </a:lnTo>
                  <a:lnTo>
                    <a:pt x="910" y="572"/>
                  </a:lnTo>
                  <a:lnTo>
                    <a:pt x="917" y="576"/>
                  </a:lnTo>
                  <a:lnTo>
                    <a:pt x="928" y="580"/>
                  </a:lnTo>
                  <a:lnTo>
                    <a:pt x="940" y="585"/>
                  </a:lnTo>
                  <a:lnTo>
                    <a:pt x="970" y="595"/>
                  </a:lnTo>
                  <a:lnTo>
                    <a:pt x="1003" y="605"/>
                  </a:lnTo>
                  <a:lnTo>
                    <a:pt x="1037" y="614"/>
                  </a:lnTo>
                  <a:lnTo>
                    <a:pt x="1070" y="623"/>
                  </a:lnTo>
                  <a:lnTo>
                    <a:pt x="1084" y="626"/>
                  </a:lnTo>
                  <a:lnTo>
                    <a:pt x="1097" y="628"/>
                  </a:lnTo>
                  <a:lnTo>
                    <a:pt x="1108" y="629"/>
                  </a:lnTo>
                  <a:lnTo>
                    <a:pt x="1117" y="630"/>
                  </a:lnTo>
                  <a:lnTo>
                    <a:pt x="1121" y="629"/>
                  </a:lnTo>
                  <a:lnTo>
                    <a:pt x="1127" y="627"/>
                  </a:lnTo>
                  <a:lnTo>
                    <a:pt x="1134" y="625"/>
                  </a:lnTo>
                  <a:lnTo>
                    <a:pt x="1140" y="622"/>
                  </a:lnTo>
                  <a:lnTo>
                    <a:pt x="1157" y="613"/>
                  </a:lnTo>
                  <a:lnTo>
                    <a:pt x="1174" y="603"/>
                  </a:lnTo>
                  <a:lnTo>
                    <a:pt x="1209" y="583"/>
                  </a:lnTo>
                  <a:lnTo>
                    <a:pt x="1237" y="568"/>
                  </a:lnTo>
                  <a:lnTo>
                    <a:pt x="1337" y="568"/>
                  </a:lnTo>
                  <a:lnTo>
                    <a:pt x="1344" y="564"/>
                  </a:lnTo>
                  <a:lnTo>
                    <a:pt x="1355" y="556"/>
                  </a:lnTo>
                  <a:lnTo>
                    <a:pt x="1366" y="546"/>
                  </a:lnTo>
                  <a:lnTo>
                    <a:pt x="1377" y="534"/>
                  </a:lnTo>
                  <a:lnTo>
                    <a:pt x="1387" y="522"/>
                  </a:lnTo>
                  <a:lnTo>
                    <a:pt x="1395" y="510"/>
                  </a:lnTo>
                  <a:lnTo>
                    <a:pt x="1398" y="503"/>
                  </a:lnTo>
                  <a:lnTo>
                    <a:pt x="1400" y="497"/>
                  </a:lnTo>
                  <a:lnTo>
                    <a:pt x="1403" y="492"/>
                  </a:lnTo>
                  <a:lnTo>
                    <a:pt x="1403" y="487"/>
                  </a:lnTo>
                  <a:lnTo>
                    <a:pt x="1403" y="483"/>
                  </a:lnTo>
                  <a:lnTo>
                    <a:pt x="1401" y="479"/>
                  </a:lnTo>
                  <a:lnTo>
                    <a:pt x="1399" y="475"/>
                  </a:lnTo>
                  <a:lnTo>
                    <a:pt x="1397" y="471"/>
                  </a:lnTo>
                  <a:lnTo>
                    <a:pt x="1392" y="463"/>
                  </a:lnTo>
                  <a:lnTo>
                    <a:pt x="1386" y="455"/>
                  </a:lnTo>
                  <a:lnTo>
                    <a:pt x="1379" y="445"/>
                  </a:lnTo>
                  <a:lnTo>
                    <a:pt x="1374" y="434"/>
                  </a:lnTo>
                  <a:lnTo>
                    <a:pt x="1373" y="429"/>
                  </a:lnTo>
                  <a:lnTo>
                    <a:pt x="1371" y="422"/>
                  </a:lnTo>
                  <a:lnTo>
                    <a:pt x="1370" y="415"/>
                  </a:lnTo>
                  <a:lnTo>
                    <a:pt x="1370" y="408"/>
                  </a:lnTo>
                  <a:lnTo>
                    <a:pt x="1483" y="408"/>
                  </a:lnTo>
                  <a:lnTo>
                    <a:pt x="1486" y="404"/>
                  </a:lnTo>
                  <a:lnTo>
                    <a:pt x="1491" y="399"/>
                  </a:lnTo>
                  <a:lnTo>
                    <a:pt x="1499" y="394"/>
                  </a:lnTo>
                  <a:lnTo>
                    <a:pt x="1508" y="388"/>
                  </a:lnTo>
                  <a:lnTo>
                    <a:pt x="1529" y="376"/>
                  </a:lnTo>
                  <a:lnTo>
                    <a:pt x="1551" y="364"/>
                  </a:lnTo>
                  <a:lnTo>
                    <a:pt x="1574" y="352"/>
                  </a:lnTo>
                  <a:lnTo>
                    <a:pt x="1594" y="343"/>
                  </a:lnTo>
                  <a:lnTo>
                    <a:pt x="1608" y="335"/>
                  </a:lnTo>
                  <a:lnTo>
                    <a:pt x="1616" y="333"/>
                  </a:lnTo>
                  <a:lnTo>
                    <a:pt x="1628" y="332"/>
                  </a:lnTo>
                  <a:lnTo>
                    <a:pt x="1640" y="329"/>
                  </a:lnTo>
                  <a:lnTo>
                    <a:pt x="1651" y="325"/>
                  </a:lnTo>
                  <a:lnTo>
                    <a:pt x="1662" y="319"/>
                  </a:lnTo>
                  <a:lnTo>
                    <a:pt x="1670" y="314"/>
                  </a:lnTo>
                  <a:lnTo>
                    <a:pt x="1679" y="308"/>
                  </a:lnTo>
                  <a:lnTo>
                    <a:pt x="1685" y="302"/>
                  </a:lnTo>
                  <a:lnTo>
                    <a:pt x="1688" y="297"/>
                  </a:lnTo>
                  <a:lnTo>
                    <a:pt x="1680" y="294"/>
                  </a:lnTo>
                  <a:lnTo>
                    <a:pt x="1674" y="291"/>
                  </a:lnTo>
                  <a:lnTo>
                    <a:pt x="1667" y="288"/>
                  </a:lnTo>
                  <a:lnTo>
                    <a:pt x="1661" y="284"/>
                  </a:lnTo>
                  <a:lnTo>
                    <a:pt x="1656" y="279"/>
                  </a:lnTo>
                  <a:lnTo>
                    <a:pt x="1652" y="275"/>
                  </a:lnTo>
                  <a:lnTo>
                    <a:pt x="1650" y="270"/>
                  </a:lnTo>
                  <a:lnTo>
                    <a:pt x="1648" y="266"/>
                  </a:lnTo>
                  <a:lnTo>
                    <a:pt x="1632" y="258"/>
                  </a:lnTo>
                  <a:lnTo>
                    <a:pt x="1619" y="252"/>
                  </a:lnTo>
                  <a:lnTo>
                    <a:pt x="1613" y="250"/>
                  </a:lnTo>
                  <a:lnTo>
                    <a:pt x="1608" y="249"/>
                  </a:lnTo>
                  <a:lnTo>
                    <a:pt x="1602" y="248"/>
                  </a:lnTo>
                  <a:lnTo>
                    <a:pt x="1596" y="247"/>
                  </a:lnTo>
                  <a:lnTo>
                    <a:pt x="1583" y="248"/>
                  </a:lnTo>
                  <a:lnTo>
                    <a:pt x="1574" y="249"/>
                  </a:lnTo>
                  <a:lnTo>
                    <a:pt x="1567" y="251"/>
                  </a:lnTo>
                  <a:lnTo>
                    <a:pt x="1563" y="253"/>
                  </a:lnTo>
                  <a:lnTo>
                    <a:pt x="1558" y="256"/>
                  </a:lnTo>
                  <a:lnTo>
                    <a:pt x="1553" y="258"/>
                  </a:lnTo>
                  <a:lnTo>
                    <a:pt x="1546" y="259"/>
                  </a:lnTo>
                  <a:lnTo>
                    <a:pt x="1535" y="259"/>
                  </a:lnTo>
                  <a:lnTo>
                    <a:pt x="1521" y="259"/>
                  </a:lnTo>
                  <a:lnTo>
                    <a:pt x="1509" y="258"/>
                  </a:lnTo>
                  <a:lnTo>
                    <a:pt x="1497" y="256"/>
                  </a:lnTo>
                  <a:lnTo>
                    <a:pt x="1487" y="253"/>
                  </a:lnTo>
                  <a:lnTo>
                    <a:pt x="1478" y="249"/>
                  </a:lnTo>
                  <a:lnTo>
                    <a:pt x="1471" y="245"/>
                  </a:lnTo>
                  <a:lnTo>
                    <a:pt x="1463" y="240"/>
                  </a:lnTo>
                  <a:lnTo>
                    <a:pt x="1457" y="235"/>
                  </a:lnTo>
                  <a:lnTo>
                    <a:pt x="1452" y="228"/>
                  </a:lnTo>
                  <a:lnTo>
                    <a:pt x="1448" y="220"/>
                  </a:lnTo>
                  <a:lnTo>
                    <a:pt x="1443" y="213"/>
                  </a:lnTo>
                  <a:lnTo>
                    <a:pt x="1440" y="205"/>
                  </a:lnTo>
                  <a:lnTo>
                    <a:pt x="1434" y="187"/>
                  </a:lnTo>
                  <a:lnTo>
                    <a:pt x="1429" y="167"/>
                  </a:lnTo>
                  <a:lnTo>
                    <a:pt x="1422" y="136"/>
                  </a:lnTo>
                  <a:lnTo>
                    <a:pt x="1412" y="134"/>
                  </a:lnTo>
                  <a:lnTo>
                    <a:pt x="1385" y="127"/>
                  </a:lnTo>
                  <a:lnTo>
                    <a:pt x="1367" y="124"/>
                  </a:lnTo>
                  <a:lnTo>
                    <a:pt x="1347" y="121"/>
                  </a:lnTo>
                  <a:lnTo>
                    <a:pt x="1326" y="119"/>
                  </a:lnTo>
                  <a:lnTo>
                    <a:pt x="1303" y="118"/>
                  </a:lnTo>
                  <a:lnTo>
                    <a:pt x="1294" y="119"/>
                  </a:lnTo>
                  <a:lnTo>
                    <a:pt x="1286" y="120"/>
                  </a:lnTo>
                  <a:lnTo>
                    <a:pt x="1281" y="123"/>
                  </a:lnTo>
                  <a:lnTo>
                    <a:pt x="1275" y="126"/>
                  </a:lnTo>
                  <a:lnTo>
                    <a:pt x="1267" y="134"/>
                  </a:lnTo>
                  <a:lnTo>
                    <a:pt x="1262" y="142"/>
                  </a:lnTo>
                  <a:lnTo>
                    <a:pt x="1260" y="147"/>
                  </a:lnTo>
                  <a:lnTo>
                    <a:pt x="1257" y="151"/>
                  </a:lnTo>
                  <a:lnTo>
                    <a:pt x="1252" y="156"/>
                  </a:lnTo>
                  <a:lnTo>
                    <a:pt x="1248" y="159"/>
                  </a:lnTo>
                  <a:lnTo>
                    <a:pt x="1242" y="162"/>
                  </a:lnTo>
                  <a:lnTo>
                    <a:pt x="1236" y="165"/>
                  </a:lnTo>
                  <a:lnTo>
                    <a:pt x="1227" y="166"/>
                  </a:lnTo>
                  <a:lnTo>
                    <a:pt x="1217" y="167"/>
                  </a:lnTo>
                  <a:lnTo>
                    <a:pt x="1199" y="167"/>
                  </a:lnTo>
                  <a:lnTo>
                    <a:pt x="1184" y="167"/>
                  </a:lnTo>
                  <a:lnTo>
                    <a:pt x="1168" y="167"/>
                  </a:lnTo>
                  <a:lnTo>
                    <a:pt x="1150" y="167"/>
                  </a:lnTo>
                  <a:lnTo>
                    <a:pt x="1130" y="167"/>
                  </a:lnTo>
                  <a:lnTo>
                    <a:pt x="1106" y="167"/>
                  </a:lnTo>
                  <a:lnTo>
                    <a:pt x="1078" y="167"/>
                  </a:lnTo>
                  <a:lnTo>
                    <a:pt x="1044" y="167"/>
                  </a:lnTo>
                  <a:lnTo>
                    <a:pt x="1034" y="164"/>
                  </a:lnTo>
                  <a:lnTo>
                    <a:pt x="1025" y="160"/>
                  </a:lnTo>
                  <a:lnTo>
                    <a:pt x="1015" y="156"/>
                  </a:lnTo>
                  <a:lnTo>
                    <a:pt x="1005" y="151"/>
                  </a:lnTo>
                  <a:lnTo>
                    <a:pt x="986" y="140"/>
                  </a:lnTo>
                  <a:lnTo>
                    <a:pt x="967" y="129"/>
                  </a:lnTo>
                  <a:lnTo>
                    <a:pt x="956" y="123"/>
                  </a:lnTo>
                  <a:lnTo>
                    <a:pt x="945" y="118"/>
                  </a:lnTo>
                  <a:lnTo>
                    <a:pt x="934" y="112"/>
                  </a:lnTo>
                  <a:lnTo>
                    <a:pt x="922" y="108"/>
                  </a:lnTo>
                  <a:lnTo>
                    <a:pt x="908" y="104"/>
                  </a:lnTo>
                  <a:lnTo>
                    <a:pt x="895" y="102"/>
                  </a:lnTo>
                  <a:lnTo>
                    <a:pt x="880" y="100"/>
                  </a:lnTo>
                  <a:lnTo>
                    <a:pt x="865" y="99"/>
                  </a:lnTo>
                  <a:lnTo>
                    <a:pt x="852" y="100"/>
                  </a:lnTo>
                  <a:lnTo>
                    <a:pt x="841" y="102"/>
                  </a:lnTo>
                  <a:lnTo>
                    <a:pt x="832" y="105"/>
                  </a:lnTo>
                  <a:lnTo>
                    <a:pt x="822" y="108"/>
                  </a:lnTo>
                  <a:lnTo>
                    <a:pt x="811" y="112"/>
                  </a:lnTo>
                  <a:lnTo>
                    <a:pt x="801" y="114"/>
                  </a:lnTo>
                  <a:lnTo>
                    <a:pt x="790" y="118"/>
                  </a:lnTo>
                  <a:lnTo>
                    <a:pt x="778" y="118"/>
                  </a:lnTo>
                  <a:lnTo>
                    <a:pt x="765" y="118"/>
                  </a:lnTo>
                  <a:lnTo>
                    <a:pt x="753" y="117"/>
                  </a:lnTo>
                  <a:lnTo>
                    <a:pt x="740" y="116"/>
                  </a:lnTo>
                  <a:lnTo>
                    <a:pt x="729" y="114"/>
                  </a:lnTo>
                  <a:lnTo>
                    <a:pt x="720" y="111"/>
                  </a:lnTo>
                  <a:lnTo>
                    <a:pt x="710" y="108"/>
                  </a:lnTo>
                  <a:lnTo>
                    <a:pt x="701" y="105"/>
                  </a:lnTo>
                  <a:lnTo>
                    <a:pt x="692" y="101"/>
                  </a:lnTo>
                  <a:lnTo>
                    <a:pt x="686" y="96"/>
                  </a:lnTo>
                  <a:lnTo>
                    <a:pt x="678" y="90"/>
                  </a:lnTo>
                  <a:lnTo>
                    <a:pt x="672" y="84"/>
                  </a:lnTo>
                  <a:lnTo>
                    <a:pt x="667" y="76"/>
                  </a:lnTo>
                  <a:lnTo>
                    <a:pt x="662" y="68"/>
                  </a:lnTo>
                  <a:lnTo>
                    <a:pt x="658" y="58"/>
                  </a:lnTo>
                  <a:lnTo>
                    <a:pt x="655" y="49"/>
                  </a:lnTo>
                  <a:lnTo>
                    <a:pt x="652" y="38"/>
                  </a:lnTo>
                  <a:lnTo>
                    <a:pt x="459" y="0"/>
                  </a:lnTo>
                  <a:lnTo>
                    <a:pt x="446" y="7"/>
                  </a:lnTo>
                  <a:lnTo>
                    <a:pt x="446" y="16"/>
                  </a:lnTo>
                  <a:lnTo>
                    <a:pt x="446" y="23"/>
                  </a:lnTo>
                  <a:lnTo>
                    <a:pt x="446" y="30"/>
                  </a:lnTo>
                  <a:lnTo>
                    <a:pt x="446" y="38"/>
                  </a:lnTo>
                  <a:lnTo>
                    <a:pt x="446" y="44"/>
                  </a:lnTo>
                  <a:lnTo>
                    <a:pt x="448" y="50"/>
                  </a:lnTo>
                  <a:lnTo>
                    <a:pt x="451" y="55"/>
                  </a:lnTo>
                  <a:lnTo>
                    <a:pt x="454" y="61"/>
                  </a:lnTo>
                  <a:lnTo>
                    <a:pt x="463" y="71"/>
                  </a:lnTo>
                  <a:lnTo>
                    <a:pt x="471" y="79"/>
                  </a:lnTo>
                  <a:lnTo>
                    <a:pt x="476" y="84"/>
                  </a:lnTo>
                  <a:lnTo>
                    <a:pt x="480" y="89"/>
                  </a:lnTo>
                  <a:lnTo>
                    <a:pt x="485" y="94"/>
                  </a:lnTo>
                  <a:lnTo>
                    <a:pt x="488" y="100"/>
                  </a:lnTo>
                  <a:lnTo>
                    <a:pt x="490" y="106"/>
                  </a:lnTo>
                  <a:lnTo>
                    <a:pt x="492" y="113"/>
                  </a:lnTo>
                  <a:lnTo>
                    <a:pt x="493" y="122"/>
                  </a:lnTo>
                  <a:lnTo>
                    <a:pt x="492" y="130"/>
                  </a:lnTo>
                  <a:lnTo>
                    <a:pt x="313" y="130"/>
                  </a:lnTo>
                  <a:lnTo>
                    <a:pt x="307" y="122"/>
                  </a:lnTo>
                  <a:lnTo>
                    <a:pt x="300" y="113"/>
                  </a:lnTo>
                  <a:lnTo>
                    <a:pt x="298" y="108"/>
                  </a:lnTo>
                  <a:lnTo>
                    <a:pt x="296" y="102"/>
                  </a:lnTo>
                  <a:lnTo>
                    <a:pt x="294" y="95"/>
                  </a:lnTo>
                  <a:lnTo>
                    <a:pt x="294" y="87"/>
                  </a:lnTo>
                  <a:lnTo>
                    <a:pt x="279" y="87"/>
                  </a:lnTo>
                  <a:lnTo>
                    <a:pt x="266" y="87"/>
                  </a:lnTo>
                  <a:lnTo>
                    <a:pt x="240" y="99"/>
                  </a:lnTo>
                  <a:lnTo>
                    <a:pt x="233" y="99"/>
                  </a:lnTo>
                  <a:lnTo>
                    <a:pt x="225" y="97"/>
                  </a:lnTo>
                  <a:lnTo>
                    <a:pt x="219" y="95"/>
                  </a:lnTo>
                  <a:lnTo>
                    <a:pt x="211" y="93"/>
                  </a:lnTo>
                  <a:lnTo>
                    <a:pt x="204" y="91"/>
                  </a:lnTo>
                  <a:lnTo>
                    <a:pt x="195" y="89"/>
                  </a:lnTo>
                  <a:lnTo>
                    <a:pt x="185" y="88"/>
                  </a:lnTo>
                  <a:lnTo>
                    <a:pt x="174" y="87"/>
                  </a:lnTo>
                  <a:lnTo>
                    <a:pt x="164" y="88"/>
                  </a:lnTo>
                  <a:lnTo>
                    <a:pt x="155" y="90"/>
                  </a:lnTo>
                  <a:lnTo>
                    <a:pt x="146" y="93"/>
                  </a:lnTo>
                  <a:lnTo>
                    <a:pt x="138" y="97"/>
                  </a:lnTo>
                  <a:lnTo>
                    <a:pt x="122" y="106"/>
                  </a:lnTo>
                  <a:lnTo>
                    <a:pt x="107" y="118"/>
                  </a:lnTo>
                  <a:lnTo>
                    <a:pt x="92" y="129"/>
                  </a:lnTo>
                  <a:lnTo>
                    <a:pt x="76" y="139"/>
                  </a:lnTo>
                  <a:lnTo>
                    <a:pt x="68" y="143"/>
                  </a:lnTo>
                  <a:lnTo>
                    <a:pt x="60" y="146"/>
                  </a:lnTo>
                  <a:lnTo>
                    <a:pt x="50" y="148"/>
                  </a:lnTo>
                  <a:lnTo>
                    <a:pt x="41" y="149"/>
                  </a:lnTo>
                  <a:lnTo>
                    <a:pt x="37" y="149"/>
                  </a:lnTo>
                  <a:lnTo>
                    <a:pt x="31" y="151"/>
                  </a:lnTo>
                  <a:lnTo>
                    <a:pt x="25" y="153"/>
                  </a:lnTo>
                  <a:lnTo>
                    <a:pt x="18" y="157"/>
                  </a:lnTo>
                  <a:lnTo>
                    <a:pt x="11" y="161"/>
                  </a:lnTo>
                  <a:lnTo>
                    <a:pt x="6" y="166"/>
                  </a:lnTo>
                  <a:lnTo>
                    <a:pt x="4" y="169"/>
                  </a:lnTo>
                  <a:lnTo>
                    <a:pt x="3" y="173"/>
                  </a:lnTo>
                  <a:lnTo>
                    <a:pt x="1" y="177"/>
                  </a:lnTo>
                  <a:lnTo>
                    <a:pt x="0" y="18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183" name="Freeform 162"/>
            <p:cNvSpPr>
              <a:spLocks/>
            </p:cNvSpPr>
            <p:nvPr>
              <p:custDataLst>
                <p:tags r:id="rId109"/>
              </p:custDataLst>
            </p:nvPr>
          </p:nvSpPr>
          <p:spPr bwMode="auto">
            <a:xfrm>
              <a:off x="4382597" y="4652242"/>
              <a:ext cx="328764" cy="414952"/>
            </a:xfrm>
            <a:custGeom>
              <a:avLst/>
              <a:gdLst>
                <a:gd name="T0" fmla="*/ 26 w 758"/>
                <a:gd name="T1" fmla="*/ 80 h 795"/>
                <a:gd name="T2" fmla="*/ 49 w 758"/>
                <a:gd name="T3" fmla="*/ 88 h 795"/>
                <a:gd name="T4" fmla="*/ 72 w 758"/>
                <a:gd name="T5" fmla="*/ 108 h 795"/>
                <a:gd name="T6" fmla="*/ 88 w 758"/>
                <a:gd name="T7" fmla="*/ 134 h 795"/>
                <a:gd name="T8" fmla="*/ 93 w 758"/>
                <a:gd name="T9" fmla="*/ 169 h 795"/>
                <a:gd name="T10" fmla="*/ 84 w 758"/>
                <a:gd name="T11" fmla="*/ 186 h 795"/>
                <a:gd name="T12" fmla="*/ 81 w 758"/>
                <a:gd name="T13" fmla="*/ 205 h 795"/>
                <a:gd name="T14" fmla="*/ 88 w 758"/>
                <a:gd name="T15" fmla="*/ 240 h 795"/>
                <a:gd name="T16" fmla="*/ 95 w 758"/>
                <a:gd name="T17" fmla="*/ 278 h 795"/>
                <a:gd name="T18" fmla="*/ 83 w 758"/>
                <a:gd name="T19" fmla="*/ 308 h 795"/>
                <a:gd name="T20" fmla="*/ 81 w 758"/>
                <a:gd name="T21" fmla="*/ 352 h 795"/>
                <a:gd name="T22" fmla="*/ 93 w 758"/>
                <a:gd name="T23" fmla="*/ 390 h 795"/>
                <a:gd name="T24" fmla="*/ 99 w 758"/>
                <a:gd name="T25" fmla="*/ 415 h 795"/>
                <a:gd name="T26" fmla="*/ 78 w 758"/>
                <a:gd name="T27" fmla="*/ 457 h 795"/>
                <a:gd name="T28" fmla="*/ 113 w 758"/>
                <a:gd name="T29" fmla="*/ 529 h 795"/>
                <a:gd name="T30" fmla="*/ 138 w 758"/>
                <a:gd name="T31" fmla="*/ 577 h 795"/>
                <a:gd name="T32" fmla="*/ 146 w 758"/>
                <a:gd name="T33" fmla="*/ 622 h 795"/>
                <a:gd name="T34" fmla="*/ 152 w 758"/>
                <a:gd name="T35" fmla="*/ 659 h 795"/>
                <a:gd name="T36" fmla="*/ 187 w 758"/>
                <a:gd name="T37" fmla="*/ 738 h 795"/>
                <a:gd name="T38" fmla="*/ 214 w 758"/>
                <a:gd name="T39" fmla="*/ 782 h 795"/>
                <a:gd name="T40" fmla="*/ 230 w 758"/>
                <a:gd name="T41" fmla="*/ 794 h 795"/>
                <a:gd name="T42" fmla="*/ 251 w 758"/>
                <a:gd name="T43" fmla="*/ 790 h 795"/>
                <a:gd name="T44" fmla="*/ 289 w 758"/>
                <a:gd name="T45" fmla="*/ 761 h 795"/>
                <a:gd name="T46" fmla="*/ 324 w 758"/>
                <a:gd name="T47" fmla="*/ 746 h 795"/>
                <a:gd name="T48" fmla="*/ 355 w 758"/>
                <a:gd name="T49" fmla="*/ 748 h 795"/>
                <a:gd name="T50" fmla="*/ 388 w 758"/>
                <a:gd name="T51" fmla="*/ 770 h 795"/>
                <a:gd name="T52" fmla="*/ 418 w 758"/>
                <a:gd name="T53" fmla="*/ 780 h 795"/>
                <a:gd name="T54" fmla="*/ 437 w 758"/>
                <a:gd name="T55" fmla="*/ 758 h 795"/>
                <a:gd name="T56" fmla="*/ 478 w 758"/>
                <a:gd name="T57" fmla="*/ 745 h 795"/>
                <a:gd name="T58" fmla="*/ 525 w 758"/>
                <a:gd name="T59" fmla="*/ 622 h 795"/>
                <a:gd name="T60" fmla="*/ 539 w 758"/>
                <a:gd name="T61" fmla="*/ 600 h 795"/>
                <a:gd name="T62" fmla="*/ 575 w 758"/>
                <a:gd name="T63" fmla="*/ 584 h 795"/>
                <a:gd name="T64" fmla="*/ 665 w 758"/>
                <a:gd name="T65" fmla="*/ 573 h 795"/>
                <a:gd name="T66" fmla="*/ 687 w 758"/>
                <a:gd name="T67" fmla="*/ 579 h 795"/>
                <a:gd name="T68" fmla="*/ 704 w 758"/>
                <a:gd name="T69" fmla="*/ 585 h 795"/>
                <a:gd name="T70" fmla="*/ 744 w 758"/>
                <a:gd name="T71" fmla="*/ 573 h 795"/>
                <a:gd name="T72" fmla="*/ 757 w 758"/>
                <a:gd name="T73" fmla="*/ 541 h 795"/>
                <a:gd name="T74" fmla="*/ 752 w 758"/>
                <a:gd name="T75" fmla="*/ 499 h 795"/>
                <a:gd name="T76" fmla="*/ 726 w 758"/>
                <a:gd name="T77" fmla="*/ 462 h 795"/>
                <a:gd name="T78" fmla="*/ 710 w 758"/>
                <a:gd name="T79" fmla="*/ 435 h 795"/>
                <a:gd name="T80" fmla="*/ 671 w 758"/>
                <a:gd name="T81" fmla="*/ 401 h 795"/>
                <a:gd name="T82" fmla="*/ 633 w 758"/>
                <a:gd name="T83" fmla="*/ 399 h 795"/>
                <a:gd name="T84" fmla="*/ 605 w 758"/>
                <a:gd name="T85" fmla="*/ 378 h 795"/>
                <a:gd name="T86" fmla="*/ 590 w 758"/>
                <a:gd name="T87" fmla="*/ 349 h 795"/>
                <a:gd name="T88" fmla="*/ 585 w 758"/>
                <a:gd name="T89" fmla="*/ 311 h 795"/>
                <a:gd name="T90" fmla="*/ 583 w 758"/>
                <a:gd name="T91" fmla="*/ 269 h 795"/>
                <a:gd name="T92" fmla="*/ 560 w 758"/>
                <a:gd name="T93" fmla="*/ 242 h 795"/>
                <a:gd name="T94" fmla="*/ 503 w 758"/>
                <a:gd name="T95" fmla="*/ 205 h 795"/>
                <a:gd name="T96" fmla="*/ 440 w 758"/>
                <a:gd name="T97" fmla="*/ 178 h 795"/>
                <a:gd name="T98" fmla="*/ 392 w 758"/>
                <a:gd name="T99" fmla="*/ 167 h 795"/>
                <a:gd name="T100" fmla="*/ 359 w 758"/>
                <a:gd name="T101" fmla="*/ 161 h 795"/>
                <a:gd name="T102" fmla="*/ 330 w 758"/>
                <a:gd name="T103" fmla="*/ 145 h 795"/>
                <a:gd name="T104" fmla="*/ 307 w 758"/>
                <a:gd name="T105" fmla="*/ 122 h 795"/>
                <a:gd name="T106" fmla="*/ 292 w 758"/>
                <a:gd name="T107" fmla="*/ 92 h 795"/>
                <a:gd name="T108" fmla="*/ 279 w 758"/>
                <a:gd name="T109" fmla="*/ 19 h 795"/>
                <a:gd name="T110" fmla="*/ 261 w 758"/>
                <a:gd name="T111" fmla="*/ 3 h 795"/>
                <a:gd name="T112" fmla="*/ 227 w 758"/>
                <a:gd name="T113" fmla="*/ 3 h 795"/>
                <a:gd name="T114" fmla="*/ 173 w 758"/>
                <a:gd name="T115" fmla="*/ 30 h 795"/>
                <a:gd name="T116" fmla="*/ 119 w 758"/>
                <a:gd name="T117" fmla="*/ 66 h 795"/>
                <a:gd name="T118" fmla="*/ 0 w 758"/>
                <a:gd name="T119" fmla="*/ 80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58" h="795">
                  <a:moveTo>
                    <a:pt x="0" y="80"/>
                  </a:moveTo>
                  <a:lnTo>
                    <a:pt x="10" y="80"/>
                  </a:lnTo>
                  <a:lnTo>
                    <a:pt x="20" y="80"/>
                  </a:lnTo>
                  <a:lnTo>
                    <a:pt x="26" y="80"/>
                  </a:lnTo>
                  <a:lnTo>
                    <a:pt x="31" y="81"/>
                  </a:lnTo>
                  <a:lnTo>
                    <a:pt x="37" y="83"/>
                  </a:lnTo>
                  <a:lnTo>
                    <a:pt x="43" y="85"/>
                  </a:lnTo>
                  <a:lnTo>
                    <a:pt x="49" y="88"/>
                  </a:lnTo>
                  <a:lnTo>
                    <a:pt x="55" y="92"/>
                  </a:lnTo>
                  <a:lnTo>
                    <a:pt x="61" y="97"/>
                  </a:lnTo>
                  <a:lnTo>
                    <a:pt x="66" y="102"/>
                  </a:lnTo>
                  <a:lnTo>
                    <a:pt x="72" y="108"/>
                  </a:lnTo>
                  <a:lnTo>
                    <a:pt x="77" y="113"/>
                  </a:lnTo>
                  <a:lnTo>
                    <a:pt x="82" y="120"/>
                  </a:lnTo>
                  <a:lnTo>
                    <a:pt x="86" y="127"/>
                  </a:lnTo>
                  <a:lnTo>
                    <a:pt x="88" y="134"/>
                  </a:lnTo>
                  <a:lnTo>
                    <a:pt x="92" y="142"/>
                  </a:lnTo>
                  <a:lnTo>
                    <a:pt x="93" y="152"/>
                  </a:lnTo>
                  <a:lnTo>
                    <a:pt x="94" y="161"/>
                  </a:lnTo>
                  <a:lnTo>
                    <a:pt x="93" y="169"/>
                  </a:lnTo>
                  <a:lnTo>
                    <a:pt x="92" y="175"/>
                  </a:lnTo>
                  <a:lnTo>
                    <a:pt x="89" y="180"/>
                  </a:lnTo>
                  <a:lnTo>
                    <a:pt x="87" y="183"/>
                  </a:lnTo>
                  <a:lnTo>
                    <a:pt x="84" y="186"/>
                  </a:lnTo>
                  <a:lnTo>
                    <a:pt x="82" y="190"/>
                  </a:lnTo>
                  <a:lnTo>
                    <a:pt x="81" y="193"/>
                  </a:lnTo>
                  <a:lnTo>
                    <a:pt x="81" y="197"/>
                  </a:lnTo>
                  <a:lnTo>
                    <a:pt x="81" y="205"/>
                  </a:lnTo>
                  <a:lnTo>
                    <a:pt x="82" y="214"/>
                  </a:lnTo>
                  <a:lnTo>
                    <a:pt x="83" y="221"/>
                  </a:lnTo>
                  <a:lnTo>
                    <a:pt x="84" y="227"/>
                  </a:lnTo>
                  <a:lnTo>
                    <a:pt x="88" y="240"/>
                  </a:lnTo>
                  <a:lnTo>
                    <a:pt x="94" y="252"/>
                  </a:lnTo>
                  <a:lnTo>
                    <a:pt x="97" y="262"/>
                  </a:lnTo>
                  <a:lnTo>
                    <a:pt x="100" y="271"/>
                  </a:lnTo>
                  <a:lnTo>
                    <a:pt x="95" y="278"/>
                  </a:lnTo>
                  <a:lnTo>
                    <a:pt x="92" y="285"/>
                  </a:lnTo>
                  <a:lnTo>
                    <a:pt x="88" y="293"/>
                  </a:lnTo>
                  <a:lnTo>
                    <a:pt x="85" y="300"/>
                  </a:lnTo>
                  <a:lnTo>
                    <a:pt x="83" y="308"/>
                  </a:lnTo>
                  <a:lnTo>
                    <a:pt x="82" y="318"/>
                  </a:lnTo>
                  <a:lnTo>
                    <a:pt x="81" y="328"/>
                  </a:lnTo>
                  <a:lnTo>
                    <a:pt x="81" y="339"/>
                  </a:lnTo>
                  <a:lnTo>
                    <a:pt x="81" y="352"/>
                  </a:lnTo>
                  <a:lnTo>
                    <a:pt x="83" y="363"/>
                  </a:lnTo>
                  <a:lnTo>
                    <a:pt x="85" y="374"/>
                  </a:lnTo>
                  <a:lnTo>
                    <a:pt x="88" y="382"/>
                  </a:lnTo>
                  <a:lnTo>
                    <a:pt x="93" y="390"/>
                  </a:lnTo>
                  <a:lnTo>
                    <a:pt x="97" y="396"/>
                  </a:lnTo>
                  <a:lnTo>
                    <a:pt x="101" y="402"/>
                  </a:lnTo>
                  <a:lnTo>
                    <a:pt x="107" y="407"/>
                  </a:lnTo>
                  <a:lnTo>
                    <a:pt x="99" y="415"/>
                  </a:lnTo>
                  <a:lnTo>
                    <a:pt x="94" y="424"/>
                  </a:lnTo>
                  <a:lnTo>
                    <a:pt x="89" y="433"/>
                  </a:lnTo>
                  <a:lnTo>
                    <a:pt x="85" y="441"/>
                  </a:lnTo>
                  <a:lnTo>
                    <a:pt x="78" y="457"/>
                  </a:lnTo>
                  <a:lnTo>
                    <a:pt x="73" y="474"/>
                  </a:lnTo>
                  <a:lnTo>
                    <a:pt x="88" y="493"/>
                  </a:lnTo>
                  <a:lnTo>
                    <a:pt x="101" y="511"/>
                  </a:lnTo>
                  <a:lnTo>
                    <a:pt x="113" y="529"/>
                  </a:lnTo>
                  <a:lnTo>
                    <a:pt x="124" y="548"/>
                  </a:lnTo>
                  <a:lnTo>
                    <a:pt x="130" y="558"/>
                  </a:lnTo>
                  <a:lnTo>
                    <a:pt x="134" y="567"/>
                  </a:lnTo>
                  <a:lnTo>
                    <a:pt x="138" y="577"/>
                  </a:lnTo>
                  <a:lnTo>
                    <a:pt x="141" y="588"/>
                  </a:lnTo>
                  <a:lnTo>
                    <a:pt x="143" y="599"/>
                  </a:lnTo>
                  <a:lnTo>
                    <a:pt x="145" y="611"/>
                  </a:lnTo>
                  <a:lnTo>
                    <a:pt x="146" y="622"/>
                  </a:lnTo>
                  <a:lnTo>
                    <a:pt x="146" y="634"/>
                  </a:lnTo>
                  <a:lnTo>
                    <a:pt x="148" y="640"/>
                  </a:lnTo>
                  <a:lnTo>
                    <a:pt x="149" y="648"/>
                  </a:lnTo>
                  <a:lnTo>
                    <a:pt x="152" y="659"/>
                  </a:lnTo>
                  <a:lnTo>
                    <a:pt x="156" y="670"/>
                  </a:lnTo>
                  <a:lnTo>
                    <a:pt x="166" y="696"/>
                  </a:lnTo>
                  <a:lnTo>
                    <a:pt x="179" y="724"/>
                  </a:lnTo>
                  <a:lnTo>
                    <a:pt x="187" y="738"/>
                  </a:lnTo>
                  <a:lnTo>
                    <a:pt x="194" y="750"/>
                  </a:lnTo>
                  <a:lnTo>
                    <a:pt x="201" y="763"/>
                  </a:lnTo>
                  <a:lnTo>
                    <a:pt x="208" y="774"/>
                  </a:lnTo>
                  <a:lnTo>
                    <a:pt x="214" y="782"/>
                  </a:lnTo>
                  <a:lnTo>
                    <a:pt x="221" y="789"/>
                  </a:lnTo>
                  <a:lnTo>
                    <a:pt x="224" y="792"/>
                  </a:lnTo>
                  <a:lnTo>
                    <a:pt x="228" y="793"/>
                  </a:lnTo>
                  <a:lnTo>
                    <a:pt x="230" y="794"/>
                  </a:lnTo>
                  <a:lnTo>
                    <a:pt x="233" y="795"/>
                  </a:lnTo>
                  <a:lnTo>
                    <a:pt x="239" y="794"/>
                  </a:lnTo>
                  <a:lnTo>
                    <a:pt x="244" y="793"/>
                  </a:lnTo>
                  <a:lnTo>
                    <a:pt x="251" y="790"/>
                  </a:lnTo>
                  <a:lnTo>
                    <a:pt x="256" y="787"/>
                  </a:lnTo>
                  <a:lnTo>
                    <a:pt x="266" y="780"/>
                  </a:lnTo>
                  <a:lnTo>
                    <a:pt x="278" y="771"/>
                  </a:lnTo>
                  <a:lnTo>
                    <a:pt x="289" y="761"/>
                  </a:lnTo>
                  <a:lnTo>
                    <a:pt x="302" y="753"/>
                  </a:lnTo>
                  <a:lnTo>
                    <a:pt x="309" y="750"/>
                  </a:lnTo>
                  <a:lnTo>
                    <a:pt x="317" y="747"/>
                  </a:lnTo>
                  <a:lnTo>
                    <a:pt x="324" y="746"/>
                  </a:lnTo>
                  <a:lnTo>
                    <a:pt x="332" y="745"/>
                  </a:lnTo>
                  <a:lnTo>
                    <a:pt x="341" y="746"/>
                  </a:lnTo>
                  <a:lnTo>
                    <a:pt x="348" y="747"/>
                  </a:lnTo>
                  <a:lnTo>
                    <a:pt x="355" y="748"/>
                  </a:lnTo>
                  <a:lnTo>
                    <a:pt x="361" y="750"/>
                  </a:lnTo>
                  <a:lnTo>
                    <a:pt x="371" y="756"/>
                  </a:lnTo>
                  <a:lnTo>
                    <a:pt x="380" y="763"/>
                  </a:lnTo>
                  <a:lnTo>
                    <a:pt x="388" y="770"/>
                  </a:lnTo>
                  <a:lnTo>
                    <a:pt x="395" y="777"/>
                  </a:lnTo>
                  <a:lnTo>
                    <a:pt x="403" y="783"/>
                  </a:lnTo>
                  <a:lnTo>
                    <a:pt x="412" y="789"/>
                  </a:lnTo>
                  <a:lnTo>
                    <a:pt x="418" y="780"/>
                  </a:lnTo>
                  <a:lnTo>
                    <a:pt x="422" y="773"/>
                  </a:lnTo>
                  <a:lnTo>
                    <a:pt x="427" y="767"/>
                  </a:lnTo>
                  <a:lnTo>
                    <a:pt x="432" y="761"/>
                  </a:lnTo>
                  <a:lnTo>
                    <a:pt x="437" y="758"/>
                  </a:lnTo>
                  <a:lnTo>
                    <a:pt x="443" y="754"/>
                  </a:lnTo>
                  <a:lnTo>
                    <a:pt x="448" y="752"/>
                  </a:lnTo>
                  <a:lnTo>
                    <a:pt x="454" y="750"/>
                  </a:lnTo>
                  <a:lnTo>
                    <a:pt x="478" y="745"/>
                  </a:lnTo>
                  <a:lnTo>
                    <a:pt x="505" y="739"/>
                  </a:lnTo>
                  <a:lnTo>
                    <a:pt x="525" y="647"/>
                  </a:lnTo>
                  <a:lnTo>
                    <a:pt x="525" y="637"/>
                  </a:lnTo>
                  <a:lnTo>
                    <a:pt x="525" y="622"/>
                  </a:lnTo>
                  <a:lnTo>
                    <a:pt x="526" y="616"/>
                  </a:lnTo>
                  <a:lnTo>
                    <a:pt x="529" y="610"/>
                  </a:lnTo>
                  <a:lnTo>
                    <a:pt x="533" y="604"/>
                  </a:lnTo>
                  <a:lnTo>
                    <a:pt x="539" y="600"/>
                  </a:lnTo>
                  <a:lnTo>
                    <a:pt x="547" y="594"/>
                  </a:lnTo>
                  <a:lnTo>
                    <a:pt x="555" y="590"/>
                  </a:lnTo>
                  <a:lnTo>
                    <a:pt x="565" y="587"/>
                  </a:lnTo>
                  <a:lnTo>
                    <a:pt x="575" y="584"/>
                  </a:lnTo>
                  <a:lnTo>
                    <a:pt x="597" y="579"/>
                  </a:lnTo>
                  <a:lnTo>
                    <a:pt x="621" y="575"/>
                  </a:lnTo>
                  <a:lnTo>
                    <a:pt x="644" y="574"/>
                  </a:lnTo>
                  <a:lnTo>
                    <a:pt x="665" y="573"/>
                  </a:lnTo>
                  <a:lnTo>
                    <a:pt x="671" y="573"/>
                  </a:lnTo>
                  <a:lnTo>
                    <a:pt x="678" y="575"/>
                  </a:lnTo>
                  <a:lnTo>
                    <a:pt x="682" y="577"/>
                  </a:lnTo>
                  <a:lnTo>
                    <a:pt x="687" y="579"/>
                  </a:lnTo>
                  <a:lnTo>
                    <a:pt x="691" y="581"/>
                  </a:lnTo>
                  <a:lnTo>
                    <a:pt x="695" y="583"/>
                  </a:lnTo>
                  <a:lnTo>
                    <a:pt x="700" y="585"/>
                  </a:lnTo>
                  <a:lnTo>
                    <a:pt x="704" y="585"/>
                  </a:lnTo>
                  <a:lnTo>
                    <a:pt x="738" y="598"/>
                  </a:lnTo>
                  <a:lnTo>
                    <a:pt x="738" y="589"/>
                  </a:lnTo>
                  <a:lnTo>
                    <a:pt x="740" y="581"/>
                  </a:lnTo>
                  <a:lnTo>
                    <a:pt x="744" y="573"/>
                  </a:lnTo>
                  <a:lnTo>
                    <a:pt x="748" y="566"/>
                  </a:lnTo>
                  <a:lnTo>
                    <a:pt x="751" y="559"/>
                  </a:lnTo>
                  <a:lnTo>
                    <a:pt x="755" y="550"/>
                  </a:lnTo>
                  <a:lnTo>
                    <a:pt x="757" y="541"/>
                  </a:lnTo>
                  <a:lnTo>
                    <a:pt x="758" y="530"/>
                  </a:lnTo>
                  <a:lnTo>
                    <a:pt x="757" y="518"/>
                  </a:lnTo>
                  <a:lnTo>
                    <a:pt x="756" y="508"/>
                  </a:lnTo>
                  <a:lnTo>
                    <a:pt x="752" y="499"/>
                  </a:lnTo>
                  <a:lnTo>
                    <a:pt x="749" y="492"/>
                  </a:lnTo>
                  <a:lnTo>
                    <a:pt x="740" y="478"/>
                  </a:lnTo>
                  <a:lnTo>
                    <a:pt x="731" y="467"/>
                  </a:lnTo>
                  <a:lnTo>
                    <a:pt x="726" y="462"/>
                  </a:lnTo>
                  <a:lnTo>
                    <a:pt x="722" y="456"/>
                  </a:lnTo>
                  <a:lnTo>
                    <a:pt x="716" y="450"/>
                  </a:lnTo>
                  <a:lnTo>
                    <a:pt x="713" y="443"/>
                  </a:lnTo>
                  <a:lnTo>
                    <a:pt x="710" y="435"/>
                  </a:lnTo>
                  <a:lnTo>
                    <a:pt x="706" y="424"/>
                  </a:lnTo>
                  <a:lnTo>
                    <a:pt x="705" y="413"/>
                  </a:lnTo>
                  <a:lnTo>
                    <a:pt x="704" y="401"/>
                  </a:lnTo>
                  <a:lnTo>
                    <a:pt x="671" y="401"/>
                  </a:lnTo>
                  <a:lnTo>
                    <a:pt x="660" y="403"/>
                  </a:lnTo>
                  <a:lnTo>
                    <a:pt x="650" y="403"/>
                  </a:lnTo>
                  <a:lnTo>
                    <a:pt x="641" y="402"/>
                  </a:lnTo>
                  <a:lnTo>
                    <a:pt x="633" y="399"/>
                  </a:lnTo>
                  <a:lnTo>
                    <a:pt x="625" y="395"/>
                  </a:lnTo>
                  <a:lnTo>
                    <a:pt x="617" y="390"/>
                  </a:lnTo>
                  <a:lnTo>
                    <a:pt x="611" y="384"/>
                  </a:lnTo>
                  <a:lnTo>
                    <a:pt x="605" y="378"/>
                  </a:lnTo>
                  <a:lnTo>
                    <a:pt x="601" y="370"/>
                  </a:lnTo>
                  <a:lnTo>
                    <a:pt x="597" y="363"/>
                  </a:lnTo>
                  <a:lnTo>
                    <a:pt x="593" y="356"/>
                  </a:lnTo>
                  <a:lnTo>
                    <a:pt x="590" y="349"/>
                  </a:lnTo>
                  <a:lnTo>
                    <a:pt x="586" y="336"/>
                  </a:lnTo>
                  <a:lnTo>
                    <a:pt x="585" y="327"/>
                  </a:lnTo>
                  <a:lnTo>
                    <a:pt x="585" y="321"/>
                  </a:lnTo>
                  <a:lnTo>
                    <a:pt x="585" y="311"/>
                  </a:lnTo>
                  <a:lnTo>
                    <a:pt x="585" y="297"/>
                  </a:lnTo>
                  <a:lnTo>
                    <a:pt x="585" y="278"/>
                  </a:lnTo>
                  <a:lnTo>
                    <a:pt x="585" y="274"/>
                  </a:lnTo>
                  <a:lnTo>
                    <a:pt x="583" y="269"/>
                  </a:lnTo>
                  <a:lnTo>
                    <a:pt x="581" y="265"/>
                  </a:lnTo>
                  <a:lnTo>
                    <a:pt x="578" y="260"/>
                  </a:lnTo>
                  <a:lnTo>
                    <a:pt x="570" y="251"/>
                  </a:lnTo>
                  <a:lnTo>
                    <a:pt x="560" y="242"/>
                  </a:lnTo>
                  <a:lnTo>
                    <a:pt x="548" y="233"/>
                  </a:lnTo>
                  <a:lnTo>
                    <a:pt x="534" y="223"/>
                  </a:lnTo>
                  <a:lnTo>
                    <a:pt x="520" y="215"/>
                  </a:lnTo>
                  <a:lnTo>
                    <a:pt x="503" y="205"/>
                  </a:lnTo>
                  <a:lnTo>
                    <a:pt x="487" y="197"/>
                  </a:lnTo>
                  <a:lnTo>
                    <a:pt x="470" y="190"/>
                  </a:lnTo>
                  <a:lnTo>
                    <a:pt x="455" y="183"/>
                  </a:lnTo>
                  <a:lnTo>
                    <a:pt x="440" y="178"/>
                  </a:lnTo>
                  <a:lnTo>
                    <a:pt x="425" y="173"/>
                  </a:lnTo>
                  <a:lnTo>
                    <a:pt x="412" y="170"/>
                  </a:lnTo>
                  <a:lnTo>
                    <a:pt x="401" y="167"/>
                  </a:lnTo>
                  <a:lnTo>
                    <a:pt x="392" y="167"/>
                  </a:lnTo>
                  <a:lnTo>
                    <a:pt x="384" y="166"/>
                  </a:lnTo>
                  <a:lnTo>
                    <a:pt x="375" y="165"/>
                  </a:lnTo>
                  <a:lnTo>
                    <a:pt x="367" y="164"/>
                  </a:lnTo>
                  <a:lnTo>
                    <a:pt x="359" y="161"/>
                  </a:lnTo>
                  <a:lnTo>
                    <a:pt x="351" y="158"/>
                  </a:lnTo>
                  <a:lnTo>
                    <a:pt x="344" y="155"/>
                  </a:lnTo>
                  <a:lnTo>
                    <a:pt x="336" y="151"/>
                  </a:lnTo>
                  <a:lnTo>
                    <a:pt x="330" y="145"/>
                  </a:lnTo>
                  <a:lnTo>
                    <a:pt x="323" y="140"/>
                  </a:lnTo>
                  <a:lnTo>
                    <a:pt x="318" y="135"/>
                  </a:lnTo>
                  <a:lnTo>
                    <a:pt x="312" y="129"/>
                  </a:lnTo>
                  <a:lnTo>
                    <a:pt x="307" y="122"/>
                  </a:lnTo>
                  <a:lnTo>
                    <a:pt x="302" y="115"/>
                  </a:lnTo>
                  <a:lnTo>
                    <a:pt x="299" y="108"/>
                  </a:lnTo>
                  <a:lnTo>
                    <a:pt x="296" y="101"/>
                  </a:lnTo>
                  <a:lnTo>
                    <a:pt x="292" y="92"/>
                  </a:lnTo>
                  <a:lnTo>
                    <a:pt x="289" y="63"/>
                  </a:lnTo>
                  <a:lnTo>
                    <a:pt x="285" y="32"/>
                  </a:lnTo>
                  <a:lnTo>
                    <a:pt x="283" y="25"/>
                  </a:lnTo>
                  <a:lnTo>
                    <a:pt x="279" y="19"/>
                  </a:lnTo>
                  <a:lnTo>
                    <a:pt x="276" y="14"/>
                  </a:lnTo>
                  <a:lnTo>
                    <a:pt x="272" y="9"/>
                  </a:lnTo>
                  <a:lnTo>
                    <a:pt x="267" y="6"/>
                  </a:lnTo>
                  <a:lnTo>
                    <a:pt x="261" y="3"/>
                  </a:lnTo>
                  <a:lnTo>
                    <a:pt x="254" y="1"/>
                  </a:lnTo>
                  <a:lnTo>
                    <a:pt x="246" y="0"/>
                  </a:lnTo>
                  <a:lnTo>
                    <a:pt x="236" y="1"/>
                  </a:lnTo>
                  <a:lnTo>
                    <a:pt x="227" y="3"/>
                  </a:lnTo>
                  <a:lnTo>
                    <a:pt x="218" y="5"/>
                  </a:lnTo>
                  <a:lnTo>
                    <a:pt x="208" y="9"/>
                  </a:lnTo>
                  <a:lnTo>
                    <a:pt x="190" y="18"/>
                  </a:lnTo>
                  <a:lnTo>
                    <a:pt x="173" y="30"/>
                  </a:lnTo>
                  <a:lnTo>
                    <a:pt x="155" y="43"/>
                  </a:lnTo>
                  <a:lnTo>
                    <a:pt x="138" y="55"/>
                  </a:lnTo>
                  <a:lnTo>
                    <a:pt x="129" y="60"/>
                  </a:lnTo>
                  <a:lnTo>
                    <a:pt x="119" y="66"/>
                  </a:lnTo>
                  <a:lnTo>
                    <a:pt x="110" y="70"/>
                  </a:lnTo>
                  <a:lnTo>
                    <a:pt x="100" y="74"/>
                  </a:lnTo>
                  <a:lnTo>
                    <a:pt x="20" y="80"/>
                  </a:lnTo>
                  <a:lnTo>
                    <a:pt x="0" y="80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184" name="Freeform 163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4596453" y="4082104"/>
              <a:ext cx="119695" cy="215910"/>
            </a:xfrm>
            <a:custGeom>
              <a:avLst/>
              <a:gdLst>
                <a:gd name="T0" fmla="*/ 225 w 273"/>
                <a:gd name="T1" fmla="*/ 140 h 414"/>
                <a:gd name="T2" fmla="*/ 213 w 273"/>
                <a:gd name="T3" fmla="*/ 133 h 414"/>
                <a:gd name="T4" fmla="*/ 201 w 273"/>
                <a:gd name="T5" fmla="*/ 121 h 414"/>
                <a:gd name="T6" fmla="*/ 190 w 273"/>
                <a:gd name="T7" fmla="*/ 105 h 414"/>
                <a:gd name="T8" fmla="*/ 183 w 273"/>
                <a:gd name="T9" fmla="*/ 96 h 414"/>
                <a:gd name="T10" fmla="*/ 176 w 273"/>
                <a:gd name="T11" fmla="*/ 93 h 414"/>
                <a:gd name="T12" fmla="*/ 167 w 273"/>
                <a:gd name="T13" fmla="*/ 94 h 414"/>
                <a:gd name="T14" fmla="*/ 161 w 273"/>
                <a:gd name="T15" fmla="*/ 101 h 414"/>
                <a:gd name="T16" fmla="*/ 153 w 273"/>
                <a:gd name="T17" fmla="*/ 86 h 414"/>
                <a:gd name="T18" fmla="*/ 142 w 273"/>
                <a:gd name="T19" fmla="*/ 54 h 414"/>
                <a:gd name="T20" fmla="*/ 132 w 273"/>
                <a:gd name="T21" fmla="*/ 36 h 414"/>
                <a:gd name="T22" fmla="*/ 123 w 273"/>
                <a:gd name="T23" fmla="*/ 25 h 414"/>
                <a:gd name="T24" fmla="*/ 111 w 273"/>
                <a:gd name="T25" fmla="*/ 14 h 414"/>
                <a:gd name="T26" fmla="*/ 96 w 273"/>
                <a:gd name="T27" fmla="*/ 5 h 414"/>
                <a:gd name="T28" fmla="*/ 80 w 273"/>
                <a:gd name="T29" fmla="*/ 7 h 414"/>
                <a:gd name="T30" fmla="*/ 69 w 273"/>
                <a:gd name="T31" fmla="*/ 19 h 414"/>
                <a:gd name="T32" fmla="*/ 63 w 273"/>
                <a:gd name="T33" fmla="*/ 25 h 414"/>
                <a:gd name="T34" fmla="*/ 57 w 273"/>
                <a:gd name="T35" fmla="*/ 32 h 414"/>
                <a:gd name="T36" fmla="*/ 56 w 273"/>
                <a:gd name="T37" fmla="*/ 42 h 414"/>
                <a:gd name="T38" fmla="*/ 58 w 273"/>
                <a:gd name="T39" fmla="*/ 59 h 414"/>
                <a:gd name="T40" fmla="*/ 52 w 273"/>
                <a:gd name="T41" fmla="*/ 78 h 414"/>
                <a:gd name="T42" fmla="*/ 33 w 273"/>
                <a:gd name="T43" fmla="*/ 90 h 414"/>
                <a:gd name="T44" fmla="*/ 17 w 273"/>
                <a:gd name="T45" fmla="*/ 104 h 414"/>
                <a:gd name="T46" fmla="*/ 4 w 273"/>
                <a:gd name="T47" fmla="*/ 118 h 414"/>
                <a:gd name="T48" fmla="*/ 40 w 273"/>
                <a:gd name="T49" fmla="*/ 198 h 414"/>
                <a:gd name="T50" fmla="*/ 73 w 273"/>
                <a:gd name="T51" fmla="*/ 205 h 414"/>
                <a:gd name="T52" fmla="*/ 84 w 273"/>
                <a:gd name="T53" fmla="*/ 210 h 414"/>
                <a:gd name="T54" fmla="*/ 93 w 273"/>
                <a:gd name="T55" fmla="*/ 218 h 414"/>
                <a:gd name="T56" fmla="*/ 99 w 273"/>
                <a:gd name="T57" fmla="*/ 226 h 414"/>
                <a:gd name="T58" fmla="*/ 103 w 273"/>
                <a:gd name="T59" fmla="*/ 237 h 414"/>
                <a:gd name="T60" fmla="*/ 106 w 273"/>
                <a:gd name="T61" fmla="*/ 265 h 414"/>
                <a:gd name="T62" fmla="*/ 103 w 273"/>
                <a:gd name="T63" fmla="*/ 279 h 414"/>
                <a:gd name="T64" fmla="*/ 96 w 273"/>
                <a:gd name="T65" fmla="*/ 293 h 414"/>
                <a:gd name="T66" fmla="*/ 89 w 273"/>
                <a:gd name="T67" fmla="*/ 307 h 414"/>
                <a:gd name="T68" fmla="*/ 86 w 273"/>
                <a:gd name="T69" fmla="*/ 321 h 414"/>
                <a:gd name="T70" fmla="*/ 91 w 273"/>
                <a:gd name="T71" fmla="*/ 343 h 414"/>
                <a:gd name="T72" fmla="*/ 107 w 273"/>
                <a:gd name="T73" fmla="*/ 374 h 414"/>
                <a:gd name="T74" fmla="*/ 117 w 273"/>
                <a:gd name="T75" fmla="*/ 389 h 414"/>
                <a:gd name="T76" fmla="*/ 129 w 273"/>
                <a:gd name="T77" fmla="*/ 401 h 414"/>
                <a:gd name="T78" fmla="*/ 141 w 273"/>
                <a:gd name="T79" fmla="*/ 411 h 414"/>
                <a:gd name="T80" fmla="*/ 153 w 273"/>
                <a:gd name="T81" fmla="*/ 414 h 414"/>
                <a:gd name="T82" fmla="*/ 215 w 273"/>
                <a:gd name="T83" fmla="*/ 398 h 414"/>
                <a:gd name="T84" fmla="*/ 255 w 273"/>
                <a:gd name="T85" fmla="*/ 385 h 414"/>
                <a:gd name="T86" fmla="*/ 267 w 273"/>
                <a:gd name="T87" fmla="*/ 377 h 414"/>
                <a:gd name="T88" fmla="*/ 273 w 273"/>
                <a:gd name="T89" fmla="*/ 370 h 414"/>
                <a:gd name="T90" fmla="*/ 269 w 273"/>
                <a:gd name="T91" fmla="*/ 352 h 414"/>
                <a:gd name="T92" fmla="*/ 263 w 273"/>
                <a:gd name="T93" fmla="*/ 335 h 414"/>
                <a:gd name="T94" fmla="*/ 242 w 273"/>
                <a:gd name="T95" fmla="*/ 309 h 414"/>
                <a:gd name="T96" fmla="*/ 222 w 273"/>
                <a:gd name="T97" fmla="*/ 282 h 414"/>
                <a:gd name="T98" fmla="*/ 215 w 273"/>
                <a:gd name="T99" fmla="*/ 266 h 414"/>
                <a:gd name="T100" fmla="*/ 212 w 273"/>
                <a:gd name="T101" fmla="*/ 247 h 414"/>
                <a:gd name="T102" fmla="*/ 215 w 273"/>
                <a:gd name="T103" fmla="*/ 215 h 414"/>
                <a:gd name="T104" fmla="*/ 222 w 273"/>
                <a:gd name="T105" fmla="*/ 190 h 414"/>
                <a:gd name="T106" fmla="*/ 230 w 273"/>
                <a:gd name="T107" fmla="*/ 167 h 414"/>
                <a:gd name="T108" fmla="*/ 232 w 273"/>
                <a:gd name="T109" fmla="*/ 142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3" h="414">
                  <a:moveTo>
                    <a:pt x="232" y="142"/>
                  </a:moveTo>
                  <a:lnTo>
                    <a:pt x="225" y="140"/>
                  </a:lnTo>
                  <a:lnTo>
                    <a:pt x="219" y="137"/>
                  </a:lnTo>
                  <a:lnTo>
                    <a:pt x="213" y="133"/>
                  </a:lnTo>
                  <a:lnTo>
                    <a:pt x="209" y="130"/>
                  </a:lnTo>
                  <a:lnTo>
                    <a:pt x="201" y="121"/>
                  </a:lnTo>
                  <a:lnTo>
                    <a:pt x="195" y="113"/>
                  </a:lnTo>
                  <a:lnTo>
                    <a:pt x="190" y="105"/>
                  </a:lnTo>
                  <a:lnTo>
                    <a:pt x="185" y="99"/>
                  </a:lnTo>
                  <a:lnTo>
                    <a:pt x="183" y="96"/>
                  </a:lnTo>
                  <a:lnTo>
                    <a:pt x="179" y="95"/>
                  </a:lnTo>
                  <a:lnTo>
                    <a:pt x="176" y="93"/>
                  </a:lnTo>
                  <a:lnTo>
                    <a:pt x="173" y="93"/>
                  </a:lnTo>
                  <a:lnTo>
                    <a:pt x="167" y="94"/>
                  </a:lnTo>
                  <a:lnTo>
                    <a:pt x="164" y="97"/>
                  </a:lnTo>
                  <a:lnTo>
                    <a:pt x="161" y="101"/>
                  </a:lnTo>
                  <a:lnTo>
                    <a:pt x="159" y="105"/>
                  </a:lnTo>
                  <a:lnTo>
                    <a:pt x="153" y="86"/>
                  </a:lnTo>
                  <a:lnTo>
                    <a:pt x="147" y="68"/>
                  </a:lnTo>
                  <a:lnTo>
                    <a:pt x="142" y="54"/>
                  </a:lnTo>
                  <a:lnTo>
                    <a:pt x="135" y="41"/>
                  </a:lnTo>
                  <a:lnTo>
                    <a:pt x="132" y="36"/>
                  </a:lnTo>
                  <a:lnTo>
                    <a:pt x="128" y="30"/>
                  </a:lnTo>
                  <a:lnTo>
                    <a:pt x="123" y="25"/>
                  </a:lnTo>
                  <a:lnTo>
                    <a:pt x="118" y="20"/>
                  </a:lnTo>
                  <a:lnTo>
                    <a:pt x="111" y="14"/>
                  </a:lnTo>
                  <a:lnTo>
                    <a:pt x="103" y="9"/>
                  </a:lnTo>
                  <a:lnTo>
                    <a:pt x="96" y="5"/>
                  </a:lnTo>
                  <a:lnTo>
                    <a:pt x="86" y="0"/>
                  </a:lnTo>
                  <a:lnTo>
                    <a:pt x="80" y="7"/>
                  </a:lnTo>
                  <a:lnTo>
                    <a:pt x="73" y="15"/>
                  </a:lnTo>
                  <a:lnTo>
                    <a:pt x="69" y="19"/>
                  </a:lnTo>
                  <a:lnTo>
                    <a:pt x="66" y="23"/>
                  </a:lnTo>
                  <a:lnTo>
                    <a:pt x="63" y="25"/>
                  </a:lnTo>
                  <a:lnTo>
                    <a:pt x="60" y="25"/>
                  </a:lnTo>
                  <a:lnTo>
                    <a:pt x="57" y="32"/>
                  </a:lnTo>
                  <a:lnTo>
                    <a:pt x="57" y="37"/>
                  </a:lnTo>
                  <a:lnTo>
                    <a:pt x="56" y="42"/>
                  </a:lnTo>
                  <a:lnTo>
                    <a:pt x="57" y="47"/>
                  </a:lnTo>
                  <a:lnTo>
                    <a:pt x="58" y="59"/>
                  </a:lnTo>
                  <a:lnTo>
                    <a:pt x="60" y="75"/>
                  </a:lnTo>
                  <a:lnTo>
                    <a:pt x="52" y="78"/>
                  </a:lnTo>
                  <a:lnTo>
                    <a:pt x="43" y="83"/>
                  </a:lnTo>
                  <a:lnTo>
                    <a:pt x="33" y="90"/>
                  </a:lnTo>
                  <a:lnTo>
                    <a:pt x="24" y="97"/>
                  </a:lnTo>
                  <a:lnTo>
                    <a:pt x="17" y="104"/>
                  </a:lnTo>
                  <a:lnTo>
                    <a:pt x="9" y="111"/>
                  </a:lnTo>
                  <a:lnTo>
                    <a:pt x="4" y="118"/>
                  </a:lnTo>
                  <a:lnTo>
                    <a:pt x="0" y="123"/>
                  </a:lnTo>
                  <a:lnTo>
                    <a:pt x="40" y="198"/>
                  </a:lnTo>
                  <a:lnTo>
                    <a:pt x="57" y="201"/>
                  </a:lnTo>
                  <a:lnTo>
                    <a:pt x="73" y="205"/>
                  </a:lnTo>
                  <a:lnTo>
                    <a:pt x="78" y="207"/>
                  </a:lnTo>
                  <a:lnTo>
                    <a:pt x="84" y="210"/>
                  </a:lnTo>
                  <a:lnTo>
                    <a:pt x="89" y="214"/>
                  </a:lnTo>
                  <a:lnTo>
                    <a:pt x="93" y="218"/>
                  </a:lnTo>
                  <a:lnTo>
                    <a:pt x="96" y="222"/>
                  </a:lnTo>
                  <a:lnTo>
                    <a:pt x="99" y="226"/>
                  </a:lnTo>
                  <a:lnTo>
                    <a:pt x="101" y="231"/>
                  </a:lnTo>
                  <a:lnTo>
                    <a:pt x="103" y="237"/>
                  </a:lnTo>
                  <a:lnTo>
                    <a:pt x="106" y="251"/>
                  </a:lnTo>
                  <a:lnTo>
                    <a:pt x="106" y="265"/>
                  </a:lnTo>
                  <a:lnTo>
                    <a:pt x="106" y="272"/>
                  </a:lnTo>
                  <a:lnTo>
                    <a:pt x="103" y="279"/>
                  </a:lnTo>
                  <a:lnTo>
                    <a:pt x="100" y="286"/>
                  </a:lnTo>
                  <a:lnTo>
                    <a:pt x="96" y="293"/>
                  </a:lnTo>
                  <a:lnTo>
                    <a:pt x="93" y="301"/>
                  </a:lnTo>
                  <a:lnTo>
                    <a:pt x="89" y="307"/>
                  </a:lnTo>
                  <a:lnTo>
                    <a:pt x="87" y="314"/>
                  </a:lnTo>
                  <a:lnTo>
                    <a:pt x="86" y="321"/>
                  </a:lnTo>
                  <a:lnTo>
                    <a:pt x="88" y="330"/>
                  </a:lnTo>
                  <a:lnTo>
                    <a:pt x="91" y="343"/>
                  </a:lnTo>
                  <a:lnTo>
                    <a:pt x="98" y="359"/>
                  </a:lnTo>
                  <a:lnTo>
                    <a:pt x="107" y="374"/>
                  </a:lnTo>
                  <a:lnTo>
                    <a:pt x="112" y="382"/>
                  </a:lnTo>
                  <a:lnTo>
                    <a:pt x="117" y="389"/>
                  </a:lnTo>
                  <a:lnTo>
                    <a:pt x="122" y="395"/>
                  </a:lnTo>
                  <a:lnTo>
                    <a:pt x="129" y="401"/>
                  </a:lnTo>
                  <a:lnTo>
                    <a:pt x="134" y="406"/>
                  </a:lnTo>
                  <a:lnTo>
                    <a:pt x="141" y="411"/>
                  </a:lnTo>
                  <a:lnTo>
                    <a:pt x="146" y="413"/>
                  </a:lnTo>
                  <a:lnTo>
                    <a:pt x="153" y="414"/>
                  </a:lnTo>
                  <a:lnTo>
                    <a:pt x="174" y="410"/>
                  </a:lnTo>
                  <a:lnTo>
                    <a:pt x="215" y="398"/>
                  </a:lnTo>
                  <a:lnTo>
                    <a:pt x="236" y="392"/>
                  </a:lnTo>
                  <a:lnTo>
                    <a:pt x="255" y="385"/>
                  </a:lnTo>
                  <a:lnTo>
                    <a:pt x="262" y="381"/>
                  </a:lnTo>
                  <a:lnTo>
                    <a:pt x="267" y="377"/>
                  </a:lnTo>
                  <a:lnTo>
                    <a:pt x="271" y="374"/>
                  </a:lnTo>
                  <a:lnTo>
                    <a:pt x="273" y="370"/>
                  </a:lnTo>
                  <a:lnTo>
                    <a:pt x="271" y="361"/>
                  </a:lnTo>
                  <a:lnTo>
                    <a:pt x="269" y="352"/>
                  </a:lnTo>
                  <a:lnTo>
                    <a:pt x="267" y="343"/>
                  </a:lnTo>
                  <a:lnTo>
                    <a:pt x="263" y="335"/>
                  </a:lnTo>
                  <a:lnTo>
                    <a:pt x="253" y="321"/>
                  </a:lnTo>
                  <a:lnTo>
                    <a:pt x="242" y="309"/>
                  </a:lnTo>
                  <a:lnTo>
                    <a:pt x="231" y="295"/>
                  </a:lnTo>
                  <a:lnTo>
                    <a:pt x="222" y="282"/>
                  </a:lnTo>
                  <a:lnTo>
                    <a:pt x="218" y="274"/>
                  </a:lnTo>
                  <a:lnTo>
                    <a:pt x="215" y="266"/>
                  </a:lnTo>
                  <a:lnTo>
                    <a:pt x="213" y="257"/>
                  </a:lnTo>
                  <a:lnTo>
                    <a:pt x="212" y="247"/>
                  </a:lnTo>
                  <a:lnTo>
                    <a:pt x="213" y="229"/>
                  </a:lnTo>
                  <a:lnTo>
                    <a:pt x="215" y="215"/>
                  </a:lnTo>
                  <a:lnTo>
                    <a:pt x="219" y="202"/>
                  </a:lnTo>
                  <a:lnTo>
                    <a:pt x="222" y="190"/>
                  </a:lnTo>
                  <a:lnTo>
                    <a:pt x="226" y="178"/>
                  </a:lnTo>
                  <a:lnTo>
                    <a:pt x="230" y="167"/>
                  </a:lnTo>
                  <a:lnTo>
                    <a:pt x="232" y="155"/>
                  </a:lnTo>
                  <a:lnTo>
                    <a:pt x="232" y="142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grpSp>
          <p:nvGrpSpPr>
            <p:cNvPr id="1185" name="Group 164"/>
            <p:cNvGrpSpPr>
              <a:grpSpLocks/>
            </p:cNvGrpSpPr>
            <p:nvPr>
              <p:custDataLst>
                <p:tags r:id="rId111"/>
              </p:custDataLst>
            </p:nvPr>
          </p:nvGrpSpPr>
          <p:grpSpPr bwMode="auto">
            <a:xfrm>
              <a:off x="4310694" y="3916802"/>
              <a:ext cx="323850" cy="401637"/>
              <a:chOff x="1486" y="2412"/>
              <a:chExt cx="244" cy="256"/>
            </a:xfrm>
            <a:solidFill>
              <a:srgbClr val="19194D"/>
            </a:solidFill>
          </p:grpSpPr>
          <p:sp>
            <p:nvSpPr>
              <p:cNvPr id="1549" name="Freeform 165"/>
              <p:cNvSpPr>
                <a:spLocks/>
              </p:cNvSpPr>
              <p:nvPr/>
            </p:nvSpPr>
            <p:spPr bwMode="auto">
              <a:xfrm>
                <a:off x="1639" y="2457"/>
                <a:ext cx="18" cy="7"/>
              </a:xfrm>
              <a:custGeom>
                <a:avLst/>
                <a:gdLst>
                  <a:gd name="T0" fmla="*/ 0 w 54"/>
                  <a:gd name="T1" fmla="*/ 0 h 22"/>
                  <a:gd name="T2" fmla="*/ 0 w 54"/>
                  <a:gd name="T3" fmla="*/ 18 h 22"/>
                  <a:gd name="T4" fmla="*/ 6 w 54"/>
                  <a:gd name="T5" fmla="*/ 20 h 22"/>
                  <a:gd name="T6" fmla="*/ 10 w 54"/>
                  <a:gd name="T7" fmla="*/ 21 h 22"/>
                  <a:gd name="T8" fmla="*/ 14 w 54"/>
                  <a:gd name="T9" fmla="*/ 22 h 22"/>
                  <a:gd name="T10" fmla="*/ 20 w 54"/>
                  <a:gd name="T11" fmla="*/ 22 h 22"/>
                  <a:gd name="T12" fmla="*/ 23 w 54"/>
                  <a:gd name="T13" fmla="*/ 22 h 22"/>
                  <a:gd name="T14" fmla="*/ 27 w 54"/>
                  <a:gd name="T15" fmla="*/ 21 h 22"/>
                  <a:gd name="T16" fmla="*/ 31 w 54"/>
                  <a:gd name="T17" fmla="*/ 20 h 22"/>
                  <a:gd name="T18" fmla="*/ 33 w 54"/>
                  <a:gd name="T19" fmla="*/ 18 h 22"/>
                  <a:gd name="T20" fmla="*/ 35 w 54"/>
                  <a:gd name="T21" fmla="*/ 16 h 22"/>
                  <a:gd name="T22" fmla="*/ 41 w 54"/>
                  <a:gd name="T23" fmla="*/ 12 h 22"/>
                  <a:gd name="T24" fmla="*/ 47 w 54"/>
                  <a:gd name="T25" fmla="*/ 8 h 22"/>
                  <a:gd name="T26" fmla="*/ 54 w 54"/>
                  <a:gd name="T27" fmla="*/ 6 h 22"/>
                  <a:gd name="T28" fmla="*/ 36 w 54"/>
                  <a:gd name="T29" fmla="*/ 5 h 22"/>
                  <a:gd name="T30" fmla="*/ 20 w 54"/>
                  <a:gd name="T31" fmla="*/ 3 h 22"/>
                  <a:gd name="T32" fmla="*/ 6 w 54"/>
                  <a:gd name="T33" fmla="*/ 1 h 22"/>
                  <a:gd name="T34" fmla="*/ 0 w 54"/>
                  <a:gd name="T35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4" h="22">
                    <a:moveTo>
                      <a:pt x="0" y="0"/>
                    </a:moveTo>
                    <a:lnTo>
                      <a:pt x="0" y="18"/>
                    </a:lnTo>
                    <a:lnTo>
                      <a:pt x="6" y="20"/>
                    </a:lnTo>
                    <a:lnTo>
                      <a:pt x="10" y="21"/>
                    </a:lnTo>
                    <a:lnTo>
                      <a:pt x="14" y="22"/>
                    </a:lnTo>
                    <a:lnTo>
                      <a:pt x="20" y="22"/>
                    </a:lnTo>
                    <a:lnTo>
                      <a:pt x="23" y="22"/>
                    </a:lnTo>
                    <a:lnTo>
                      <a:pt x="27" y="21"/>
                    </a:lnTo>
                    <a:lnTo>
                      <a:pt x="31" y="20"/>
                    </a:lnTo>
                    <a:lnTo>
                      <a:pt x="33" y="18"/>
                    </a:lnTo>
                    <a:lnTo>
                      <a:pt x="35" y="16"/>
                    </a:lnTo>
                    <a:lnTo>
                      <a:pt x="41" y="12"/>
                    </a:lnTo>
                    <a:lnTo>
                      <a:pt x="47" y="8"/>
                    </a:lnTo>
                    <a:lnTo>
                      <a:pt x="54" y="6"/>
                    </a:lnTo>
                    <a:lnTo>
                      <a:pt x="36" y="5"/>
                    </a:lnTo>
                    <a:lnTo>
                      <a:pt x="20" y="3"/>
                    </a:lnTo>
                    <a:lnTo>
                      <a:pt x="6" y="1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50" name="Freeform 166"/>
              <p:cNvSpPr>
                <a:spLocks/>
              </p:cNvSpPr>
              <p:nvPr/>
            </p:nvSpPr>
            <p:spPr bwMode="auto">
              <a:xfrm>
                <a:off x="1526" y="2412"/>
                <a:ext cx="2" cy="8"/>
              </a:xfrm>
              <a:custGeom>
                <a:avLst/>
                <a:gdLst>
                  <a:gd name="T0" fmla="*/ 6 w 6"/>
                  <a:gd name="T1" fmla="*/ 24 h 24"/>
                  <a:gd name="T2" fmla="*/ 6 w 6"/>
                  <a:gd name="T3" fmla="*/ 0 h 24"/>
                  <a:gd name="T4" fmla="*/ 4 w 6"/>
                  <a:gd name="T5" fmla="*/ 1 h 24"/>
                  <a:gd name="T6" fmla="*/ 1 w 6"/>
                  <a:gd name="T7" fmla="*/ 3 h 24"/>
                  <a:gd name="T8" fmla="*/ 0 w 6"/>
                  <a:gd name="T9" fmla="*/ 7 h 24"/>
                  <a:gd name="T10" fmla="*/ 0 w 6"/>
                  <a:gd name="T11" fmla="*/ 12 h 24"/>
                  <a:gd name="T12" fmla="*/ 0 w 6"/>
                  <a:gd name="T13" fmla="*/ 16 h 24"/>
                  <a:gd name="T14" fmla="*/ 1 w 6"/>
                  <a:gd name="T15" fmla="*/ 20 h 24"/>
                  <a:gd name="T16" fmla="*/ 4 w 6"/>
                  <a:gd name="T17" fmla="*/ 23 h 24"/>
                  <a:gd name="T18" fmla="*/ 6 w 6"/>
                  <a:gd name="T19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24">
                    <a:moveTo>
                      <a:pt x="6" y="24"/>
                    </a:moveTo>
                    <a:lnTo>
                      <a:pt x="6" y="0"/>
                    </a:lnTo>
                    <a:lnTo>
                      <a:pt x="4" y="1"/>
                    </a:lnTo>
                    <a:lnTo>
                      <a:pt x="1" y="3"/>
                    </a:lnTo>
                    <a:lnTo>
                      <a:pt x="0" y="7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1" y="20"/>
                    </a:lnTo>
                    <a:lnTo>
                      <a:pt x="4" y="23"/>
                    </a:lnTo>
                    <a:lnTo>
                      <a:pt x="6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51" name="Freeform 167"/>
              <p:cNvSpPr>
                <a:spLocks/>
              </p:cNvSpPr>
              <p:nvPr/>
            </p:nvSpPr>
            <p:spPr bwMode="auto">
              <a:xfrm>
                <a:off x="1557" y="2438"/>
                <a:ext cx="8" cy="4"/>
              </a:xfrm>
              <a:custGeom>
                <a:avLst/>
                <a:gdLst>
                  <a:gd name="T0" fmla="*/ 0 w 27"/>
                  <a:gd name="T1" fmla="*/ 12 h 12"/>
                  <a:gd name="T2" fmla="*/ 27 w 27"/>
                  <a:gd name="T3" fmla="*/ 12 h 12"/>
                  <a:gd name="T4" fmla="*/ 14 w 27"/>
                  <a:gd name="T5" fmla="*/ 0 h 12"/>
                  <a:gd name="T6" fmla="*/ 0 w 27"/>
                  <a:gd name="T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7" h="12">
                    <a:moveTo>
                      <a:pt x="0" y="12"/>
                    </a:moveTo>
                    <a:lnTo>
                      <a:pt x="27" y="12"/>
                    </a:ln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52" name="Freeform 168"/>
              <p:cNvSpPr>
                <a:spLocks/>
              </p:cNvSpPr>
              <p:nvPr/>
            </p:nvSpPr>
            <p:spPr bwMode="auto">
              <a:xfrm>
                <a:off x="1486" y="2444"/>
                <a:ext cx="244" cy="224"/>
              </a:xfrm>
              <a:custGeom>
                <a:avLst/>
                <a:gdLst>
                  <a:gd name="T0" fmla="*/ 9 w 743"/>
                  <a:gd name="T1" fmla="*/ 208 h 672"/>
                  <a:gd name="T2" fmla="*/ 50 w 743"/>
                  <a:gd name="T3" fmla="*/ 266 h 672"/>
                  <a:gd name="T4" fmla="*/ 121 w 743"/>
                  <a:gd name="T5" fmla="*/ 294 h 672"/>
                  <a:gd name="T6" fmla="*/ 166 w 743"/>
                  <a:gd name="T7" fmla="*/ 316 h 672"/>
                  <a:gd name="T8" fmla="*/ 198 w 743"/>
                  <a:gd name="T9" fmla="*/ 346 h 672"/>
                  <a:gd name="T10" fmla="*/ 296 w 743"/>
                  <a:gd name="T11" fmla="*/ 379 h 672"/>
                  <a:gd name="T12" fmla="*/ 286 w 743"/>
                  <a:gd name="T13" fmla="*/ 420 h 672"/>
                  <a:gd name="T14" fmla="*/ 311 w 743"/>
                  <a:gd name="T15" fmla="*/ 513 h 672"/>
                  <a:gd name="T16" fmla="*/ 303 w 743"/>
                  <a:gd name="T17" fmla="*/ 535 h 672"/>
                  <a:gd name="T18" fmla="*/ 302 w 743"/>
                  <a:gd name="T19" fmla="*/ 566 h 672"/>
                  <a:gd name="T20" fmla="*/ 328 w 743"/>
                  <a:gd name="T21" fmla="*/ 617 h 672"/>
                  <a:gd name="T22" fmla="*/ 371 w 743"/>
                  <a:gd name="T23" fmla="*/ 659 h 672"/>
                  <a:gd name="T24" fmla="*/ 415 w 743"/>
                  <a:gd name="T25" fmla="*/ 671 h 672"/>
                  <a:gd name="T26" fmla="*/ 465 w 743"/>
                  <a:gd name="T27" fmla="*/ 653 h 672"/>
                  <a:gd name="T28" fmla="*/ 507 w 743"/>
                  <a:gd name="T29" fmla="*/ 619 h 672"/>
                  <a:gd name="T30" fmla="*/ 524 w 743"/>
                  <a:gd name="T31" fmla="*/ 586 h 672"/>
                  <a:gd name="T32" fmla="*/ 477 w 743"/>
                  <a:gd name="T33" fmla="*/ 469 h 672"/>
                  <a:gd name="T34" fmla="*/ 577 w 743"/>
                  <a:gd name="T35" fmla="*/ 500 h 672"/>
                  <a:gd name="T36" fmla="*/ 600 w 743"/>
                  <a:gd name="T37" fmla="*/ 477 h 672"/>
                  <a:gd name="T38" fmla="*/ 652 w 743"/>
                  <a:gd name="T39" fmla="*/ 445 h 672"/>
                  <a:gd name="T40" fmla="*/ 669 w 743"/>
                  <a:gd name="T41" fmla="*/ 441 h 672"/>
                  <a:gd name="T42" fmla="*/ 685 w 743"/>
                  <a:gd name="T43" fmla="*/ 435 h 672"/>
                  <a:gd name="T44" fmla="*/ 666 w 743"/>
                  <a:gd name="T45" fmla="*/ 327 h 672"/>
                  <a:gd name="T46" fmla="*/ 709 w 743"/>
                  <a:gd name="T47" fmla="*/ 294 h 672"/>
                  <a:gd name="T48" fmla="*/ 714 w 743"/>
                  <a:gd name="T49" fmla="*/ 253 h 672"/>
                  <a:gd name="T50" fmla="*/ 726 w 743"/>
                  <a:gd name="T51" fmla="*/ 235 h 672"/>
                  <a:gd name="T52" fmla="*/ 728 w 743"/>
                  <a:gd name="T53" fmla="*/ 213 h 672"/>
                  <a:gd name="T54" fmla="*/ 700 w 743"/>
                  <a:gd name="T55" fmla="*/ 196 h 672"/>
                  <a:gd name="T56" fmla="*/ 686 w 743"/>
                  <a:gd name="T57" fmla="*/ 168 h 672"/>
                  <a:gd name="T58" fmla="*/ 670 w 743"/>
                  <a:gd name="T59" fmla="*/ 145 h 672"/>
                  <a:gd name="T60" fmla="*/ 639 w 743"/>
                  <a:gd name="T61" fmla="*/ 152 h 672"/>
                  <a:gd name="T62" fmla="*/ 630 w 743"/>
                  <a:gd name="T63" fmla="*/ 134 h 672"/>
                  <a:gd name="T64" fmla="*/ 602 w 743"/>
                  <a:gd name="T65" fmla="*/ 115 h 672"/>
                  <a:gd name="T66" fmla="*/ 584 w 743"/>
                  <a:gd name="T67" fmla="*/ 97 h 672"/>
                  <a:gd name="T68" fmla="*/ 536 w 743"/>
                  <a:gd name="T69" fmla="*/ 75 h 672"/>
                  <a:gd name="T70" fmla="*/ 490 w 743"/>
                  <a:gd name="T71" fmla="*/ 87 h 672"/>
                  <a:gd name="T72" fmla="*/ 472 w 743"/>
                  <a:gd name="T73" fmla="*/ 101 h 672"/>
                  <a:gd name="T74" fmla="*/ 434 w 743"/>
                  <a:gd name="T75" fmla="*/ 116 h 672"/>
                  <a:gd name="T76" fmla="*/ 418 w 743"/>
                  <a:gd name="T77" fmla="*/ 104 h 672"/>
                  <a:gd name="T78" fmla="*/ 393 w 743"/>
                  <a:gd name="T79" fmla="*/ 102 h 672"/>
                  <a:gd name="T80" fmla="*/ 359 w 743"/>
                  <a:gd name="T81" fmla="*/ 83 h 672"/>
                  <a:gd name="T82" fmla="*/ 317 w 743"/>
                  <a:gd name="T83" fmla="*/ 85 h 672"/>
                  <a:gd name="T84" fmla="*/ 291 w 743"/>
                  <a:gd name="T85" fmla="*/ 92 h 672"/>
                  <a:gd name="T86" fmla="*/ 252 w 743"/>
                  <a:gd name="T87" fmla="*/ 93 h 672"/>
                  <a:gd name="T88" fmla="*/ 233 w 743"/>
                  <a:gd name="T89" fmla="*/ 52 h 672"/>
                  <a:gd name="T90" fmla="*/ 179 w 743"/>
                  <a:gd name="T91" fmla="*/ 22 h 672"/>
                  <a:gd name="T92" fmla="*/ 148 w 743"/>
                  <a:gd name="T93" fmla="*/ 10 h 672"/>
                  <a:gd name="T94" fmla="*/ 136 w 743"/>
                  <a:gd name="T95" fmla="*/ 46 h 672"/>
                  <a:gd name="T96" fmla="*/ 119 w 743"/>
                  <a:gd name="T97" fmla="*/ 69 h 672"/>
                  <a:gd name="T98" fmla="*/ 119 w 743"/>
                  <a:gd name="T99" fmla="*/ 137 h 672"/>
                  <a:gd name="T100" fmla="*/ 104 w 743"/>
                  <a:gd name="T101" fmla="*/ 194 h 672"/>
                  <a:gd name="T102" fmla="*/ 87 w 743"/>
                  <a:gd name="T103" fmla="*/ 190 h 672"/>
                  <a:gd name="T104" fmla="*/ 70 w 743"/>
                  <a:gd name="T105" fmla="*/ 184 h 672"/>
                  <a:gd name="T106" fmla="*/ 57 w 743"/>
                  <a:gd name="T107" fmla="*/ 169 h 672"/>
                  <a:gd name="T108" fmla="*/ 52 w 743"/>
                  <a:gd name="T109" fmla="*/ 119 h 672"/>
                  <a:gd name="T110" fmla="*/ 73 w 743"/>
                  <a:gd name="T111" fmla="*/ 61 h 672"/>
                  <a:gd name="T112" fmla="*/ 97 w 743"/>
                  <a:gd name="T113" fmla="*/ 15 h 672"/>
                  <a:gd name="T114" fmla="*/ 52 w 743"/>
                  <a:gd name="T115" fmla="*/ 30 h 672"/>
                  <a:gd name="T116" fmla="*/ 16 w 743"/>
                  <a:gd name="T117" fmla="*/ 70 h 672"/>
                  <a:gd name="T118" fmla="*/ 1 w 743"/>
                  <a:gd name="T119" fmla="*/ 120 h 6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3" h="672">
                    <a:moveTo>
                      <a:pt x="0" y="143"/>
                    </a:moveTo>
                    <a:lnTo>
                      <a:pt x="0" y="160"/>
                    </a:lnTo>
                    <a:lnTo>
                      <a:pt x="2" y="177"/>
                    </a:lnTo>
                    <a:lnTo>
                      <a:pt x="5" y="194"/>
                    </a:lnTo>
                    <a:lnTo>
                      <a:pt x="9" y="208"/>
                    </a:lnTo>
                    <a:lnTo>
                      <a:pt x="15" y="222"/>
                    </a:lnTo>
                    <a:lnTo>
                      <a:pt x="22" y="235"/>
                    </a:lnTo>
                    <a:lnTo>
                      <a:pt x="29" y="246"/>
                    </a:lnTo>
                    <a:lnTo>
                      <a:pt x="39" y="257"/>
                    </a:lnTo>
                    <a:lnTo>
                      <a:pt x="50" y="266"/>
                    </a:lnTo>
                    <a:lnTo>
                      <a:pt x="61" y="274"/>
                    </a:lnTo>
                    <a:lnTo>
                      <a:pt x="74" y="280"/>
                    </a:lnTo>
                    <a:lnTo>
                      <a:pt x="89" y="286"/>
                    </a:lnTo>
                    <a:lnTo>
                      <a:pt x="104" y="291"/>
                    </a:lnTo>
                    <a:lnTo>
                      <a:pt x="121" y="294"/>
                    </a:lnTo>
                    <a:lnTo>
                      <a:pt x="139" y="296"/>
                    </a:lnTo>
                    <a:lnTo>
                      <a:pt x="159" y="297"/>
                    </a:lnTo>
                    <a:lnTo>
                      <a:pt x="160" y="302"/>
                    </a:lnTo>
                    <a:lnTo>
                      <a:pt x="162" y="309"/>
                    </a:lnTo>
                    <a:lnTo>
                      <a:pt x="166" y="316"/>
                    </a:lnTo>
                    <a:lnTo>
                      <a:pt x="171" y="323"/>
                    </a:lnTo>
                    <a:lnTo>
                      <a:pt x="177" y="331"/>
                    </a:lnTo>
                    <a:lnTo>
                      <a:pt x="184" y="337"/>
                    </a:lnTo>
                    <a:lnTo>
                      <a:pt x="191" y="342"/>
                    </a:lnTo>
                    <a:lnTo>
                      <a:pt x="198" y="346"/>
                    </a:lnTo>
                    <a:lnTo>
                      <a:pt x="311" y="346"/>
                    </a:lnTo>
                    <a:lnTo>
                      <a:pt x="308" y="357"/>
                    </a:lnTo>
                    <a:lnTo>
                      <a:pt x="305" y="365"/>
                    </a:lnTo>
                    <a:lnTo>
                      <a:pt x="300" y="372"/>
                    </a:lnTo>
                    <a:lnTo>
                      <a:pt x="296" y="379"/>
                    </a:lnTo>
                    <a:lnTo>
                      <a:pt x="292" y="385"/>
                    </a:lnTo>
                    <a:lnTo>
                      <a:pt x="288" y="391"/>
                    </a:lnTo>
                    <a:lnTo>
                      <a:pt x="286" y="399"/>
                    </a:lnTo>
                    <a:lnTo>
                      <a:pt x="285" y="408"/>
                    </a:lnTo>
                    <a:lnTo>
                      <a:pt x="286" y="420"/>
                    </a:lnTo>
                    <a:lnTo>
                      <a:pt x="289" y="435"/>
                    </a:lnTo>
                    <a:lnTo>
                      <a:pt x="293" y="451"/>
                    </a:lnTo>
                    <a:lnTo>
                      <a:pt x="298" y="467"/>
                    </a:lnTo>
                    <a:lnTo>
                      <a:pt x="307" y="495"/>
                    </a:lnTo>
                    <a:lnTo>
                      <a:pt x="311" y="513"/>
                    </a:lnTo>
                    <a:lnTo>
                      <a:pt x="310" y="517"/>
                    </a:lnTo>
                    <a:lnTo>
                      <a:pt x="309" y="522"/>
                    </a:lnTo>
                    <a:lnTo>
                      <a:pt x="307" y="526"/>
                    </a:lnTo>
                    <a:lnTo>
                      <a:pt x="305" y="531"/>
                    </a:lnTo>
                    <a:lnTo>
                      <a:pt x="303" y="535"/>
                    </a:lnTo>
                    <a:lnTo>
                      <a:pt x="300" y="540"/>
                    </a:lnTo>
                    <a:lnTo>
                      <a:pt x="298" y="544"/>
                    </a:lnTo>
                    <a:lnTo>
                      <a:pt x="298" y="549"/>
                    </a:lnTo>
                    <a:lnTo>
                      <a:pt x="299" y="557"/>
                    </a:lnTo>
                    <a:lnTo>
                      <a:pt x="302" y="566"/>
                    </a:lnTo>
                    <a:lnTo>
                      <a:pt x="305" y="577"/>
                    </a:lnTo>
                    <a:lnTo>
                      <a:pt x="309" y="587"/>
                    </a:lnTo>
                    <a:lnTo>
                      <a:pt x="315" y="597"/>
                    </a:lnTo>
                    <a:lnTo>
                      <a:pt x="321" y="607"/>
                    </a:lnTo>
                    <a:lnTo>
                      <a:pt x="328" y="617"/>
                    </a:lnTo>
                    <a:lnTo>
                      <a:pt x="337" y="627"/>
                    </a:lnTo>
                    <a:lnTo>
                      <a:pt x="344" y="637"/>
                    </a:lnTo>
                    <a:lnTo>
                      <a:pt x="353" y="645"/>
                    </a:lnTo>
                    <a:lnTo>
                      <a:pt x="362" y="653"/>
                    </a:lnTo>
                    <a:lnTo>
                      <a:pt x="371" y="659"/>
                    </a:lnTo>
                    <a:lnTo>
                      <a:pt x="379" y="664"/>
                    </a:lnTo>
                    <a:lnTo>
                      <a:pt x="388" y="669"/>
                    </a:lnTo>
                    <a:lnTo>
                      <a:pt x="397" y="671"/>
                    </a:lnTo>
                    <a:lnTo>
                      <a:pt x="405" y="672"/>
                    </a:lnTo>
                    <a:lnTo>
                      <a:pt x="415" y="671"/>
                    </a:lnTo>
                    <a:lnTo>
                      <a:pt x="424" y="670"/>
                    </a:lnTo>
                    <a:lnTo>
                      <a:pt x="435" y="667"/>
                    </a:lnTo>
                    <a:lnTo>
                      <a:pt x="445" y="663"/>
                    </a:lnTo>
                    <a:lnTo>
                      <a:pt x="455" y="658"/>
                    </a:lnTo>
                    <a:lnTo>
                      <a:pt x="465" y="653"/>
                    </a:lnTo>
                    <a:lnTo>
                      <a:pt x="475" y="647"/>
                    </a:lnTo>
                    <a:lnTo>
                      <a:pt x="484" y="641"/>
                    </a:lnTo>
                    <a:lnTo>
                      <a:pt x="493" y="634"/>
                    </a:lnTo>
                    <a:lnTo>
                      <a:pt x="500" y="627"/>
                    </a:lnTo>
                    <a:lnTo>
                      <a:pt x="507" y="619"/>
                    </a:lnTo>
                    <a:lnTo>
                      <a:pt x="512" y="612"/>
                    </a:lnTo>
                    <a:lnTo>
                      <a:pt x="518" y="605"/>
                    </a:lnTo>
                    <a:lnTo>
                      <a:pt x="521" y="599"/>
                    </a:lnTo>
                    <a:lnTo>
                      <a:pt x="523" y="592"/>
                    </a:lnTo>
                    <a:lnTo>
                      <a:pt x="524" y="586"/>
                    </a:lnTo>
                    <a:lnTo>
                      <a:pt x="518" y="574"/>
                    </a:lnTo>
                    <a:lnTo>
                      <a:pt x="504" y="551"/>
                    </a:lnTo>
                    <a:lnTo>
                      <a:pt x="487" y="528"/>
                    </a:lnTo>
                    <a:lnTo>
                      <a:pt x="477" y="513"/>
                    </a:lnTo>
                    <a:lnTo>
                      <a:pt x="477" y="469"/>
                    </a:lnTo>
                    <a:lnTo>
                      <a:pt x="504" y="469"/>
                    </a:lnTo>
                    <a:lnTo>
                      <a:pt x="518" y="476"/>
                    </a:lnTo>
                    <a:lnTo>
                      <a:pt x="541" y="484"/>
                    </a:lnTo>
                    <a:lnTo>
                      <a:pt x="564" y="493"/>
                    </a:lnTo>
                    <a:lnTo>
                      <a:pt x="577" y="500"/>
                    </a:lnTo>
                    <a:lnTo>
                      <a:pt x="578" y="496"/>
                    </a:lnTo>
                    <a:lnTo>
                      <a:pt x="580" y="493"/>
                    </a:lnTo>
                    <a:lnTo>
                      <a:pt x="584" y="489"/>
                    </a:lnTo>
                    <a:lnTo>
                      <a:pt x="589" y="485"/>
                    </a:lnTo>
                    <a:lnTo>
                      <a:pt x="600" y="477"/>
                    </a:lnTo>
                    <a:lnTo>
                      <a:pt x="614" y="469"/>
                    </a:lnTo>
                    <a:lnTo>
                      <a:pt x="629" y="461"/>
                    </a:lnTo>
                    <a:lnTo>
                      <a:pt x="642" y="453"/>
                    </a:lnTo>
                    <a:lnTo>
                      <a:pt x="647" y="449"/>
                    </a:lnTo>
                    <a:lnTo>
                      <a:pt x="652" y="445"/>
                    </a:lnTo>
                    <a:lnTo>
                      <a:pt x="655" y="442"/>
                    </a:lnTo>
                    <a:lnTo>
                      <a:pt x="657" y="438"/>
                    </a:lnTo>
                    <a:lnTo>
                      <a:pt x="662" y="440"/>
                    </a:lnTo>
                    <a:lnTo>
                      <a:pt x="666" y="441"/>
                    </a:lnTo>
                    <a:lnTo>
                      <a:pt x="669" y="441"/>
                    </a:lnTo>
                    <a:lnTo>
                      <a:pt x="674" y="441"/>
                    </a:lnTo>
                    <a:lnTo>
                      <a:pt x="677" y="440"/>
                    </a:lnTo>
                    <a:lnTo>
                      <a:pt x="679" y="439"/>
                    </a:lnTo>
                    <a:lnTo>
                      <a:pt x="681" y="437"/>
                    </a:lnTo>
                    <a:lnTo>
                      <a:pt x="685" y="435"/>
                    </a:lnTo>
                    <a:lnTo>
                      <a:pt x="691" y="424"/>
                    </a:lnTo>
                    <a:lnTo>
                      <a:pt x="697" y="414"/>
                    </a:lnTo>
                    <a:lnTo>
                      <a:pt x="657" y="339"/>
                    </a:lnTo>
                    <a:lnTo>
                      <a:pt x="661" y="334"/>
                    </a:lnTo>
                    <a:lnTo>
                      <a:pt x="666" y="327"/>
                    </a:lnTo>
                    <a:lnTo>
                      <a:pt x="674" y="320"/>
                    </a:lnTo>
                    <a:lnTo>
                      <a:pt x="681" y="313"/>
                    </a:lnTo>
                    <a:lnTo>
                      <a:pt x="690" y="306"/>
                    </a:lnTo>
                    <a:lnTo>
                      <a:pt x="700" y="299"/>
                    </a:lnTo>
                    <a:lnTo>
                      <a:pt x="709" y="294"/>
                    </a:lnTo>
                    <a:lnTo>
                      <a:pt x="717" y="291"/>
                    </a:lnTo>
                    <a:lnTo>
                      <a:pt x="715" y="275"/>
                    </a:lnTo>
                    <a:lnTo>
                      <a:pt x="714" y="263"/>
                    </a:lnTo>
                    <a:lnTo>
                      <a:pt x="713" y="258"/>
                    </a:lnTo>
                    <a:lnTo>
                      <a:pt x="714" y="253"/>
                    </a:lnTo>
                    <a:lnTo>
                      <a:pt x="714" y="248"/>
                    </a:lnTo>
                    <a:lnTo>
                      <a:pt x="717" y="241"/>
                    </a:lnTo>
                    <a:lnTo>
                      <a:pt x="720" y="241"/>
                    </a:lnTo>
                    <a:lnTo>
                      <a:pt x="723" y="239"/>
                    </a:lnTo>
                    <a:lnTo>
                      <a:pt x="726" y="235"/>
                    </a:lnTo>
                    <a:lnTo>
                      <a:pt x="730" y="231"/>
                    </a:lnTo>
                    <a:lnTo>
                      <a:pt x="737" y="223"/>
                    </a:lnTo>
                    <a:lnTo>
                      <a:pt x="743" y="216"/>
                    </a:lnTo>
                    <a:lnTo>
                      <a:pt x="735" y="215"/>
                    </a:lnTo>
                    <a:lnTo>
                      <a:pt x="728" y="213"/>
                    </a:lnTo>
                    <a:lnTo>
                      <a:pt x="721" y="210"/>
                    </a:lnTo>
                    <a:lnTo>
                      <a:pt x="714" y="207"/>
                    </a:lnTo>
                    <a:lnTo>
                      <a:pt x="709" y="204"/>
                    </a:lnTo>
                    <a:lnTo>
                      <a:pt x="703" y="200"/>
                    </a:lnTo>
                    <a:lnTo>
                      <a:pt x="700" y="196"/>
                    </a:lnTo>
                    <a:lnTo>
                      <a:pt x="696" y="191"/>
                    </a:lnTo>
                    <a:lnTo>
                      <a:pt x="692" y="186"/>
                    </a:lnTo>
                    <a:lnTo>
                      <a:pt x="690" y="181"/>
                    </a:lnTo>
                    <a:lnTo>
                      <a:pt x="688" y="174"/>
                    </a:lnTo>
                    <a:lnTo>
                      <a:pt x="686" y="168"/>
                    </a:lnTo>
                    <a:lnTo>
                      <a:pt x="684" y="156"/>
                    </a:lnTo>
                    <a:lnTo>
                      <a:pt x="684" y="143"/>
                    </a:lnTo>
                    <a:lnTo>
                      <a:pt x="679" y="143"/>
                    </a:lnTo>
                    <a:lnTo>
                      <a:pt x="675" y="144"/>
                    </a:lnTo>
                    <a:lnTo>
                      <a:pt x="670" y="145"/>
                    </a:lnTo>
                    <a:lnTo>
                      <a:pt x="667" y="146"/>
                    </a:lnTo>
                    <a:lnTo>
                      <a:pt x="662" y="150"/>
                    </a:lnTo>
                    <a:lnTo>
                      <a:pt x="657" y="155"/>
                    </a:lnTo>
                    <a:lnTo>
                      <a:pt x="646" y="154"/>
                    </a:lnTo>
                    <a:lnTo>
                      <a:pt x="639" y="152"/>
                    </a:lnTo>
                    <a:lnTo>
                      <a:pt x="636" y="150"/>
                    </a:lnTo>
                    <a:lnTo>
                      <a:pt x="634" y="148"/>
                    </a:lnTo>
                    <a:lnTo>
                      <a:pt x="632" y="146"/>
                    </a:lnTo>
                    <a:lnTo>
                      <a:pt x="631" y="144"/>
                    </a:lnTo>
                    <a:lnTo>
                      <a:pt x="630" y="134"/>
                    </a:lnTo>
                    <a:lnTo>
                      <a:pt x="630" y="124"/>
                    </a:lnTo>
                    <a:lnTo>
                      <a:pt x="624" y="124"/>
                    </a:lnTo>
                    <a:lnTo>
                      <a:pt x="618" y="121"/>
                    </a:lnTo>
                    <a:lnTo>
                      <a:pt x="610" y="119"/>
                    </a:lnTo>
                    <a:lnTo>
                      <a:pt x="602" y="115"/>
                    </a:lnTo>
                    <a:lnTo>
                      <a:pt x="595" y="111"/>
                    </a:lnTo>
                    <a:lnTo>
                      <a:pt x="589" y="106"/>
                    </a:lnTo>
                    <a:lnTo>
                      <a:pt x="587" y="103"/>
                    </a:lnTo>
                    <a:lnTo>
                      <a:pt x="585" y="100"/>
                    </a:lnTo>
                    <a:lnTo>
                      <a:pt x="584" y="97"/>
                    </a:lnTo>
                    <a:lnTo>
                      <a:pt x="584" y="93"/>
                    </a:lnTo>
                    <a:lnTo>
                      <a:pt x="587" y="83"/>
                    </a:lnTo>
                    <a:lnTo>
                      <a:pt x="590" y="69"/>
                    </a:lnTo>
                    <a:lnTo>
                      <a:pt x="544" y="69"/>
                    </a:lnTo>
                    <a:lnTo>
                      <a:pt x="536" y="75"/>
                    </a:lnTo>
                    <a:lnTo>
                      <a:pt x="530" y="80"/>
                    </a:lnTo>
                    <a:lnTo>
                      <a:pt x="523" y="83"/>
                    </a:lnTo>
                    <a:lnTo>
                      <a:pt x="518" y="85"/>
                    </a:lnTo>
                    <a:lnTo>
                      <a:pt x="505" y="87"/>
                    </a:lnTo>
                    <a:lnTo>
                      <a:pt x="490" y="87"/>
                    </a:lnTo>
                    <a:lnTo>
                      <a:pt x="485" y="88"/>
                    </a:lnTo>
                    <a:lnTo>
                      <a:pt x="478" y="92"/>
                    </a:lnTo>
                    <a:lnTo>
                      <a:pt x="475" y="94"/>
                    </a:lnTo>
                    <a:lnTo>
                      <a:pt x="473" y="97"/>
                    </a:lnTo>
                    <a:lnTo>
                      <a:pt x="472" y="101"/>
                    </a:lnTo>
                    <a:lnTo>
                      <a:pt x="471" y="105"/>
                    </a:lnTo>
                    <a:lnTo>
                      <a:pt x="457" y="111"/>
                    </a:lnTo>
                    <a:lnTo>
                      <a:pt x="444" y="117"/>
                    </a:lnTo>
                    <a:lnTo>
                      <a:pt x="439" y="117"/>
                    </a:lnTo>
                    <a:lnTo>
                      <a:pt x="434" y="116"/>
                    </a:lnTo>
                    <a:lnTo>
                      <a:pt x="430" y="115"/>
                    </a:lnTo>
                    <a:lnTo>
                      <a:pt x="426" y="113"/>
                    </a:lnTo>
                    <a:lnTo>
                      <a:pt x="422" y="110"/>
                    </a:lnTo>
                    <a:lnTo>
                      <a:pt x="420" y="107"/>
                    </a:lnTo>
                    <a:lnTo>
                      <a:pt x="418" y="104"/>
                    </a:lnTo>
                    <a:lnTo>
                      <a:pt x="418" y="99"/>
                    </a:lnTo>
                    <a:lnTo>
                      <a:pt x="410" y="103"/>
                    </a:lnTo>
                    <a:lnTo>
                      <a:pt x="404" y="104"/>
                    </a:lnTo>
                    <a:lnTo>
                      <a:pt x="398" y="104"/>
                    </a:lnTo>
                    <a:lnTo>
                      <a:pt x="393" y="102"/>
                    </a:lnTo>
                    <a:lnTo>
                      <a:pt x="388" y="98"/>
                    </a:lnTo>
                    <a:lnTo>
                      <a:pt x="384" y="93"/>
                    </a:lnTo>
                    <a:lnTo>
                      <a:pt x="381" y="88"/>
                    </a:lnTo>
                    <a:lnTo>
                      <a:pt x="378" y="81"/>
                    </a:lnTo>
                    <a:lnTo>
                      <a:pt x="359" y="83"/>
                    </a:lnTo>
                    <a:lnTo>
                      <a:pt x="340" y="86"/>
                    </a:lnTo>
                    <a:lnTo>
                      <a:pt x="331" y="86"/>
                    </a:lnTo>
                    <a:lnTo>
                      <a:pt x="323" y="86"/>
                    </a:lnTo>
                    <a:lnTo>
                      <a:pt x="320" y="86"/>
                    </a:lnTo>
                    <a:lnTo>
                      <a:pt x="317" y="85"/>
                    </a:lnTo>
                    <a:lnTo>
                      <a:pt x="314" y="83"/>
                    </a:lnTo>
                    <a:lnTo>
                      <a:pt x="311" y="81"/>
                    </a:lnTo>
                    <a:lnTo>
                      <a:pt x="305" y="86"/>
                    </a:lnTo>
                    <a:lnTo>
                      <a:pt x="298" y="89"/>
                    </a:lnTo>
                    <a:lnTo>
                      <a:pt x="291" y="92"/>
                    </a:lnTo>
                    <a:lnTo>
                      <a:pt x="285" y="93"/>
                    </a:lnTo>
                    <a:lnTo>
                      <a:pt x="275" y="93"/>
                    </a:lnTo>
                    <a:lnTo>
                      <a:pt x="265" y="93"/>
                    </a:lnTo>
                    <a:lnTo>
                      <a:pt x="258" y="93"/>
                    </a:lnTo>
                    <a:lnTo>
                      <a:pt x="252" y="93"/>
                    </a:lnTo>
                    <a:lnTo>
                      <a:pt x="251" y="83"/>
                    </a:lnTo>
                    <a:lnTo>
                      <a:pt x="249" y="73"/>
                    </a:lnTo>
                    <a:lnTo>
                      <a:pt x="244" y="65"/>
                    </a:lnTo>
                    <a:lnTo>
                      <a:pt x="240" y="58"/>
                    </a:lnTo>
                    <a:lnTo>
                      <a:pt x="233" y="52"/>
                    </a:lnTo>
                    <a:lnTo>
                      <a:pt x="227" y="47"/>
                    </a:lnTo>
                    <a:lnTo>
                      <a:pt x="219" y="42"/>
                    </a:lnTo>
                    <a:lnTo>
                      <a:pt x="211" y="38"/>
                    </a:lnTo>
                    <a:lnTo>
                      <a:pt x="195" y="30"/>
                    </a:lnTo>
                    <a:lnTo>
                      <a:pt x="179" y="22"/>
                    </a:lnTo>
                    <a:lnTo>
                      <a:pt x="171" y="18"/>
                    </a:lnTo>
                    <a:lnTo>
                      <a:pt x="164" y="13"/>
                    </a:lnTo>
                    <a:lnTo>
                      <a:pt x="158" y="7"/>
                    </a:lnTo>
                    <a:lnTo>
                      <a:pt x="152" y="0"/>
                    </a:lnTo>
                    <a:lnTo>
                      <a:pt x="148" y="10"/>
                    </a:lnTo>
                    <a:lnTo>
                      <a:pt x="146" y="20"/>
                    </a:lnTo>
                    <a:lnTo>
                      <a:pt x="146" y="31"/>
                    </a:lnTo>
                    <a:lnTo>
                      <a:pt x="146" y="44"/>
                    </a:lnTo>
                    <a:lnTo>
                      <a:pt x="140" y="44"/>
                    </a:lnTo>
                    <a:lnTo>
                      <a:pt x="136" y="46"/>
                    </a:lnTo>
                    <a:lnTo>
                      <a:pt x="131" y="49"/>
                    </a:lnTo>
                    <a:lnTo>
                      <a:pt x="127" y="52"/>
                    </a:lnTo>
                    <a:lnTo>
                      <a:pt x="124" y="57"/>
                    </a:lnTo>
                    <a:lnTo>
                      <a:pt x="121" y="62"/>
                    </a:lnTo>
                    <a:lnTo>
                      <a:pt x="119" y="69"/>
                    </a:lnTo>
                    <a:lnTo>
                      <a:pt x="119" y="75"/>
                    </a:lnTo>
                    <a:lnTo>
                      <a:pt x="119" y="96"/>
                    </a:lnTo>
                    <a:lnTo>
                      <a:pt x="119" y="108"/>
                    </a:lnTo>
                    <a:lnTo>
                      <a:pt x="119" y="118"/>
                    </a:lnTo>
                    <a:lnTo>
                      <a:pt x="119" y="137"/>
                    </a:lnTo>
                    <a:lnTo>
                      <a:pt x="116" y="150"/>
                    </a:lnTo>
                    <a:lnTo>
                      <a:pt x="109" y="169"/>
                    </a:lnTo>
                    <a:lnTo>
                      <a:pt x="107" y="180"/>
                    </a:lnTo>
                    <a:lnTo>
                      <a:pt x="105" y="188"/>
                    </a:lnTo>
                    <a:lnTo>
                      <a:pt x="104" y="194"/>
                    </a:lnTo>
                    <a:lnTo>
                      <a:pt x="105" y="198"/>
                    </a:lnTo>
                    <a:lnTo>
                      <a:pt x="99" y="197"/>
                    </a:lnTo>
                    <a:lnTo>
                      <a:pt x="93" y="194"/>
                    </a:lnTo>
                    <a:lnTo>
                      <a:pt x="90" y="193"/>
                    </a:lnTo>
                    <a:lnTo>
                      <a:pt x="87" y="190"/>
                    </a:lnTo>
                    <a:lnTo>
                      <a:pt x="86" y="188"/>
                    </a:lnTo>
                    <a:lnTo>
                      <a:pt x="85" y="186"/>
                    </a:lnTo>
                    <a:lnTo>
                      <a:pt x="80" y="186"/>
                    </a:lnTo>
                    <a:lnTo>
                      <a:pt x="74" y="185"/>
                    </a:lnTo>
                    <a:lnTo>
                      <a:pt x="70" y="184"/>
                    </a:lnTo>
                    <a:lnTo>
                      <a:pt x="67" y="182"/>
                    </a:lnTo>
                    <a:lnTo>
                      <a:pt x="63" y="179"/>
                    </a:lnTo>
                    <a:lnTo>
                      <a:pt x="60" y="176"/>
                    </a:lnTo>
                    <a:lnTo>
                      <a:pt x="58" y="173"/>
                    </a:lnTo>
                    <a:lnTo>
                      <a:pt x="57" y="169"/>
                    </a:lnTo>
                    <a:lnTo>
                      <a:pt x="54" y="161"/>
                    </a:lnTo>
                    <a:lnTo>
                      <a:pt x="52" y="152"/>
                    </a:lnTo>
                    <a:lnTo>
                      <a:pt x="52" y="142"/>
                    </a:lnTo>
                    <a:lnTo>
                      <a:pt x="52" y="131"/>
                    </a:lnTo>
                    <a:lnTo>
                      <a:pt x="52" y="119"/>
                    </a:lnTo>
                    <a:lnTo>
                      <a:pt x="54" y="109"/>
                    </a:lnTo>
                    <a:lnTo>
                      <a:pt x="56" y="100"/>
                    </a:lnTo>
                    <a:lnTo>
                      <a:pt x="59" y="91"/>
                    </a:lnTo>
                    <a:lnTo>
                      <a:pt x="65" y="76"/>
                    </a:lnTo>
                    <a:lnTo>
                      <a:pt x="73" y="61"/>
                    </a:lnTo>
                    <a:lnTo>
                      <a:pt x="81" y="49"/>
                    </a:lnTo>
                    <a:lnTo>
                      <a:pt x="89" y="36"/>
                    </a:lnTo>
                    <a:lnTo>
                      <a:pt x="92" y="29"/>
                    </a:lnTo>
                    <a:lnTo>
                      <a:pt x="95" y="22"/>
                    </a:lnTo>
                    <a:lnTo>
                      <a:pt x="97" y="15"/>
                    </a:lnTo>
                    <a:lnTo>
                      <a:pt x="98" y="7"/>
                    </a:lnTo>
                    <a:lnTo>
                      <a:pt x="85" y="12"/>
                    </a:lnTo>
                    <a:lnTo>
                      <a:pt x="73" y="18"/>
                    </a:lnTo>
                    <a:lnTo>
                      <a:pt x="62" y="24"/>
                    </a:lnTo>
                    <a:lnTo>
                      <a:pt x="52" y="30"/>
                    </a:lnTo>
                    <a:lnTo>
                      <a:pt x="43" y="37"/>
                    </a:lnTo>
                    <a:lnTo>
                      <a:pt x="35" y="44"/>
                    </a:lnTo>
                    <a:lnTo>
                      <a:pt x="28" y="52"/>
                    </a:lnTo>
                    <a:lnTo>
                      <a:pt x="22" y="60"/>
                    </a:lnTo>
                    <a:lnTo>
                      <a:pt x="16" y="70"/>
                    </a:lnTo>
                    <a:lnTo>
                      <a:pt x="12" y="79"/>
                    </a:lnTo>
                    <a:lnTo>
                      <a:pt x="7" y="89"/>
                    </a:lnTo>
                    <a:lnTo>
                      <a:pt x="4" y="99"/>
                    </a:lnTo>
                    <a:lnTo>
                      <a:pt x="2" y="109"/>
                    </a:lnTo>
                    <a:lnTo>
                      <a:pt x="1" y="120"/>
                    </a:lnTo>
                    <a:lnTo>
                      <a:pt x="0" y="131"/>
                    </a:lnTo>
                    <a:lnTo>
                      <a:pt x="0" y="1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</p:grpSp>
        <p:sp>
          <p:nvSpPr>
            <p:cNvPr id="25727" name="Freeform 169"/>
            <p:cNvSpPr>
              <a:spLocks/>
            </p:cNvSpPr>
            <p:nvPr>
              <p:custDataLst>
                <p:tags r:id="rId112"/>
              </p:custDataLst>
            </p:nvPr>
          </p:nvSpPr>
          <p:spPr bwMode="auto">
            <a:xfrm>
              <a:off x="9331957" y="5456677"/>
              <a:ext cx="31750" cy="11112"/>
            </a:xfrm>
            <a:custGeom>
              <a:avLst/>
              <a:gdLst>
                <a:gd name="T0" fmla="*/ 0 w 79"/>
                <a:gd name="T1" fmla="*/ 2147483647 h 23"/>
                <a:gd name="T2" fmla="*/ 2147483647 w 79"/>
                <a:gd name="T3" fmla="*/ 2147483647 h 23"/>
                <a:gd name="T4" fmla="*/ 2147483647 w 79"/>
                <a:gd name="T5" fmla="*/ 2147483647 h 23"/>
                <a:gd name="T6" fmla="*/ 2147483647 w 79"/>
                <a:gd name="T7" fmla="*/ 2147483647 h 23"/>
                <a:gd name="T8" fmla="*/ 2147483647 w 79"/>
                <a:gd name="T9" fmla="*/ 0 h 23"/>
                <a:gd name="T10" fmla="*/ 2147483647 w 79"/>
                <a:gd name="T11" fmla="*/ 0 h 23"/>
                <a:gd name="T12" fmla="*/ 2147483647 w 79"/>
                <a:gd name="T13" fmla="*/ 2147483647 h 23"/>
                <a:gd name="T14" fmla="*/ 2147483647 w 79"/>
                <a:gd name="T15" fmla="*/ 2147483647 h 23"/>
                <a:gd name="T16" fmla="*/ 2147483647 w 79"/>
                <a:gd name="T17" fmla="*/ 2147483647 h 23"/>
                <a:gd name="T18" fmla="*/ 2147483647 w 79"/>
                <a:gd name="T19" fmla="*/ 2147483647 h 23"/>
                <a:gd name="T20" fmla="*/ 2147483647 w 79"/>
                <a:gd name="T21" fmla="*/ 2147483647 h 23"/>
                <a:gd name="T22" fmla="*/ 2147483647 w 79"/>
                <a:gd name="T23" fmla="*/ 2147483647 h 23"/>
                <a:gd name="T24" fmla="*/ 2147483647 w 79"/>
                <a:gd name="T25" fmla="*/ 2147483647 h 23"/>
                <a:gd name="T26" fmla="*/ 2147483647 w 79"/>
                <a:gd name="T27" fmla="*/ 2147483647 h 23"/>
                <a:gd name="T28" fmla="*/ 2147483647 w 79"/>
                <a:gd name="T29" fmla="*/ 2147483647 h 23"/>
                <a:gd name="T30" fmla="*/ 2147483647 w 79"/>
                <a:gd name="T31" fmla="*/ 2147483647 h 23"/>
                <a:gd name="T32" fmla="*/ 2147483647 w 79"/>
                <a:gd name="T33" fmla="*/ 2147483647 h 23"/>
                <a:gd name="T34" fmla="*/ 2147483647 w 79"/>
                <a:gd name="T35" fmla="*/ 2147483647 h 23"/>
                <a:gd name="T36" fmla="*/ 2147483647 w 79"/>
                <a:gd name="T37" fmla="*/ 2147483647 h 23"/>
                <a:gd name="T38" fmla="*/ 2147483647 w 79"/>
                <a:gd name="T39" fmla="*/ 2147483647 h 23"/>
                <a:gd name="T40" fmla="*/ 2147483647 w 79"/>
                <a:gd name="T41" fmla="*/ 2147483647 h 23"/>
                <a:gd name="T42" fmla="*/ 2147483647 w 79"/>
                <a:gd name="T43" fmla="*/ 2147483647 h 23"/>
                <a:gd name="T44" fmla="*/ 2147483647 w 79"/>
                <a:gd name="T45" fmla="*/ 2147483647 h 23"/>
                <a:gd name="T46" fmla="*/ 2147483647 w 79"/>
                <a:gd name="T47" fmla="*/ 2147483647 h 23"/>
                <a:gd name="T48" fmla="*/ 0 w 79"/>
                <a:gd name="T49" fmla="*/ 2147483647 h 2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23">
                  <a:moveTo>
                    <a:pt x="0" y="23"/>
                  </a:moveTo>
                  <a:lnTo>
                    <a:pt x="22" y="13"/>
                  </a:lnTo>
                  <a:lnTo>
                    <a:pt x="45" y="4"/>
                  </a:lnTo>
                  <a:lnTo>
                    <a:pt x="56" y="1"/>
                  </a:lnTo>
                  <a:lnTo>
                    <a:pt x="65" y="0"/>
                  </a:lnTo>
                  <a:lnTo>
                    <a:pt x="69" y="0"/>
                  </a:lnTo>
                  <a:lnTo>
                    <a:pt x="74" y="1"/>
                  </a:lnTo>
                  <a:lnTo>
                    <a:pt x="77" y="2"/>
                  </a:lnTo>
                  <a:lnTo>
                    <a:pt x="79" y="4"/>
                  </a:lnTo>
                  <a:lnTo>
                    <a:pt x="77" y="8"/>
                  </a:lnTo>
                  <a:lnTo>
                    <a:pt x="75" y="13"/>
                  </a:lnTo>
                  <a:lnTo>
                    <a:pt x="72" y="16"/>
                  </a:lnTo>
                  <a:lnTo>
                    <a:pt x="68" y="19"/>
                  </a:lnTo>
                  <a:lnTo>
                    <a:pt x="64" y="21"/>
                  </a:lnTo>
                  <a:lnTo>
                    <a:pt x="59" y="22"/>
                  </a:lnTo>
                  <a:lnTo>
                    <a:pt x="53" y="23"/>
                  </a:lnTo>
                  <a:lnTo>
                    <a:pt x="46" y="23"/>
                  </a:lnTo>
                  <a:lnTo>
                    <a:pt x="37" y="23"/>
                  </a:lnTo>
                  <a:lnTo>
                    <a:pt x="32" y="21"/>
                  </a:lnTo>
                  <a:lnTo>
                    <a:pt x="26" y="20"/>
                  </a:lnTo>
                  <a:lnTo>
                    <a:pt x="23" y="19"/>
                  </a:lnTo>
                  <a:lnTo>
                    <a:pt x="19" y="18"/>
                  </a:lnTo>
                  <a:lnTo>
                    <a:pt x="14" y="18"/>
                  </a:lnTo>
                  <a:lnTo>
                    <a:pt x="9" y="20"/>
                  </a:lnTo>
                  <a:lnTo>
                    <a:pt x="0" y="2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28" name="Freeform 170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9447844" y="5590027"/>
              <a:ext cx="1588" cy="4762"/>
            </a:xfrm>
            <a:custGeom>
              <a:avLst/>
              <a:gdLst>
                <a:gd name="T0" fmla="*/ 0 w 1588"/>
                <a:gd name="T1" fmla="*/ 0 h 6"/>
                <a:gd name="T2" fmla="*/ 0 w 1588"/>
                <a:gd name="T3" fmla="*/ 2147483647 h 6"/>
                <a:gd name="T4" fmla="*/ 0 w 1588"/>
                <a:gd name="T5" fmla="*/ 0 h 6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588" h="6">
                  <a:moveTo>
                    <a:pt x="0" y="0"/>
                  </a:moveTo>
                  <a:lnTo>
                    <a:pt x="0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29" name="Line 171"/>
            <p:cNvSpPr>
              <a:spLocks noChangeShapeType="1"/>
            </p:cNvSpPr>
            <p:nvPr>
              <p:custDataLst>
                <p:tags r:id="rId114"/>
              </p:custDataLst>
            </p:nvPr>
          </p:nvSpPr>
          <p:spPr bwMode="auto">
            <a:xfrm flipV="1">
              <a:off x="9538332" y="5588439"/>
              <a:ext cx="1587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25730" name="Freeform 172"/>
            <p:cNvSpPr>
              <a:spLocks/>
            </p:cNvSpPr>
            <p:nvPr>
              <p:custDataLst>
                <p:tags r:id="rId115"/>
              </p:custDataLst>
            </p:nvPr>
          </p:nvSpPr>
          <p:spPr bwMode="auto">
            <a:xfrm>
              <a:off x="9538332" y="5588439"/>
              <a:ext cx="3175" cy="15875"/>
            </a:xfrm>
            <a:custGeom>
              <a:avLst/>
              <a:gdLst>
                <a:gd name="T0" fmla="*/ 0 w 5"/>
                <a:gd name="T1" fmla="*/ 0 h 30"/>
                <a:gd name="T2" fmla="*/ 2147483647 w 5"/>
                <a:gd name="T3" fmla="*/ 2147483647 h 30"/>
                <a:gd name="T4" fmla="*/ 2147483647 w 5"/>
                <a:gd name="T5" fmla="*/ 2147483647 h 30"/>
                <a:gd name="T6" fmla="*/ 2147483647 w 5"/>
                <a:gd name="T7" fmla="*/ 2147483647 h 30"/>
                <a:gd name="T8" fmla="*/ 2147483647 w 5"/>
                <a:gd name="T9" fmla="*/ 2147483647 h 30"/>
                <a:gd name="T10" fmla="*/ 2147483647 w 5"/>
                <a:gd name="T11" fmla="*/ 2147483647 h 30"/>
                <a:gd name="T12" fmla="*/ 2147483647 w 5"/>
                <a:gd name="T13" fmla="*/ 2147483647 h 30"/>
                <a:gd name="T14" fmla="*/ 2147483647 w 5"/>
                <a:gd name="T15" fmla="*/ 2147483647 h 30"/>
                <a:gd name="T16" fmla="*/ 0 w 5"/>
                <a:gd name="T17" fmla="*/ 2147483647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30">
                  <a:moveTo>
                    <a:pt x="0" y="0"/>
                  </a:moveTo>
                  <a:lnTo>
                    <a:pt x="2" y="1"/>
                  </a:lnTo>
                  <a:lnTo>
                    <a:pt x="4" y="4"/>
                  </a:lnTo>
                  <a:lnTo>
                    <a:pt x="5" y="8"/>
                  </a:lnTo>
                  <a:lnTo>
                    <a:pt x="5" y="13"/>
                  </a:lnTo>
                  <a:lnTo>
                    <a:pt x="5" y="18"/>
                  </a:lnTo>
                  <a:lnTo>
                    <a:pt x="4" y="23"/>
                  </a:lnTo>
                  <a:lnTo>
                    <a:pt x="2" y="27"/>
                  </a:lnTo>
                  <a:lnTo>
                    <a:pt x="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31" name="Freeform 173"/>
            <p:cNvSpPr>
              <a:spLocks/>
            </p:cNvSpPr>
            <p:nvPr>
              <p:custDataLst>
                <p:tags r:id="rId116"/>
              </p:custDataLst>
            </p:nvPr>
          </p:nvSpPr>
          <p:spPr bwMode="auto">
            <a:xfrm>
              <a:off x="9836782" y="5058214"/>
              <a:ext cx="22225" cy="28575"/>
            </a:xfrm>
            <a:custGeom>
              <a:avLst/>
              <a:gdLst>
                <a:gd name="T0" fmla="*/ 0 w 53"/>
                <a:gd name="T1" fmla="*/ 2147483647 h 55"/>
                <a:gd name="T2" fmla="*/ 2147483647 w 53"/>
                <a:gd name="T3" fmla="*/ 2147483647 h 55"/>
                <a:gd name="T4" fmla="*/ 2147483647 w 53"/>
                <a:gd name="T5" fmla="*/ 2147483647 h 55"/>
                <a:gd name="T6" fmla="*/ 2147483647 w 53"/>
                <a:gd name="T7" fmla="*/ 2147483647 h 55"/>
                <a:gd name="T8" fmla="*/ 2147483647 w 53"/>
                <a:gd name="T9" fmla="*/ 2147483647 h 55"/>
                <a:gd name="T10" fmla="*/ 2147483647 w 53"/>
                <a:gd name="T11" fmla="*/ 2147483647 h 55"/>
                <a:gd name="T12" fmla="*/ 2147483647 w 53"/>
                <a:gd name="T13" fmla="*/ 2147483647 h 55"/>
                <a:gd name="T14" fmla="*/ 2147483647 w 53"/>
                <a:gd name="T15" fmla="*/ 2147483647 h 55"/>
                <a:gd name="T16" fmla="*/ 2147483647 w 53"/>
                <a:gd name="T17" fmla="*/ 2147483647 h 55"/>
                <a:gd name="T18" fmla="*/ 2147483647 w 53"/>
                <a:gd name="T19" fmla="*/ 2147483647 h 55"/>
                <a:gd name="T20" fmla="*/ 2147483647 w 53"/>
                <a:gd name="T21" fmla="*/ 2147483647 h 55"/>
                <a:gd name="T22" fmla="*/ 2147483647 w 53"/>
                <a:gd name="T23" fmla="*/ 2147483647 h 55"/>
                <a:gd name="T24" fmla="*/ 2147483647 w 53"/>
                <a:gd name="T25" fmla="*/ 2147483647 h 55"/>
                <a:gd name="T26" fmla="*/ 2147483647 w 53"/>
                <a:gd name="T27" fmla="*/ 0 h 55"/>
                <a:gd name="T28" fmla="*/ 2147483647 w 53"/>
                <a:gd name="T29" fmla="*/ 2147483647 h 55"/>
                <a:gd name="T30" fmla="*/ 0 w 53"/>
                <a:gd name="T31" fmla="*/ 2147483647 h 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3" h="55">
                  <a:moveTo>
                    <a:pt x="0" y="12"/>
                  </a:moveTo>
                  <a:lnTo>
                    <a:pt x="1" y="17"/>
                  </a:lnTo>
                  <a:lnTo>
                    <a:pt x="5" y="22"/>
                  </a:lnTo>
                  <a:lnTo>
                    <a:pt x="9" y="27"/>
                  </a:lnTo>
                  <a:lnTo>
                    <a:pt x="15" y="33"/>
                  </a:lnTo>
                  <a:lnTo>
                    <a:pt x="26" y="44"/>
                  </a:lnTo>
                  <a:lnTo>
                    <a:pt x="33" y="55"/>
                  </a:lnTo>
                  <a:lnTo>
                    <a:pt x="53" y="55"/>
                  </a:lnTo>
                  <a:lnTo>
                    <a:pt x="40" y="41"/>
                  </a:lnTo>
                  <a:lnTo>
                    <a:pt x="28" y="29"/>
                  </a:lnTo>
                  <a:lnTo>
                    <a:pt x="23" y="23"/>
                  </a:lnTo>
                  <a:lnTo>
                    <a:pt x="19" y="16"/>
                  </a:lnTo>
                  <a:lnTo>
                    <a:pt x="16" y="8"/>
                  </a:lnTo>
                  <a:lnTo>
                    <a:pt x="14" y="0"/>
                  </a:lnTo>
                  <a:lnTo>
                    <a:pt x="7" y="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32" name="Freeform 174"/>
            <p:cNvSpPr>
              <a:spLocks/>
            </p:cNvSpPr>
            <p:nvPr>
              <p:custDataLst>
                <p:tags r:id="rId117"/>
              </p:custDataLst>
            </p:nvPr>
          </p:nvSpPr>
          <p:spPr bwMode="auto">
            <a:xfrm>
              <a:off x="9843132" y="4985189"/>
              <a:ext cx="26987" cy="39688"/>
            </a:xfrm>
            <a:custGeom>
              <a:avLst/>
              <a:gdLst>
                <a:gd name="T0" fmla="*/ 0 w 65"/>
                <a:gd name="T1" fmla="*/ 2147483647 h 75"/>
                <a:gd name="T2" fmla="*/ 2147483647 w 65"/>
                <a:gd name="T3" fmla="*/ 2147483647 h 75"/>
                <a:gd name="T4" fmla="*/ 2147483647 w 65"/>
                <a:gd name="T5" fmla="*/ 2147483647 h 75"/>
                <a:gd name="T6" fmla="*/ 2147483647 w 65"/>
                <a:gd name="T7" fmla="*/ 2147483647 h 75"/>
                <a:gd name="T8" fmla="*/ 2147483647 w 65"/>
                <a:gd name="T9" fmla="*/ 2147483647 h 75"/>
                <a:gd name="T10" fmla="*/ 2147483647 w 65"/>
                <a:gd name="T11" fmla="*/ 2147483647 h 75"/>
                <a:gd name="T12" fmla="*/ 2147483647 w 65"/>
                <a:gd name="T13" fmla="*/ 2147483647 h 75"/>
                <a:gd name="T14" fmla="*/ 2147483647 w 65"/>
                <a:gd name="T15" fmla="*/ 2147483647 h 75"/>
                <a:gd name="T16" fmla="*/ 2147483647 w 65"/>
                <a:gd name="T17" fmla="*/ 2147483647 h 75"/>
                <a:gd name="T18" fmla="*/ 2147483647 w 65"/>
                <a:gd name="T19" fmla="*/ 2147483647 h 75"/>
                <a:gd name="T20" fmla="*/ 2147483647 w 65"/>
                <a:gd name="T21" fmla="*/ 2147483647 h 75"/>
                <a:gd name="T22" fmla="*/ 2147483647 w 65"/>
                <a:gd name="T23" fmla="*/ 2147483647 h 75"/>
                <a:gd name="T24" fmla="*/ 2147483647 w 65"/>
                <a:gd name="T25" fmla="*/ 2147483647 h 75"/>
                <a:gd name="T26" fmla="*/ 2147483647 w 65"/>
                <a:gd name="T27" fmla="*/ 2147483647 h 75"/>
                <a:gd name="T28" fmla="*/ 2147483647 w 65"/>
                <a:gd name="T29" fmla="*/ 2147483647 h 75"/>
                <a:gd name="T30" fmla="*/ 2147483647 w 65"/>
                <a:gd name="T31" fmla="*/ 2147483647 h 75"/>
                <a:gd name="T32" fmla="*/ 2147483647 w 65"/>
                <a:gd name="T33" fmla="*/ 2147483647 h 75"/>
                <a:gd name="T34" fmla="*/ 2147483647 w 65"/>
                <a:gd name="T35" fmla="*/ 2147483647 h 75"/>
                <a:gd name="T36" fmla="*/ 2147483647 w 65"/>
                <a:gd name="T37" fmla="*/ 0 h 75"/>
                <a:gd name="T38" fmla="*/ 2147483647 w 65"/>
                <a:gd name="T39" fmla="*/ 0 h 75"/>
                <a:gd name="T40" fmla="*/ 2147483647 w 65"/>
                <a:gd name="T41" fmla="*/ 0 h 75"/>
                <a:gd name="T42" fmla="*/ 2147483647 w 65"/>
                <a:gd name="T43" fmla="*/ 2147483647 h 75"/>
                <a:gd name="T44" fmla="*/ 2147483647 w 65"/>
                <a:gd name="T45" fmla="*/ 2147483647 h 75"/>
                <a:gd name="T46" fmla="*/ 2147483647 w 65"/>
                <a:gd name="T47" fmla="*/ 2147483647 h 75"/>
                <a:gd name="T48" fmla="*/ 2147483647 w 65"/>
                <a:gd name="T49" fmla="*/ 2147483647 h 75"/>
                <a:gd name="T50" fmla="*/ 2147483647 w 65"/>
                <a:gd name="T51" fmla="*/ 2147483647 h 75"/>
                <a:gd name="T52" fmla="*/ 2147483647 w 65"/>
                <a:gd name="T53" fmla="*/ 2147483647 h 7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65" h="75">
                  <a:moveTo>
                    <a:pt x="0" y="32"/>
                  </a:moveTo>
                  <a:lnTo>
                    <a:pt x="9" y="43"/>
                  </a:lnTo>
                  <a:lnTo>
                    <a:pt x="20" y="55"/>
                  </a:lnTo>
                  <a:lnTo>
                    <a:pt x="26" y="61"/>
                  </a:lnTo>
                  <a:lnTo>
                    <a:pt x="32" y="67"/>
                  </a:lnTo>
                  <a:lnTo>
                    <a:pt x="39" y="71"/>
                  </a:lnTo>
                  <a:lnTo>
                    <a:pt x="46" y="75"/>
                  </a:lnTo>
                  <a:lnTo>
                    <a:pt x="51" y="61"/>
                  </a:lnTo>
                  <a:lnTo>
                    <a:pt x="58" y="48"/>
                  </a:lnTo>
                  <a:lnTo>
                    <a:pt x="61" y="42"/>
                  </a:lnTo>
                  <a:lnTo>
                    <a:pt x="63" y="36"/>
                  </a:lnTo>
                  <a:lnTo>
                    <a:pt x="65" y="31"/>
                  </a:lnTo>
                  <a:lnTo>
                    <a:pt x="65" y="26"/>
                  </a:lnTo>
                  <a:lnTo>
                    <a:pt x="65" y="21"/>
                  </a:lnTo>
                  <a:lnTo>
                    <a:pt x="63" y="18"/>
                  </a:lnTo>
                  <a:lnTo>
                    <a:pt x="61" y="13"/>
                  </a:lnTo>
                  <a:lnTo>
                    <a:pt x="58" y="10"/>
                  </a:lnTo>
                  <a:lnTo>
                    <a:pt x="51" y="5"/>
                  </a:lnTo>
                  <a:lnTo>
                    <a:pt x="46" y="0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5" y="2"/>
                  </a:lnTo>
                  <a:lnTo>
                    <a:pt x="24" y="7"/>
                  </a:lnTo>
                  <a:lnTo>
                    <a:pt x="23" y="9"/>
                  </a:lnTo>
                  <a:lnTo>
                    <a:pt x="23" y="11"/>
                  </a:lnTo>
                  <a:lnTo>
                    <a:pt x="24" y="12"/>
                  </a:lnTo>
                  <a:lnTo>
                    <a:pt x="2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33" name="Freeform 175"/>
            <p:cNvSpPr>
              <a:spLocks/>
            </p:cNvSpPr>
            <p:nvPr>
              <p:custDataLst>
                <p:tags r:id="rId118"/>
              </p:custDataLst>
            </p:nvPr>
          </p:nvSpPr>
          <p:spPr bwMode="auto">
            <a:xfrm>
              <a:off x="9819319" y="4961377"/>
              <a:ext cx="17463" cy="30162"/>
            </a:xfrm>
            <a:custGeom>
              <a:avLst/>
              <a:gdLst>
                <a:gd name="T0" fmla="*/ 0 w 40"/>
                <a:gd name="T1" fmla="*/ 2147483647 h 62"/>
                <a:gd name="T2" fmla="*/ 2147483647 w 40"/>
                <a:gd name="T3" fmla="*/ 2147483647 h 62"/>
                <a:gd name="T4" fmla="*/ 2147483647 w 40"/>
                <a:gd name="T5" fmla="*/ 2147483647 h 62"/>
                <a:gd name="T6" fmla="*/ 2147483647 w 40"/>
                <a:gd name="T7" fmla="*/ 2147483647 h 62"/>
                <a:gd name="T8" fmla="*/ 2147483647 w 40"/>
                <a:gd name="T9" fmla="*/ 2147483647 h 62"/>
                <a:gd name="T10" fmla="*/ 2147483647 w 40"/>
                <a:gd name="T11" fmla="*/ 2147483647 h 62"/>
                <a:gd name="T12" fmla="*/ 2147483647 w 40"/>
                <a:gd name="T13" fmla="*/ 2147483647 h 62"/>
                <a:gd name="T14" fmla="*/ 2147483647 w 40"/>
                <a:gd name="T15" fmla="*/ 2147483647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0" h="62">
                  <a:moveTo>
                    <a:pt x="0" y="62"/>
                  </a:moveTo>
                  <a:lnTo>
                    <a:pt x="3" y="52"/>
                  </a:lnTo>
                  <a:lnTo>
                    <a:pt x="7" y="43"/>
                  </a:lnTo>
                  <a:lnTo>
                    <a:pt x="12" y="33"/>
                  </a:lnTo>
                  <a:lnTo>
                    <a:pt x="17" y="25"/>
                  </a:lnTo>
                  <a:lnTo>
                    <a:pt x="23" y="17"/>
                  </a:lnTo>
                  <a:lnTo>
                    <a:pt x="29" y="9"/>
                  </a:lnTo>
                  <a:lnTo>
                    <a:pt x="35" y="3"/>
                  </a:lnTo>
                  <a:lnTo>
                    <a:pt x="4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34" name="Freeform 176"/>
            <p:cNvSpPr>
              <a:spLocks/>
            </p:cNvSpPr>
            <p:nvPr>
              <p:custDataLst>
                <p:tags r:id="rId119"/>
              </p:custDataLst>
            </p:nvPr>
          </p:nvSpPr>
          <p:spPr bwMode="auto">
            <a:xfrm>
              <a:off x="9738357" y="4839139"/>
              <a:ext cx="68262" cy="138113"/>
            </a:xfrm>
            <a:custGeom>
              <a:avLst/>
              <a:gdLst>
                <a:gd name="T0" fmla="*/ 2147483647 w 159"/>
                <a:gd name="T1" fmla="*/ 2147483647 h 259"/>
                <a:gd name="T2" fmla="*/ 2147483647 w 159"/>
                <a:gd name="T3" fmla="*/ 2147483647 h 259"/>
                <a:gd name="T4" fmla="*/ 2147483647 w 159"/>
                <a:gd name="T5" fmla="*/ 2147483647 h 259"/>
                <a:gd name="T6" fmla="*/ 2147483647 w 159"/>
                <a:gd name="T7" fmla="*/ 2147483647 h 259"/>
                <a:gd name="T8" fmla="*/ 2147483647 w 159"/>
                <a:gd name="T9" fmla="*/ 2147483647 h 259"/>
                <a:gd name="T10" fmla="*/ 2147483647 w 159"/>
                <a:gd name="T11" fmla="*/ 2147483647 h 259"/>
                <a:gd name="T12" fmla="*/ 2147483647 w 159"/>
                <a:gd name="T13" fmla="*/ 2147483647 h 259"/>
                <a:gd name="T14" fmla="*/ 2147483647 w 159"/>
                <a:gd name="T15" fmla="*/ 2147483647 h 259"/>
                <a:gd name="T16" fmla="*/ 2147483647 w 159"/>
                <a:gd name="T17" fmla="*/ 2147483647 h 259"/>
                <a:gd name="T18" fmla="*/ 2147483647 w 159"/>
                <a:gd name="T19" fmla="*/ 2147483647 h 259"/>
                <a:gd name="T20" fmla="*/ 2147483647 w 159"/>
                <a:gd name="T21" fmla="*/ 2147483647 h 259"/>
                <a:gd name="T22" fmla="*/ 2147483647 w 159"/>
                <a:gd name="T23" fmla="*/ 2147483647 h 259"/>
                <a:gd name="T24" fmla="*/ 2147483647 w 159"/>
                <a:gd name="T25" fmla="*/ 2147483647 h 259"/>
                <a:gd name="T26" fmla="*/ 2147483647 w 159"/>
                <a:gd name="T27" fmla="*/ 2147483647 h 259"/>
                <a:gd name="T28" fmla="*/ 2147483647 w 159"/>
                <a:gd name="T29" fmla="*/ 2147483647 h 259"/>
                <a:gd name="T30" fmla="*/ 2147483647 w 159"/>
                <a:gd name="T31" fmla="*/ 2147483647 h 259"/>
                <a:gd name="T32" fmla="*/ 2147483647 w 159"/>
                <a:gd name="T33" fmla="*/ 2147483647 h 259"/>
                <a:gd name="T34" fmla="*/ 2147483647 w 159"/>
                <a:gd name="T35" fmla="*/ 2147483647 h 259"/>
                <a:gd name="T36" fmla="*/ 2147483647 w 159"/>
                <a:gd name="T37" fmla="*/ 2147483647 h 259"/>
                <a:gd name="T38" fmla="*/ 2147483647 w 159"/>
                <a:gd name="T39" fmla="*/ 2147483647 h 259"/>
                <a:gd name="T40" fmla="*/ 2147483647 w 159"/>
                <a:gd name="T41" fmla="*/ 2147483647 h 259"/>
                <a:gd name="T42" fmla="*/ 2147483647 w 159"/>
                <a:gd name="T43" fmla="*/ 2147483647 h 259"/>
                <a:gd name="T44" fmla="*/ 2147483647 w 159"/>
                <a:gd name="T45" fmla="*/ 2147483647 h 259"/>
                <a:gd name="T46" fmla="*/ 2147483647 w 159"/>
                <a:gd name="T47" fmla="*/ 2147483647 h 259"/>
                <a:gd name="T48" fmla="*/ 2147483647 w 159"/>
                <a:gd name="T49" fmla="*/ 2147483647 h 259"/>
                <a:gd name="T50" fmla="*/ 2147483647 w 159"/>
                <a:gd name="T51" fmla="*/ 2147483647 h 259"/>
                <a:gd name="T52" fmla="*/ 2147483647 w 159"/>
                <a:gd name="T53" fmla="*/ 2147483647 h 259"/>
                <a:gd name="T54" fmla="*/ 2147483647 w 159"/>
                <a:gd name="T55" fmla="*/ 2147483647 h 259"/>
                <a:gd name="T56" fmla="*/ 2147483647 w 159"/>
                <a:gd name="T57" fmla="*/ 2147483647 h 259"/>
                <a:gd name="T58" fmla="*/ 2147483647 w 159"/>
                <a:gd name="T59" fmla="*/ 2147483647 h 259"/>
                <a:gd name="T60" fmla="*/ 2147483647 w 159"/>
                <a:gd name="T61" fmla="*/ 2147483647 h 259"/>
                <a:gd name="T62" fmla="*/ 2147483647 w 159"/>
                <a:gd name="T63" fmla="*/ 2147483647 h 259"/>
                <a:gd name="T64" fmla="*/ 2147483647 w 159"/>
                <a:gd name="T65" fmla="*/ 2147483647 h 259"/>
                <a:gd name="T66" fmla="*/ 2147483647 w 159"/>
                <a:gd name="T67" fmla="*/ 2147483647 h 259"/>
                <a:gd name="T68" fmla="*/ 2147483647 w 159"/>
                <a:gd name="T69" fmla="*/ 2147483647 h 259"/>
                <a:gd name="T70" fmla="*/ 0 w 159"/>
                <a:gd name="T71" fmla="*/ 2147483647 h 259"/>
                <a:gd name="T72" fmla="*/ 0 w 159"/>
                <a:gd name="T73" fmla="*/ 0 h 25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59" h="259">
                  <a:moveTo>
                    <a:pt x="159" y="259"/>
                  </a:moveTo>
                  <a:lnTo>
                    <a:pt x="159" y="251"/>
                  </a:lnTo>
                  <a:lnTo>
                    <a:pt x="159" y="244"/>
                  </a:lnTo>
                  <a:lnTo>
                    <a:pt x="159" y="236"/>
                  </a:lnTo>
                  <a:lnTo>
                    <a:pt x="159" y="228"/>
                  </a:lnTo>
                  <a:lnTo>
                    <a:pt x="159" y="224"/>
                  </a:lnTo>
                  <a:lnTo>
                    <a:pt x="158" y="219"/>
                  </a:lnTo>
                  <a:lnTo>
                    <a:pt x="156" y="215"/>
                  </a:lnTo>
                  <a:lnTo>
                    <a:pt x="153" y="210"/>
                  </a:lnTo>
                  <a:lnTo>
                    <a:pt x="145" y="202"/>
                  </a:lnTo>
                  <a:lnTo>
                    <a:pt x="135" y="195"/>
                  </a:lnTo>
                  <a:lnTo>
                    <a:pt x="124" y="189"/>
                  </a:lnTo>
                  <a:lnTo>
                    <a:pt x="112" y="184"/>
                  </a:lnTo>
                  <a:lnTo>
                    <a:pt x="99" y="180"/>
                  </a:lnTo>
                  <a:lnTo>
                    <a:pt x="87" y="179"/>
                  </a:lnTo>
                  <a:lnTo>
                    <a:pt x="85" y="178"/>
                  </a:lnTo>
                  <a:lnTo>
                    <a:pt x="82" y="177"/>
                  </a:lnTo>
                  <a:lnTo>
                    <a:pt x="81" y="175"/>
                  </a:lnTo>
                  <a:lnTo>
                    <a:pt x="80" y="173"/>
                  </a:lnTo>
                  <a:lnTo>
                    <a:pt x="80" y="167"/>
                  </a:lnTo>
                  <a:lnTo>
                    <a:pt x="81" y="161"/>
                  </a:lnTo>
                  <a:lnTo>
                    <a:pt x="85" y="148"/>
                  </a:lnTo>
                  <a:lnTo>
                    <a:pt x="87" y="142"/>
                  </a:lnTo>
                  <a:lnTo>
                    <a:pt x="73" y="141"/>
                  </a:lnTo>
                  <a:lnTo>
                    <a:pt x="59" y="139"/>
                  </a:lnTo>
                  <a:lnTo>
                    <a:pt x="48" y="135"/>
                  </a:lnTo>
                  <a:lnTo>
                    <a:pt x="40" y="129"/>
                  </a:lnTo>
                  <a:lnTo>
                    <a:pt x="31" y="121"/>
                  </a:lnTo>
                  <a:lnTo>
                    <a:pt x="24" y="113"/>
                  </a:lnTo>
                  <a:lnTo>
                    <a:pt x="18" y="104"/>
                  </a:lnTo>
                  <a:lnTo>
                    <a:pt x="13" y="94"/>
                  </a:lnTo>
                  <a:lnTo>
                    <a:pt x="9" y="84"/>
                  </a:lnTo>
                  <a:lnTo>
                    <a:pt x="7" y="73"/>
                  </a:lnTo>
                  <a:lnTo>
                    <a:pt x="5" y="60"/>
                  </a:lnTo>
                  <a:lnTo>
                    <a:pt x="2" y="48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35" name="Line 177"/>
            <p:cNvSpPr>
              <a:spLocks noChangeShapeType="1"/>
            </p:cNvSpPr>
            <p:nvPr>
              <p:custDataLst>
                <p:tags r:id="rId120"/>
              </p:custDataLst>
            </p:nvPr>
          </p:nvSpPr>
          <p:spPr bwMode="auto">
            <a:xfrm flipH="1" flipV="1">
              <a:off x="9732007" y="4805802"/>
              <a:ext cx="6350" cy="3333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25736" name="Freeform 178"/>
            <p:cNvSpPr>
              <a:spLocks/>
            </p:cNvSpPr>
            <p:nvPr>
              <p:custDataLst>
                <p:tags r:id="rId121"/>
              </p:custDataLst>
            </p:nvPr>
          </p:nvSpPr>
          <p:spPr bwMode="auto">
            <a:xfrm>
              <a:off x="9732007" y="4789927"/>
              <a:ext cx="6350" cy="15875"/>
            </a:xfrm>
            <a:custGeom>
              <a:avLst/>
              <a:gdLst>
                <a:gd name="T0" fmla="*/ 0 w 13"/>
                <a:gd name="T1" fmla="*/ 2147483647 h 25"/>
                <a:gd name="T2" fmla="*/ 2147483647 w 13"/>
                <a:gd name="T3" fmla="*/ 2147483647 h 25"/>
                <a:gd name="T4" fmla="*/ 2147483647 w 13"/>
                <a:gd name="T5" fmla="*/ 2147483647 h 25"/>
                <a:gd name="T6" fmla="*/ 2147483647 w 13"/>
                <a:gd name="T7" fmla="*/ 2147483647 h 25"/>
                <a:gd name="T8" fmla="*/ 2147483647 w 13"/>
                <a:gd name="T9" fmla="*/ 0 h 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3" h="25">
                  <a:moveTo>
                    <a:pt x="0" y="25"/>
                  </a:moveTo>
                  <a:lnTo>
                    <a:pt x="1" y="19"/>
                  </a:lnTo>
                  <a:lnTo>
                    <a:pt x="4" y="13"/>
                  </a:lnTo>
                  <a:lnTo>
                    <a:pt x="8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37" name="Line 179"/>
            <p:cNvSpPr>
              <a:spLocks noChangeShapeType="1"/>
            </p:cNvSpPr>
            <p:nvPr>
              <p:custDataLst>
                <p:tags r:id="rId122"/>
              </p:custDataLst>
            </p:nvPr>
          </p:nvSpPr>
          <p:spPr bwMode="auto">
            <a:xfrm flipV="1">
              <a:off x="9738357" y="4777227"/>
              <a:ext cx="0" cy="1270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25738" name="Freeform 180"/>
            <p:cNvSpPr>
              <a:spLocks/>
            </p:cNvSpPr>
            <p:nvPr>
              <p:custDataLst>
                <p:tags r:id="rId123"/>
              </p:custDataLst>
            </p:nvPr>
          </p:nvSpPr>
          <p:spPr bwMode="auto">
            <a:xfrm>
              <a:off x="9692319" y="4710552"/>
              <a:ext cx="46038" cy="66675"/>
            </a:xfrm>
            <a:custGeom>
              <a:avLst/>
              <a:gdLst>
                <a:gd name="T0" fmla="*/ 2147483647 w 100"/>
                <a:gd name="T1" fmla="*/ 2147483647 h 123"/>
                <a:gd name="T2" fmla="*/ 2147483647 w 100"/>
                <a:gd name="T3" fmla="*/ 2147483647 h 123"/>
                <a:gd name="T4" fmla="*/ 2147483647 w 100"/>
                <a:gd name="T5" fmla="*/ 2147483647 h 123"/>
                <a:gd name="T6" fmla="*/ 2147483647 w 100"/>
                <a:gd name="T7" fmla="*/ 2147483647 h 123"/>
                <a:gd name="T8" fmla="*/ 2147483647 w 100"/>
                <a:gd name="T9" fmla="*/ 2147483647 h 123"/>
                <a:gd name="T10" fmla="*/ 2147483647 w 100"/>
                <a:gd name="T11" fmla="*/ 2147483647 h 123"/>
                <a:gd name="T12" fmla="*/ 2147483647 w 100"/>
                <a:gd name="T13" fmla="*/ 2147483647 h 123"/>
                <a:gd name="T14" fmla="*/ 2147483647 w 100"/>
                <a:gd name="T15" fmla="*/ 2147483647 h 123"/>
                <a:gd name="T16" fmla="*/ 2147483647 w 100"/>
                <a:gd name="T17" fmla="*/ 2147483647 h 123"/>
                <a:gd name="T18" fmla="*/ 2147483647 w 100"/>
                <a:gd name="T19" fmla="*/ 2147483647 h 123"/>
                <a:gd name="T20" fmla="*/ 2147483647 w 100"/>
                <a:gd name="T21" fmla="*/ 2147483647 h 123"/>
                <a:gd name="T22" fmla="*/ 2147483647 w 100"/>
                <a:gd name="T23" fmla="*/ 2147483647 h 123"/>
                <a:gd name="T24" fmla="*/ 0 w 100"/>
                <a:gd name="T25" fmla="*/ 2147483647 h 123"/>
                <a:gd name="T26" fmla="*/ 2147483647 w 100"/>
                <a:gd name="T27" fmla="*/ 2147483647 h 123"/>
                <a:gd name="T28" fmla="*/ 2147483647 w 100"/>
                <a:gd name="T29" fmla="*/ 2147483647 h 123"/>
                <a:gd name="T30" fmla="*/ 2147483647 w 100"/>
                <a:gd name="T31" fmla="*/ 2147483647 h 123"/>
                <a:gd name="T32" fmla="*/ 2147483647 w 100"/>
                <a:gd name="T33" fmla="*/ 0 h 12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00" h="123">
                  <a:moveTo>
                    <a:pt x="100" y="123"/>
                  </a:moveTo>
                  <a:lnTo>
                    <a:pt x="90" y="122"/>
                  </a:lnTo>
                  <a:lnTo>
                    <a:pt x="76" y="119"/>
                  </a:lnTo>
                  <a:lnTo>
                    <a:pt x="60" y="114"/>
                  </a:lnTo>
                  <a:lnTo>
                    <a:pt x="43" y="107"/>
                  </a:lnTo>
                  <a:lnTo>
                    <a:pt x="34" y="103"/>
                  </a:lnTo>
                  <a:lnTo>
                    <a:pt x="27" y="99"/>
                  </a:lnTo>
                  <a:lnTo>
                    <a:pt x="20" y="94"/>
                  </a:lnTo>
                  <a:lnTo>
                    <a:pt x="13" y="89"/>
                  </a:lnTo>
                  <a:lnTo>
                    <a:pt x="8" y="84"/>
                  </a:lnTo>
                  <a:lnTo>
                    <a:pt x="4" y="79"/>
                  </a:lnTo>
                  <a:lnTo>
                    <a:pt x="1" y="73"/>
                  </a:lnTo>
                  <a:lnTo>
                    <a:pt x="0" y="68"/>
                  </a:lnTo>
                  <a:lnTo>
                    <a:pt x="2" y="55"/>
                  </a:lnTo>
                  <a:lnTo>
                    <a:pt x="7" y="36"/>
                  </a:lnTo>
                  <a:lnTo>
                    <a:pt x="11" y="17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39" name="Freeform 181"/>
            <p:cNvSpPr>
              <a:spLocks/>
            </p:cNvSpPr>
            <p:nvPr>
              <p:custDataLst>
                <p:tags r:id="rId124"/>
              </p:custDataLst>
            </p:nvPr>
          </p:nvSpPr>
          <p:spPr bwMode="auto">
            <a:xfrm>
              <a:off x="9706607" y="4653402"/>
              <a:ext cx="1587" cy="50800"/>
            </a:xfrm>
            <a:custGeom>
              <a:avLst/>
              <a:gdLst>
                <a:gd name="T0" fmla="*/ 2147483647 w 5"/>
                <a:gd name="T1" fmla="*/ 0 h 99"/>
                <a:gd name="T2" fmla="*/ 2147483647 w 5"/>
                <a:gd name="T3" fmla="*/ 2147483647 h 99"/>
                <a:gd name="T4" fmla="*/ 2147483647 w 5"/>
                <a:gd name="T5" fmla="*/ 2147483647 h 99"/>
                <a:gd name="T6" fmla="*/ 0 w 5"/>
                <a:gd name="T7" fmla="*/ 2147483647 h 99"/>
                <a:gd name="T8" fmla="*/ 0 w 5"/>
                <a:gd name="T9" fmla="*/ 2147483647 h 99"/>
                <a:gd name="T10" fmla="*/ 2147483647 w 5"/>
                <a:gd name="T11" fmla="*/ 2147483647 h 99"/>
                <a:gd name="T12" fmla="*/ 2147483647 w 5"/>
                <a:gd name="T13" fmla="*/ 2147483647 h 9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" h="99">
                  <a:moveTo>
                    <a:pt x="5" y="0"/>
                  </a:moveTo>
                  <a:lnTo>
                    <a:pt x="4" y="34"/>
                  </a:lnTo>
                  <a:lnTo>
                    <a:pt x="1" y="59"/>
                  </a:lnTo>
                  <a:lnTo>
                    <a:pt x="0" y="69"/>
                  </a:lnTo>
                  <a:lnTo>
                    <a:pt x="0" y="78"/>
                  </a:lnTo>
                  <a:lnTo>
                    <a:pt x="2" y="87"/>
                  </a:lnTo>
                  <a:lnTo>
                    <a:pt x="5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40" name="Freeform 182"/>
            <p:cNvSpPr>
              <a:spLocks/>
            </p:cNvSpPr>
            <p:nvPr>
              <p:custDataLst>
                <p:tags r:id="rId125"/>
              </p:custDataLst>
            </p:nvPr>
          </p:nvSpPr>
          <p:spPr bwMode="auto">
            <a:xfrm>
              <a:off x="9712957" y="4647052"/>
              <a:ext cx="7937" cy="36512"/>
            </a:xfrm>
            <a:custGeom>
              <a:avLst/>
              <a:gdLst>
                <a:gd name="T0" fmla="*/ 2147483647 w 14"/>
                <a:gd name="T1" fmla="*/ 0 h 68"/>
                <a:gd name="T2" fmla="*/ 2147483647 w 14"/>
                <a:gd name="T3" fmla="*/ 2147483647 h 68"/>
                <a:gd name="T4" fmla="*/ 2147483647 w 14"/>
                <a:gd name="T5" fmla="*/ 2147483647 h 68"/>
                <a:gd name="T6" fmla="*/ 2147483647 w 14"/>
                <a:gd name="T7" fmla="*/ 2147483647 h 68"/>
                <a:gd name="T8" fmla="*/ 0 w 14"/>
                <a:gd name="T9" fmla="*/ 2147483647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68">
                  <a:moveTo>
                    <a:pt x="14" y="0"/>
                  </a:moveTo>
                  <a:lnTo>
                    <a:pt x="8" y="16"/>
                  </a:lnTo>
                  <a:lnTo>
                    <a:pt x="4" y="33"/>
                  </a:lnTo>
                  <a:lnTo>
                    <a:pt x="2" y="52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200" name="Freeform 183"/>
            <p:cNvSpPr>
              <a:spLocks/>
            </p:cNvSpPr>
            <p:nvPr>
              <p:custDataLst>
                <p:tags r:id="rId126"/>
              </p:custDataLst>
            </p:nvPr>
          </p:nvSpPr>
          <p:spPr bwMode="auto">
            <a:xfrm>
              <a:off x="9729009" y="4628627"/>
              <a:ext cx="1595" cy="21928"/>
            </a:xfrm>
            <a:custGeom>
              <a:avLst/>
              <a:gdLst>
                <a:gd name="T0" fmla="*/ 0 h 43"/>
                <a:gd name="T1" fmla="*/ 13 h 43"/>
                <a:gd name="T2" fmla="*/ 26 h 43"/>
                <a:gd name="T3" fmla="*/ 37 h 43"/>
                <a:gd name="T4" fmla="*/ 43 h 43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43">
                  <a:moveTo>
                    <a:pt x="0" y="0"/>
                  </a:moveTo>
                  <a:lnTo>
                    <a:pt x="0" y="13"/>
                  </a:lnTo>
                  <a:lnTo>
                    <a:pt x="0" y="26"/>
                  </a:lnTo>
                  <a:lnTo>
                    <a:pt x="0" y="37"/>
                  </a:lnTo>
                  <a:lnTo>
                    <a:pt x="0" y="43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42" name="Line 184"/>
            <p:cNvSpPr>
              <a:spLocks noChangeShapeType="1"/>
            </p:cNvSpPr>
            <p:nvPr>
              <p:custDataLst>
                <p:tags r:id="rId127"/>
              </p:custDataLst>
            </p:nvPr>
          </p:nvSpPr>
          <p:spPr bwMode="auto">
            <a:xfrm flipV="1">
              <a:off x="9728832" y="4647052"/>
              <a:ext cx="1587" cy="3175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1202" name="Freeform 185"/>
            <p:cNvSpPr>
              <a:spLocks/>
            </p:cNvSpPr>
            <p:nvPr>
              <p:custDataLst>
                <p:tags r:id="rId128"/>
              </p:custDataLst>
            </p:nvPr>
          </p:nvSpPr>
          <p:spPr bwMode="auto">
            <a:xfrm>
              <a:off x="9713050" y="4632000"/>
              <a:ext cx="1595" cy="15181"/>
            </a:xfrm>
            <a:custGeom>
              <a:avLst/>
              <a:gdLst>
                <a:gd name="T0" fmla="*/ 31 h 31"/>
                <a:gd name="T1" fmla="*/ 22 h 31"/>
                <a:gd name="T2" fmla="*/ 15 h 31"/>
                <a:gd name="T3" fmla="*/ 8 h 31"/>
                <a:gd name="T4" fmla="*/ 0 h 3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1">
                  <a:moveTo>
                    <a:pt x="0" y="31"/>
                  </a:moveTo>
                  <a:lnTo>
                    <a:pt x="0" y="22"/>
                  </a:lnTo>
                  <a:lnTo>
                    <a:pt x="0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44" name="Freeform 186"/>
            <p:cNvSpPr>
              <a:spLocks/>
            </p:cNvSpPr>
            <p:nvPr>
              <p:custDataLst>
                <p:tags r:id="rId129"/>
              </p:custDataLst>
            </p:nvPr>
          </p:nvSpPr>
          <p:spPr bwMode="auto">
            <a:xfrm>
              <a:off x="9433557" y="5620189"/>
              <a:ext cx="96837" cy="87313"/>
            </a:xfrm>
            <a:custGeom>
              <a:avLst/>
              <a:gdLst>
                <a:gd name="T0" fmla="*/ 2147483647 w 225"/>
                <a:gd name="T1" fmla="*/ 2147483647 h 167"/>
                <a:gd name="T2" fmla="*/ 2147483647 w 225"/>
                <a:gd name="T3" fmla="*/ 2147483647 h 167"/>
                <a:gd name="T4" fmla="*/ 0 w 225"/>
                <a:gd name="T5" fmla="*/ 2147483647 h 167"/>
                <a:gd name="T6" fmla="*/ 2147483647 w 225"/>
                <a:gd name="T7" fmla="*/ 2147483647 h 167"/>
                <a:gd name="T8" fmla="*/ 2147483647 w 225"/>
                <a:gd name="T9" fmla="*/ 2147483647 h 167"/>
                <a:gd name="T10" fmla="*/ 2147483647 w 225"/>
                <a:gd name="T11" fmla="*/ 2147483647 h 167"/>
                <a:gd name="T12" fmla="*/ 2147483647 w 225"/>
                <a:gd name="T13" fmla="*/ 2147483647 h 167"/>
                <a:gd name="T14" fmla="*/ 2147483647 w 225"/>
                <a:gd name="T15" fmla="*/ 2147483647 h 167"/>
                <a:gd name="T16" fmla="*/ 2147483647 w 225"/>
                <a:gd name="T17" fmla="*/ 2147483647 h 167"/>
                <a:gd name="T18" fmla="*/ 2147483647 w 225"/>
                <a:gd name="T19" fmla="*/ 2147483647 h 167"/>
                <a:gd name="T20" fmla="*/ 2147483647 w 225"/>
                <a:gd name="T21" fmla="*/ 2147483647 h 167"/>
                <a:gd name="T22" fmla="*/ 2147483647 w 225"/>
                <a:gd name="T23" fmla="*/ 2147483647 h 167"/>
                <a:gd name="T24" fmla="*/ 2147483647 w 225"/>
                <a:gd name="T25" fmla="*/ 2147483647 h 167"/>
                <a:gd name="T26" fmla="*/ 2147483647 w 225"/>
                <a:gd name="T27" fmla="*/ 2147483647 h 167"/>
                <a:gd name="T28" fmla="*/ 2147483647 w 225"/>
                <a:gd name="T29" fmla="*/ 2147483647 h 167"/>
                <a:gd name="T30" fmla="*/ 2147483647 w 225"/>
                <a:gd name="T31" fmla="*/ 2147483647 h 167"/>
                <a:gd name="T32" fmla="*/ 2147483647 w 225"/>
                <a:gd name="T33" fmla="*/ 2147483647 h 167"/>
                <a:gd name="T34" fmla="*/ 2147483647 w 225"/>
                <a:gd name="T35" fmla="*/ 0 h 167"/>
                <a:gd name="T36" fmla="*/ 2147483647 w 225"/>
                <a:gd name="T37" fmla="*/ 2147483647 h 167"/>
                <a:gd name="T38" fmla="*/ 2147483647 w 225"/>
                <a:gd name="T39" fmla="*/ 2147483647 h 167"/>
                <a:gd name="T40" fmla="*/ 2147483647 w 225"/>
                <a:gd name="T41" fmla="*/ 2147483647 h 167"/>
                <a:gd name="T42" fmla="*/ 2147483647 w 225"/>
                <a:gd name="T43" fmla="*/ 2147483647 h 167"/>
                <a:gd name="T44" fmla="*/ 2147483647 w 225"/>
                <a:gd name="T45" fmla="*/ 2147483647 h 167"/>
                <a:gd name="T46" fmla="*/ 2147483647 w 225"/>
                <a:gd name="T47" fmla="*/ 2147483647 h 167"/>
                <a:gd name="T48" fmla="*/ 2147483647 w 225"/>
                <a:gd name="T49" fmla="*/ 2147483647 h 167"/>
                <a:gd name="T50" fmla="*/ 2147483647 w 225"/>
                <a:gd name="T51" fmla="*/ 2147483647 h 167"/>
                <a:gd name="T52" fmla="*/ 2147483647 w 225"/>
                <a:gd name="T53" fmla="*/ 2147483647 h 167"/>
                <a:gd name="T54" fmla="*/ 2147483647 w 225"/>
                <a:gd name="T55" fmla="*/ 2147483647 h 167"/>
                <a:gd name="T56" fmla="*/ 2147483647 w 225"/>
                <a:gd name="T57" fmla="*/ 2147483647 h 167"/>
                <a:gd name="T58" fmla="*/ 2147483647 w 225"/>
                <a:gd name="T59" fmla="*/ 2147483647 h 167"/>
                <a:gd name="T60" fmla="*/ 2147483647 w 225"/>
                <a:gd name="T61" fmla="*/ 2147483647 h 167"/>
                <a:gd name="T62" fmla="*/ 2147483647 w 225"/>
                <a:gd name="T63" fmla="*/ 2147483647 h 167"/>
                <a:gd name="T64" fmla="*/ 2147483647 w 225"/>
                <a:gd name="T65" fmla="*/ 2147483647 h 16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25" h="167">
                  <a:moveTo>
                    <a:pt x="26" y="167"/>
                  </a:moveTo>
                  <a:lnTo>
                    <a:pt x="19" y="158"/>
                  </a:lnTo>
                  <a:lnTo>
                    <a:pt x="10" y="148"/>
                  </a:lnTo>
                  <a:lnTo>
                    <a:pt x="7" y="142"/>
                  </a:lnTo>
                  <a:lnTo>
                    <a:pt x="3" y="136"/>
                  </a:lnTo>
                  <a:lnTo>
                    <a:pt x="0" y="130"/>
                  </a:lnTo>
                  <a:lnTo>
                    <a:pt x="0" y="123"/>
                  </a:lnTo>
                  <a:lnTo>
                    <a:pt x="1" y="108"/>
                  </a:lnTo>
                  <a:lnTo>
                    <a:pt x="5" y="89"/>
                  </a:lnTo>
                  <a:lnTo>
                    <a:pt x="11" y="68"/>
                  </a:lnTo>
                  <a:lnTo>
                    <a:pt x="20" y="48"/>
                  </a:lnTo>
                  <a:lnTo>
                    <a:pt x="24" y="39"/>
                  </a:lnTo>
                  <a:lnTo>
                    <a:pt x="28" y="29"/>
                  </a:lnTo>
                  <a:lnTo>
                    <a:pt x="34" y="21"/>
                  </a:lnTo>
                  <a:lnTo>
                    <a:pt x="38" y="14"/>
                  </a:lnTo>
                  <a:lnTo>
                    <a:pt x="44" y="9"/>
                  </a:lnTo>
                  <a:lnTo>
                    <a:pt x="49" y="4"/>
                  </a:lnTo>
                  <a:lnTo>
                    <a:pt x="54" y="1"/>
                  </a:lnTo>
                  <a:lnTo>
                    <a:pt x="59" y="0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6" y="3"/>
                  </a:lnTo>
                  <a:lnTo>
                    <a:pt x="80" y="4"/>
                  </a:lnTo>
                  <a:lnTo>
                    <a:pt x="88" y="8"/>
                  </a:lnTo>
                  <a:lnTo>
                    <a:pt x="94" y="13"/>
                  </a:lnTo>
                  <a:lnTo>
                    <a:pt x="100" y="17"/>
                  </a:lnTo>
                  <a:lnTo>
                    <a:pt x="106" y="21"/>
                  </a:lnTo>
                  <a:lnTo>
                    <a:pt x="112" y="24"/>
                  </a:lnTo>
                  <a:lnTo>
                    <a:pt x="120" y="25"/>
                  </a:lnTo>
                  <a:lnTo>
                    <a:pt x="128" y="24"/>
                  </a:lnTo>
                  <a:lnTo>
                    <a:pt x="137" y="22"/>
                  </a:lnTo>
                  <a:lnTo>
                    <a:pt x="145" y="19"/>
                  </a:lnTo>
                  <a:lnTo>
                    <a:pt x="151" y="15"/>
                  </a:lnTo>
                  <a:lnTo>
                    <a:pt x="165" y="7"/>
                  </a:lnTo>
                  <a:lnTo>
                    <a:pt x="179" y="0"/>
                  </a:lnTo>
                  <a:lnTo>
                    <a:pt x="225" y="0"/>
                  </a:lnTo>
                  <a:lnTo>
                    <a:pt x="221" y="11"/>
                  </a:lnTo>
                  <a:lnTo>
                    <a:pt x="215" y="22"/>
                  </a:lnTo>
                  <a:lnTo>
                    <a:pt x="209" y="31"/>
                  </a:lnTo>
                  <a:lnTo>
                    <a:pt x="201" y="41"/>
                  </a:lnTo>
                  <a:lnTo>
                    <a:pt x="185" y="57"/>
                  </a:lnTo>
                  <a:lnTo>
                    <a:pt x="168" y="72"/>
                  </a:lnTo>
                  <a:lnTo>
                    <a:pt x="151" y="86"/>
                  </a:lnTo>
                  <a:lnTo>
                    <a:pt x="138" y="100"/>
                  </a:lnTo>
                  <a:lnTo>
                    <a:pt x="133" y="107"/>
                  </a:lnTo>
                  <a:lnTo>
                    <a:pt x="129" y="114"/>
                  </a:lnTo>
                  <a:lnTo>
                    <a:pt x="126" y="122"/>
                  </a:lnTo>
                  <a:lnTo>
                    <a:pt x="126" y="130"/>
                  </a:lnTo>
                  <a:lnTo>
                    <a:pt x="125" y="129"/>
                  </a:lnTo>
                  <a:lnTo>
                    <a:pt x="123" y="126"/>
                  </a:lnTo>
                  <a:lnTo>
                    <a:pt x="120" y="122"/>
                  </a:lnTo>
                  <a:lnTo>
                    <a:pt x="120" y="117"/>
                  </a:lnTo>
                  <a:lnTo>
                    <a:pt x="112" y="119"/>
                  </a:lnTo>
                  <a:lnTo>
                    <a:pt x="106" y="121"/>
                  </a:lnTo>
                  <a:lnTo>
                    <a:pt x="101" y="124"/>
                  </a:lnTo>
                  <a:lnTo>
                    <a:pt x="97" y="128"/>
                  </a:lnTo>
                  <a:lnTo>
                    <a:pt x="88" y="135"/>
                  </a:lnTo>
                  <a:lnTo>
                    <a:pt x="80" y="145"/>
                  </a:lnTo>
                  <a:lnTo>
                    <a:pt x="76" y="149"/>
                  </a:lnTo>
                  <a:lnTo>
                    <a:pt x="71" y="153"/>
                  </a:lnTo>
                  <a:lnTo>
                    <a:pt x="66" y="157"/>
                  </a:lnTo>
                  <a:lnTo>
                    <a:pt x="60" y="160"/>
                  </a:lnTo>
                  <a:lnTo>
                    <a:pt x="54" y="163"/>
                  </a:lnTo>
                  <a:lnTo>
                    <a:pt x="46" y="165"/>
                  </a:lnTo>
                  <a:lnTo>
                    <a:pt x="36" y="166"/>
                  </a:lnTo>
                  <a:lnTo>
                    <a:pt x="26" y="167"/>
                  </a:lnTo>
                </a:path>
              </a:pathLst>
            </a:custGeom>
            <a:solidFill>
              <a:srgbClr val="FFFF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45" name="Freeform 187"/>
            <p:cNvSpPr>
              <a:spLocks/>
            </p:cNvSpPr>
            <p:nvPr>
              <p:custDataLst>
                <p:tags r:id="rId130"/>
              </p:custDataLst>
            </p:nvPr>
          </p:nvSpPr>
          <p:spPr bwMode="auto">
            <a:xfrm>
              <a:off x="9571669" y="4839139"/>
              <a:ext cx="3175" cy="17463"/>
            </a:xfrm>
            <a:custGeom>
              <a:avLst/>
              <a:gdLst>
                <a:gd name="T0" fmla="*/ 0 w 7"/>
                <a:gd name="T1" fmla="*/ 2147483647 h 31"/>
                <a:gd name="T2" fmla="*/ 2147483647 w 7"/>
                <a:gd name="T3" fmla="*/ 2147483647 h 31"/>
                <a:gd name="T4" fmla="*/ 2147483647 w 7"/>
                <a:gd name="T5" fmla="*/ 2147483647 h 31"/>
                <a:gd name="T6" fmla="*/ 2147483647 w 7"/>
                <a:gd name="T7" fmla="*/ 2147483647 h 31"/>
                <a:gd name="T8" fmla="*/ 2147483647 w 7"/>
                <a:gd name="T9" fmla="*/ 0 h 31"/>
                <a:gd name="T10" fmla="*/ 2147483647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0 w 7"/>
                <a:gd name="T17" fmla="*/ 214748364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7" h="31">
                  <a:moveTo>
                    <a:pt x="0" y="31"/>
                  </a:moveTo>
                  <a:lnTo>
                    <a:pt x="5" y="22"/>
                  </a:lnTo>
                  <a:lnTo>
                    <a:pt x="6" y="13"/>
                  </a:lnTo>
                  <a:lnTo>
                    <a:pt x="7" y="6"/>
                  </a:lnTo>
                  <a:lnTo>
                    <a:pt x="7" y="0"/>
                  </a:lnTo>
                  <a:lnTo>
                    <a:pt x="6" y="6"/>
                  </a:lnTo>
                  <a:lnTo>
                    <a:pt x="4" y="13"/>
                  </a:lnTo>
                  <a:lnTo>
                    <a:pt x="1" y="22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46" name="Freeform 188"/>
            <p:cNvSpPr>
              <a:spLocks/>
            </p:cNvSpPr>
            <p:nvPr>
              <p:custDataLst>
                <p:tags r:id="rId131"/>
              </p:custDataLst>
            </p:nvPr>
          </p:nvSpPr>
          <p:spPr bwMode="auto">
            <a:xfrm>
              <a:off x="9504994" y="4761352"/>
              <a:ext cx="15875" cy="15875"/>
            </a:xfrm>
            <a:custGeom>
              <a:avLst/>
              <a:gdLst>
                <a:gd name="T0" fmla="*/ 2147483647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0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2147483647 h 31"/>
                <a:gd name="T18" fmla="*/ 0 w 33"/>
                <a:gd name="T19" fmla="*/ 2147483647 h 31"/>
                <a:gd name="T20" fmla="*/ 2147483647 w 33"/>
                <a:gd name="T21" fmla="*/ 2147483647 h 31"/>
                <a:gd name="T22" fmla="*/ 2147483647 w 33"/>
                <a:gd name="T23" fmla="*/ 2147483647 h 31"/>
                <a:gd name="T24" fmla="*/ 2147483647 w 33"/>
                <a:gd name="T25" fmla="*/ 2147483647 h 31"/>
                <a:gd name="T26" fmla="*/ 2147483647 w 33"/>
                <a:gd name="T27" fmla="*/ 2147483647 h 31"/>
                <a:gd name="T28" fmla="*/ 2147483647 w 33"/>
                <a:gd name="T29" fmla="*/ 2147483647 h 31"/>
                <a:gd name="T30" fmla="*/ 2147483647 w 33"/>
                <a:gd name="T31" fmla="*/ 2147483647 h 3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33" h="31">
                  <a:moveTo>
                    <a:pt x="33" y="31"/>
                  </a:moveTo>
                  <a:lnTo>
                    <a:pt x="33" y="0"/>
                  </a:lnTo>
                  <a:lnTo>
                    <a:pt x="27" y="0"/>
                  </a:lnTo>
                  <a:lnTo>
                    <a:pt x="22" y="2"/>
                  </a:lnTo>
                  <a:lnTo>
                    <a:pt x="16" y="5"/>
                  </a:lnTo>
                  <a:lnTo>
                    <a:pt x="11" y="8"/>
                  </a:lnTo>
                  <a:lnTo>
                    <a:pt x="6" y="12"/>
                  </a:lnTo>
                  <a:lnTo>
                    <a:pt x="3" y="16"/>
                  </a:lnTo>
                  <a:lnTo>
                    <a:pt x="1" y="21"/>
                  </a:lnTo>
                  <a:lnTo>
                    <a:pt x="0" y="25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6" y="30"/>
                  </a:lnTo>
                  <a:lnTo>
                    <a:pt x="11" y="30"/>
                  </a:lnTo>
                  <a:lnTo>
                    <a:pt x="22" y="31"/>
                  </a:lnTo>
                  <a:lnTo>
                    <a:pt x="33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47" name="Freeform 189"/>
            <p:cNvSpPr>
              <a:spLocks/>
            </p:cNvSpPr>
            <p:nvPr>
              <p:custDataLst>
                <p:tags r:id="rId132"/>
              </p:custDataLst>
            </p:nvPr>
          </p:nvSpPr>
          <p:spPr bwMode="auto">
            <a:xfrm>
              <a:off x="9520869" y="4674039"/>
              <a:ext cx="3175" cy="9525"/>
            </a:xfrm>
            <a:custGeom>
              <a:avLst/>
              <a:gdLst>
                <a:gd name="T0" fmla="*/ 0 w 13"/>
                <a:gd name="T1" fmla="*/ 2147483647 h 19"/>
                <a:gd name="T2" fmla="*/ 2147483647 w 13"/>
                <a:gd name="T3" fmla="*/ 2147483647 h 19"/>
                <a:gd name="T4" fmla="*/ 2147483647 w 13"/>
                <a:gd name="T5" fmla="*/ 2147483647 h 19"/>
                <a:gd name="T6" fmla="*/ 2147483647 w 13"/>
                <a:gd name="T7" fmla="*/ 2147483647 h 19"/>
                <a:gd name="T8" fmla="*/ 2147483647 w 13"/>
                <a:gd name="T9" fmla="*/ 2147483647 h 19"/>
                <a:gd name="T10" fmla="*/ 2147483647 w 13"/>
                <a:gd name="T11" fmla="*/ 2147483647 h 19"/>
                <a:gd name="T12" fmla="*/ 2147483647 w 13"/>
                <a:gd name="T13" fmla="*/ 0 h 19"/>
                <a:gd name="T14" fmla="*/ 0 w 13"/>
                <a:gd name="T15" fmla="*/ 2147483647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3" h="19">
                  <a:moveTo>
                    <a:pt x="0" y="19"/>
                  </a:moveTo>
                  <a:lnTo>
                    <a:pt x="2" y="18"/>
                  </a:lnTo>
                  <a:lnTo>
                    <a:pt x="5" y="17"/>
                  </a:lnTo>
                  <a:lnTo>
                    <a:pt x="7" y="15"/>
                  </a:lnTo>
                  <a:lnTo>
                    <a:pt x="8" y="12"/>
                  </a:lnTo>
                  <a:lnTo>
                    <a:pt x="12" y="6"/>
                  </a:lnTo>
                  <a:lnTo>
                    <a:pt x="13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48" name="Freeform 190"/>
            <p:cNvSpPr>
              <a:spLocks/>
            </p:cNvSpPr>
            <p:nvPr>
              <p:custDataLst>
                <p:tags r:id="rId133"/>
              </p:custDataLst>
            </p:nvPr>
          </p:nvSpPr>
          <p:spPr bwMode="auto">
            <a:xfrm>
              <a:off x="9360532" y="4677214"/>
              <a:ext cx="36512" cy="22225"/>
            </a:xfrm>
            <a:custGeom>
              <a:avLst/>
              <a:gdLst>
                <a:gd name="T0" fmla="*/ 2147483647 w 87"/>
                <a:gd name="T1" fmla="*/ 2147483647 h 42"/>
                <a:gd name="T2" fmla="*/ 2147483647 w 87"/>
                <a:gd name="T3" fmla="*/ 2147483647 h 42"/>
                <a:gd name="T4" fmla="*/ 2147483647 w 87"/>
                <a:gd name="T5" fmla="*/ 2147483647 h 42"/>
                <a:gd name="T6" fmla="*/ 2147483647 w 87"/>
                <a:gd name="T7" fmla="*/ 2147483647 h 42"/>
                <a:gd name="T8" fmla="*/ 2147483647 w 87"/>
                <a:gd name="T9" fmla="*/ 2147483647 h 42"/>
                <a:gd name="T10" fmla="*/ 2147483647 w 87"/>
                <a:gd name="T11" fmla="*/ 2147483647 h 42"/>
                <a:gd name="T12" fmla="*/ 2147483647 w 87"/>
                <a:gd name="T13" fmla="*/ 2147483647 h 42"/>
                <a:gd name="T14" fmla="*/ 2147483647 w 87"/>
                <a:gd name="T15" fmla="*/ 2147483647 h 42"/>
                <a:gd name="T16" fmla="*/ 2147483647 w 87"/>
                <a:gd name="T17" fmla="*/ 2147483647 h 42"/>
                <a:gd name="T18" fmla="*/ 2147483647 w 87"/>
                <a:gd name="T19" fmla="*/ 2147483647 h 42"/>
                <a:gd name="T20" fmla="*/ 2147483647 w 87"/>
                <a:gd name="T21" fmla="*/ 2147483647 h 42"/>
                <a:gd name="T22" fmla="*/ 2147483647 w 87"/>
                <a:gd name="T23" fmla="*/ 2147483647 h 42"/>
                <a:gd name="T24" fmla="*/ 2147483647 w 87"/>
                <a:gd name="T25" fmla="*/ 0 h 42"/>
                <a:gd name="T26" fmla="*/ 2147483647 w 87"/>
                <a:gd name="T27" fmla="*/ 0 h 42"/>
                <a:gd name="T28" fmla="*/ 2147483647 w 87"/>
                <a:gd name="T29" fmla="*/ 0 h 42"/>
                <a:gd name="T30" fmla="*/ 2147483647 w 87"/>
                <a:gd name="T31" fmla="*/ 0 h 42"/>
                <a:gd name="T32" fmla="*/ 2147483647 w 87"/>
                <a:gd name="T33" fmla="*/ 2147483647 h 42"/>
                <a:gd name="T34" fmla="*/ 2147483647 w 87"/>
                <a:gd name="T35" fmla="*/ 2147483647 h 42"/>
                <a:gd name="T36" fmla="*/ 2147483647 w 87"/>
                <a:gd name="T37" fmla="*/ 2147483647 h 42"/>
                <a:gd name="T38" fmla="*/ 2147483647 w 87"/>
                <a:gd name="T39" fmla="*/ 2147483647 h 42"/>
                <a:gd name="T40" fmla="*/ 0 w 87"/>
                <a:gd name="T41" fmla="*/ 2147483647 h 42"/>
                <a:gd name="T42" fmla="*/ 2147483647 w 87"/>
                <a:gd name="T43" fmla="*/ 2147483647 h 42"/>
                <a:gd name="T44" fmla="*/ 2147483647 w 87"/>
                <a:gd name="T45" fmla="*/ 2147483647 h 42"/>
                <a:gd name="T46" fmla="*/ 2147483647 w 87"/>
                <a:gd name="T47" fmla="*/ 2147483647 h 42"/>
                <a:gd name="T48" fmla="*/ 2147483647 w 87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87" h="42">
                  <a:moveTo>
                    <a:pt x="54" y="42"/>
                  </a:moveTo>
                  <a:lnTo>
                    <a:pt x="59" y="42"/>
                  </a:lnTo>
                  <a:lnTo>
                    <a:pt x="64" y="41"/>
                  </a:lnTo>
                  <a:lnTo>
                    <a:pt x="68" y="40"/>
                  </a:lnTo>
                  <a:lnTo>
                    <a:pt x="71" y="38"/>
                  </a:lnTo>
                  <a:lnTo>
                    <a:pt x="75" y="34"/>
                  </a:lnTo>
                  <a:lnTo>
                    <a:pt x="78" y="28"/>
                  </a:lnTo>
                  <a:lnTo>
                    <a:pt x="79" y="22"/>
                  </a:lnTo>
                  <a:lnTo>
                    <a:pt x="80" y="16"/>
                  </a:lnTo>
                  <a:lnTo>
                    <a:pt x="82" y="11"/>
                  </a:lnTo>
                  <a:lnTo>
                    <a:pt x="87" y="6"/>
                  </a:lnTo>
                  <a:lnTo>
                    <a:pt x="77" y="2"/>
                  </a:lnTo>
                  <a:lnTo>
                    <a:pt x="67" y="0"/>
                  </a:lnTo>
                  <a:lnTo>
                    <a:pt x="57" y="0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2" y="2"/>
                  </a:lnTo>
                  <a:lnTo>
                    <a:pt x="25" y="4"/>
                  </a:lnTo>
                  <a:lnTo>
                    <a:pt x="19" y="6"/>
                  </a:lnTo>
                  <a:lnTo>
                    <a:pt x="8" y="12"/>
                  </a:lnTo>
                  <a:lnTo>
                    <a:pt x="0" y="18"/>
                  </a:lnTo>
                  <a:lnTo>
                    <a:pt x="11" y="24"/>
                  </a:lnTo>
                  <a:lnTo>
                    <a:pt x="27" y="32"/>
                  </a:lnTo>
                  <a:lnTo>
                    <a:pt x="43" y="39"/>
                  </a:lnTo>
                  <a:lnTo>
                    <a:pt x="54" y="4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49" name="Freeform 191"/>
            <p:cNvSpPr>
              <a:spLocks/>
            </p:cNvSpPr>
            <p:nvPr>
              <p:custDataLst>
                <p:tags r:id="rId134"/>
              </p:custDataLst>
            </p:nvPr>
          </p:nvSpPr>
          <p:spPr bwMode="auto">
            <a:xfrm>
              <a:off x="9605007" y="5140764"/>
              <a:ext cx="1587" cy="14288"/>
            </a:xfrm>
            <a:custGeom>
              <a:avLst/>
              <a:gdLst>
                <a:gd name="T0" fmla="*/ 0 w 7"/>
                <a:gd name="T1" fmla="*/ 0 h 31"/>
                <a:gd name="T2" fmla="*/ 2147483647 w 7"/>
                <a:gd name="T3" fmla="*/ 0 h 31"/>
                <a:gd name="T4" fmla="*/ 2147483647 w 7"/>
                <a:gd name="T5" fmla="*/ 2147483647 h 31"/>
                <a:gd name="T6" fmla="*/ 0 w 7"/>
                <a:gd name="T7" fmla="*/ 2147483647 h 31"/>
                <a:gd name="T8" fmla="*/ 0 w 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" h="31">
                  <a:moveTo>
                    <a:pt x="0" y="0"/>
                  </a:moveTo>
                  <a:lnTo>
                    <a:pt x="7" y="0"/>
                  </a:lnTo>
                  <a:lnTo>
                    <a:pt x="7" y="18"/>
                  </a:lnTo>
                  <a:lnTo>
                    <a:pt x="0" y="3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50" name="Freeform 192"/>
            <p:cNvSpPr>
              <a:spLocks/>
            </p:cNvSpPr>
            <p:nvPr>
              <p:custDataLst>
                <p:tags r:id="rId135"/>
              </p:custDataLst>
            </p:nvPr>
          </p:nvSpPr>
          <p:spPr bwMode="auto">
            <a:xfrm>
              <a:off x="8841419" y="4647052"/>
              <a:ext cx="1019175" cy="908050"/>
            </a:xfrm>
            <a:custGeom>
              <a:avLst/>
              <a:gdLst>
                <a:gd name="T0" fmla="*/ 2147483647 w 2332"/>
                <a:gd name="T1" fmla="*/ 2147483647 h 1731"/>
                <a:gd name="T2" fmla="*/ 2147483647 w 2332"/>
                <a:gd name="T3" fmla="*/ 2147483647 h 1731"/>
                <a:gd name="T4" fmla="*/ 2147483647 w 2332"/>
                <a:gd name="T5" fmla="*/ 2147483647 h 1731"/>
                <a:gd name="T6" fmla="*/ 2147483647 w 2332"/>
                <a:gd name="T7" fmla="*/ 2147483647 h 1731"/>
                <a:gd name="T8" fmla="*/ 2147483647 w 2332"/>
                <a:gd name="T9" fmla="*/ 2147483647 h 1731"/>
                <a:gd name="T10" fmla="*/ 2147483647 w 2332"/>
                <a:gd name="T11" fmla="*/ 2147483647 h 1731"/>
                <a:gd name="T12" fmla="*/ 2147483647 w 2332"/>
                <a:gd name="T13" fmla="*/ 2147483647 h 1731"/>
                <a:gd name="T14" fmla="*/ 2147483647 w 2332"/>
                <a:gd name="T15" fmla="*/ 2147483647 h 1731"/>
                <a:gd name="T16" fmla="*/ 2147483647 w 2332"/>
                <a:gd name="T17" fmla="*/ 2147483647 h 1731"/>
                <a:gd name="T18" fmla="*/ 2147483647 w 2332"/>
                <a:gd name="T19" fmla="*/ 2147483647 h 1731"/>
                <a:gd name="T20" fmla="*/ 2147483647 w 2332"/>
                <a:gd name="T21" fmla="*/ 2147483647 h 1731"/>
                <a:gd name="T22" fmla="*/ 2147483647 w 2332"/>
                <a:gd name="T23" fmla="*/ 2147483647 h 1731"/>
                <a:gd name="T24" fmla="*/ 2147483647 w 2332"/>
                <a:gd name="T25" fmla="*/ 2147483647 h 1731"/>
                <a:gd name="T26" fmla="*/ 2147483647 w 2332"/>
                <a:gd name="T27" fmla="*/ 2147483647 h 1731"/>
                <a:gd name="T28" fmla="*/ 2147483647 w 2332"/>
                <a:gd name="T29" fmla="*/ 2147483647 h 1731"/>
                <a:gd name="T30" fmla="*/ 2147483647 w 2332"/>
                <a:gd name="T31" fmla="*/ 2147483647 h 1731"/>
                <a:gd name="T32" fmla="*/ 2147483647 w 2332"/>
                <a:gd name="T33" fmla="*/ 2147483647 h 1731"/>
                <a:gd name="T34" fmla="*/ 2147483647 w 2332"/>
                <a:gd name="T35" fmla="*/ 2147483647 h 1731"/>
                <a:gd name="T36" fmla="*/ 2147483647 w 2332"/>
                <a:gd name="T37" fmla="*/ 2147483647 h 1731"/>
                <a:gd name="T38" fmla="*/ 2147483647 w 2332"/>
                <a:gd name="T39" fmla="*/ 2147483647 h 1731"/>
                <a:gd name="T40" fmla="*/ 2147483647 w 2332"/>
                <a:gd name="T41" fmla="*/ 2147483647 h 1731"/>
                <a:gd name="T42" fmla="*/ 2147483647 w 2332"/>
                <a:gd name="T43" fmla="*/ 2147483647 h 1731"/>
                <a:gd name="T44" fmla="*/ 2147483647 w 2332"/>
                <a:gd name="T45" fmla="*/ 2147483647 h 1731"/>
                <a:gd name="T46" fmla="*/ 2147483647 w 2332"/>
                <a:gd name="T47" fmla="*/ 2147483647 h 1731"/>
                <a:gd name="T48" fmla="*/ 2147483647 w 2332"/>
                <a:gd name="T49" fmla="*/ 2147483647 h 1731"/>
                <a:gd name="T50" fmla="*/ 2147483647 w 2332"/>
                <a:gd name="T51" fmla="*/ 2147483647 h 1731"/>
                <a:gd name="T52" fmla="*/ 2147483647 w 2332"/>
                <a:gd name="T53" fmla="*/ 2147483647 h 1731"/>
                <a:gd name="T54" fmla="*/ 2147483647 w 2332"/>
                <a:gd name="T55" fmla="*/ 2147483647 h 1731"/>
                <a:gd name="T56" fmla="*/ 2147483647 w 2332"/>
                <a:gd name="T57" fmla="*/ 2147483647 h 1731"/>
                <a:gd name="T58" fmla="*/ 2147483647 w 2332"/>
                <a:gd name="T59" fmla="*/ 2147483647 h 1731"/>
                <a:gd name="T60" fmla="*/ 2147483647 w 2332"/>
                <a:gd name="T61" fmla="*/ 2147483647 h 1731"/>
                <a:gd name="T62" fmla="*/ 2147483647 w 2332"/>
                <a:gd name="T63" fmla="*/ 2147483647 h 1731"/>
                <a:gd name="T64" fmla="*/ 2147483647 w 2332"/>
                <a:gd name="T65" fmla="*/ 2147483647 h 1731"/>
                <a:gd name="T66" fmla="*/ 2147483647 w 2332"/>
                <a:gd name="T67" fmla="*/ 2147483647 h 1731"/>
                <a:gd name="T68" fmla="*/ 2147483647 w 2332"/>
                <a:gd name="T69" fmla="*/ 2147483647 h 1731"/>
                <a:gd name="T70" fmla="*/ 2147483647 w 2332"/>
                <a:gd name="T71" fmla="*/ 2147483647 h 1731"/>
                <a:gd name="T72" fmla="*/ 2147483647 w 2332"/>
                <a:gd name="T73" fmla="*/ 2147483647 h 1731"/>
                <a:gd name="T74" fmla="*/ 2147483647 w 2332"/>
                <a:gd name="T75" fmla="*/ 2147483647 h 1731"/>
                <a:gd name="T76" fmla="*/ 2147483647 w 2332"/>
                <a:gd name="T77" fmla="*/ 2147483647 h 1731"/>
                <a:gd name="T78" fmla="*/ 2147483647 w 2332"/>
                <a:gd name="T79" fmla="*/ 2147483647 h 1731"/>
                <a:gd name="T80" fmla="*/ 2147483647 w 2332"/>
                <a:gd name="T81" fmla="*/ 2147483647 h 1731"/>
                <a:gd name="T82" fmla="*/ 2147483647 w 2332"/>
                <a:gd name="T83" fmla="*/ 2147483647 h 1731"/>
                <a:gd name="T84" fmla="*/ 2147483647 w 2332"/>
                <a:gd name="T85" fmla="*/ 2147483647 h 1731"/>
                <a:gd name="T86" fmla="*/ 2147483647 w 2332"/>
                <a:gd name="T87" fmla="*/ 2147483647 h 1731"/>
                <a:gd name="T88" fmla="*/ 2147483647 w 2332"/>
                <a:gd name="T89" fmla="*/ 2147483647 h 1731"/>
                <a:gd name="T90" fmla="*/ 2147483647 w 2332"/>
                <a:gd name="T91" fmla="*/ 2147483647 h 1731"/>
                <a:gd name="T92" fmla="*/ 2147483647 w 2332"/>
                <a:gd name="T93" fmla="*/ 2147483647 h 1731"/>
                <a:gd name="T94" fmla="*/ 2147483647 w 2332"/>
                <a:gd name="T95" fmla="*/ 2147483647 h 1731"/>
                <a:gd name="T96" fmla="*/ 2147483647 w 2332"/>
                <a:gd name="T97" fmla="*/ 2147483647 h 1731"/>
                <a:gd name="T98" fmla="*/ 2147483647 w 2332"/>
                <a:gd name="T99" fmla="*/ 2147483647 h 1731"/>
                <a:gd name="T100" fmla="*/ 2147483647 w 2332"/>
                <a:gd name="T101" fmla="*/ 2147483647 h 1731"/>
                <a:gd name="T102" fmla="*/ 2147483647 w 2332"/>
                <a:gd name="T103" fmla="*/ 2147483647 h 1731"/>
                <a:gd name="T104" fmla="*/ 2147483647 w 2332"/>
                <a:gd name="T105" fmla="*/ 2147483647 h 1731"/>
                <a:gd name="T106" fmla="*/ 2147483647 w 2332"/>
                <a:gd name="T107" fmla="*/ 2147483647 h 1731"/>
                <a:gd name="T108" fmla="*/ 2147483647 w 2332"/>
                <a:gd name="T109" fmla="*/ 2147483647 h 1731"/>
                <a:gd name="T110" fmla="*/ 2147483647 w 2332"/>
                <a:gd name="T111" fmla="*/ 2147483647 h 1731"/>
                <a:gd name="T112" fmla="*/ 2147483647 w 2332"/>
                <a:gd name="T113" fmla="*/ 2147483647 h 1731"/>
                <a:gd name="T114" fmla="*/ 2147483647 w 2332"/>
                <a:gd name="T115" fmla="*/ 2147483647 h 1731"/>
                <a:gd name="T116" fmla="*/ 2147483647 w 2332"/>
                <a:gd name="T117" fmla="*/ 2147483647 h 173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332" h="1731">
                  <a:moveTo>
                    <a:pt x="153" y="721"/>
                  </a:moveTo>
                  <a:lnTo>
                    <a:pt x="156" y="727"/>
                  </a:lnTo>
                  <a:lnTo>
                    <a:pt x="159" y="732"/>
                  </a:lnTo>
                  <a:lnTo>
                    <a:pt x="162" y="735"/>
                  </a:lnTo>
                  <a:lnTo>
                    <a:pt x="167" y="738"/>
                  </a:lnTo>
                  <a:lnTo>
                    <a:pt x="173" y="744"/>
                  </a:lnTo>
                  <a:lnTo>
                    <a:pt x="180" y="751"/>
                  </a:lnTo>
                  <a:lnTo>
                    <a:pt x="189" y="744"/>
                  </a:lnTo>
                  <a:lnTo>
                    <a:pt x="195" y="737"/>
                  </a:lnTo>
                  <a:lnTo>
                    <a:pt x="201" y="729"/>
                  </a:lnTo>
                  <a:lnTo>
                    <a:pt x="205" y="722"/>
                  </a:lnTo>
                  <a:lnTo>
                    <a:pt x="210" y="714"/>
                  </a:lnTo>
                  <a:lnTo>
                    <a:pt x="214" y="707"/>
                  </a:lnTo>
                  <a:lnTo>
                    <a:pt x="219" y="701"/>
                  </a:lnTo>
                  <a:lnTo>
                    <a:pt x="226" y="696"/>
                  </a:lnTo>
                  <a:lnTo>
                    <a:pt x="234" y="690"/>
                  </a:lnTo>
                  <a:lnTo>
                    <a:pt x="241" y="685"/>
                  </a:lnTo>
                  <a:lnTo>
                    <a:pt x="249" y="680"/>
                  </a:lnTo>
                  <a:lnTo>
                    <a:pt x="258" y="677"/>
                  </a:lnTo>
                  <a:lnTo>
                    <a:pt x="274" y="672"/>
                  </a:lnTo>
                  <a:lnTo>
                    <a:pt x="290" y="667"/>
                  </a:lnTo>
                  <a:lnTo>
                    <a:pt x="297" y="665"/>
                  </a:lnTo>
                  <a:lnTo>
                    <a:pt x="305" y="661"/>
                  </a:lnTo>
                  <a:lnTo>
                    <a:pt x="312" y="658"/>
                  </a:lnTo>
                  <a:lnTo>
                    <a:pt x="318" y="654"/>
                  </a:lnTo>
                  <a:lnTo>
                    <a:pt x="325" y="649"/>
                  </a:lnTo>
                  <a:lnTo>
                    <a:pt x="330" y="644"/>
                  </a:lnTo>
                  <a:lnTo>
                    <a:pt x="335" y="637"/>
                  </a:lnTo>
                  <a:lnTo>
                    <a:pt x="339" y="628"/>
                  </a:lnTo>
                  <a:lnTo>
                    <a:pt x="360" y="631"/>
                  </a:lnTo>
                  <a:lnTo>
                    <a:pt x="370" y="631"/>
                  </a:lnTo>
                  <a:lnTo>
                    <a:pt x="375" y="629"/>
                  </a:lnTo>
                  <a:lnTo>
                    <a:pt x="385" y="628"/>
                  </a:lnTo>
                  <a:lnTo>
                    <a:pt x="393" y="628"/>
                  </a:lnTo>
                  <a:lnTo>
                    <a:pt x="400" y="627"/>
                  </a:lnTo>
                  <a:lnTo>
                    <a:pt x="405" y="624"/>
                  </a:lnTo>
                  <a:lnTo>
                    <a:pt x="412" y="622"/>
                  </a:lnTo>
                  <a:lnTo>
                    <a:pt x="423" y="615"/>
                  </a:lnTo>
                  <a:lnTo>
                    <a:pt x="435" y="606"/>
                  </a:lnTo>
                  <a:lnTo>
                    <a:pt x="447" y="598"/>
                  </a:lnTo>
                  <a:lnTo>
                    <a:pt x="461" y="592"/>
                  </a:lnTo>
                  <a:lnTo>
                    <a:pt x="469" y="589"/>
                  </a:lnTo>
                  <a:lnTo>
                    <a:pt x="478" y="587"/>
                  </a:lnTo>
                  <a:lnTo>
                    <a:pt x="487" y="585"/>
                  </a:lnTo>
                  <a:lnTo>
                    <a:pt x="498" y="585"/>
                  </a:lnTo>
                  <a:lnTo>
                    <a:pt x="520" y="585"/>
                  </a:lnTo>
                  <a:lnTo>
                    <a:pt x="544" y="584"/>
                  </a:lnTo>
                  <a:lnTo>
                    <a:pt x="558" y="584"/>
                  </a:lnTo>
                  <a:lnTo>
                    <a:pt x="570" y="582"/>
                  </a:lnTo>
                  <a:lnTo>
                    <a:pt x="581" y="581"/>
                  </a:lnTo>
                  <a:lnTo>
                    <a:pt x="592" y="579"/>
                  </a:lnTo>
                  <a:lnTo>
                    <a:pt x="605" y="570"/>
                  </a:lnTo>
                  <a:lnTo>
                    <a:pt x="619" y="558"/>
                  </a:lnTo>
                  <a:lnTo>
                    <a:pt x="635" y="542"/>
                  </a:lnTo>
                  <a:lnTo>
                    <a:pt x="650" y="525"/>
                  </a:lnTo>
                  <a:lnTo>
                    <a:pt x="664" y="508"/>
                  </a:lnTo>
                  <a:lnTo>
                    <a:pt x="677" y="490"/>
                  </a:lnTo>
                  <a:lnTo>
                    <a:pt x="688" y="475"/>
                  </a:lnTo>
                  <a:lnTo>
                    <a:pt x="698" y="462"/>
                  </a:lnTo>
                  <a:lnTo>
                    <a:pt x="695" y="461"/>
                  </a:lnTo>
                  <a:lnTo>
                    <a:pt x="693" y="459"/>
                  </a:lnTo>
                  <a:lnTo>
                    <a:pt x="691" y="456"/>
                  </a:lnTo>
                  <a:lnTo>
                    <a:pt x="688" y="452"/>
                  </a:lnTo>
                  <a:lnTo>
                    <a:pt x="683" y="444"/>
                  </a:lnTo>
                  <a:lnTo>
                    <a:pt x="677" y="437"/>
                  </a:lnTo>
                  <a:lnTo>
                    <a:pt x="688" y="432"/>
                  </a:lnTo>
                  <a:lnTo>
                    <a:pt x="697" y="426"/>
                  </a:lnTo>
                  <a:lnTo>
                    <a:pt x="705" y="419"/>
                  </a:lnTo>
                  <a:lnTo>
                    <a:pt x="710" y="413"/>
                  </a:lnTo>
                  <a:lnTo>
                    <a:pt x="716" y="406"/>
                  </a:lnTo>
                  <a:lnTo>
                    <a:pt x="721" y="399"/>
                  </a:lnTo>
                  <a:lnTo>
                    <a:pt x="729" y="393"/>
                  </a:lnTo>
                  <a:lnTo>
                    <a:pt x="738" y="388"/>
                  </a:lnTo>
                  <a:lnTo>
                    <a:pt x="739" y="399"/>
                  </a:lnTo>
                  <a:lnTo>
                    <a:pt x="741" y="409"/>
                  </a:lnTo>
                  <a:lnTo>
                    <a:pt x="744" y="418"/>
                  </a:lnTo>
                  <a:lnTo>
                    <a:pt x="749" y="425"/>
                  </a:lnTo>
                  <a:lnTo>
                    <a:pt x="758" y="439"/>
                  </a:lnTo>
                  <a:lnTo>
                    <a:pt x="764" y="450"/>
                  </a:lnTo>
                  <a:lnTo>
                    <a:pt x="768" y="437"/>
                  </a:lnTo>
                  <a:lnTo>
                    <a:pt x="770" y="428"/>
                  </a:lnTo>
                  <a:lnTo>
                    <a:pt x="771" y="418"/>
                  </a:lnTo>
                  <a:lnTo>
                    <a:pt x="771" y="406"/>
                  </a:lnTo>
                  <a:lnTo>
                    <a:pt x="775" y="402"/>
                  </a:lnTo>
                  <a:lnTo>
                    <a:pt x="776" y="397"/>
                  </a:lnTo>
                  <a:lnTo>
                    <a:pt x="777" y="391"/>
                  </a:lnTo>
                  <a:lnTo>
                    <a:pt x="777" y="385"/>
                  </a:lnTo>
                  <a:lnTo>
                    <a:pt x="777" y="379"/>
                  </a:lnTo>
                  <a:lnTo>
                    <a:pt x="778" y="373"/>
                  </a:lnTo>
                  <a:lnTo>
                    <a:pt x="781" y="368"/>
                  </a:lnTo>
                  <a:lnTo>
                    <a:pt x="784" y="363"/>
                  </a:lnTo>
                  <a:lnTo>
                    <a:pt x="787" y="370"/>
                  </a:lnTo>
                  <a:lnTo>
                    <a:pt x="790" y="381"/>
                  </a:lnTo>
                  <a:lnTo>
                    <a:pt x="838" y="381"/>
                  </a:lnTo>
                  <a:lnTo>
                    <a:pt x="833" y="369"/>
                  </a:lnTo>
                  <a:lnTo>
                    <a:pt x="832" y="358"/>
                  </a:lnTo>
                  <a:lnTo>
                    <a:pt x="831" y="349"/>
                  </a:lnTo>
                  <a:lnTo>
                    <a:pt x="832" y="341"/>
                  </a:lnTo>
                  <a:lnTo>
                    <a:pt x="835" y="327"/>
                  </a:lnTo>
                  <a:lnTo>
                    <a:pt x="838" y="314"/>
                  </a:lnTo>
                  <a:lnTo>
                    <a:pt x="852" y="315"/>
                  </a:lnTo>
                  <a:lnTo>
                    <a:pt x="860" y="316"/>
                  </a:lnTo>
                  <a:lnTo>
                    <a:pt x="863" y="316"/>
                  </a:lnTo>
                  <a:lnTo>
                    <a:pt x="866" y="316"/>
                  </a:lnTo>
                  <a:lnTo>
                    <a:pt x="871" y="315"/>
                  </a:lnTo>
                  <a:lnTo>
                    <a:pt x="877" y="314"/>
                  </a:lnTo>
                  <a:lnTo>
                    <a:pt x="885" y="295"/>
                  </a:lnTo>
                  <a:lnTo>
                    <a:pt x="891" y="281"/>
                  </a:lnTo>
                  <a:lnTo>
                    <a:pt x="898" y="268"/>
                  </a:lnTo>
                  <a:lnTo>
                    <a:pt x="910" y="252"/>
                  </a:lnTo>
                  <a:lnTo>
                    <a:pt x="916" y="255"/>
                  </a:lnTo>
                  <a:lnTo>
                    <a:pt x="921" y="256"/>
                  </a:lnTo>
                  <a:lnTo>
                    <a:pt x="925" y="256"/>
                  </a:lnTo>
                  <a:lnTo>
                    <a:pt x="930" y="255"/>
                  </a:lnTo>
                  <a:lnTo>
                    <a:pt x="933" y="253"/>
                  </a:lnTo>
                  <a:lnTo>
                    <a:pt x="935" y="250"/>
                  </a:lnTo>
                  <a:lnTo>
                    <a:pt x="939" y="246"/>
                  </a:lnTo>
                  <a:lnTo>
                    <a:pt x="940" y="242"/>
                  </a:lnTo>
                  <a:lnTo>
                    <a:pt x="946" y="224"/>
                  </a:lnTo>
                  <a:lnTo>
                    <a:pt x="951" y="209"/>
                  </a:lnTo>
                  <a:lnTo>
                    <a:pt x="957" y="212"/>
                  </a:lnTo>
                  <a:lnTo>
                    <a:pt x="965" y="214"/>
                  </a:lnTo>
                  <a:lnTo>
                    <a:pt x="973" y="215"/>
                  </a:lnTo>
                  <a:lnTo>
                    <a:pt x="980" y="214"/>
                  </a:lnTo>
                  <a:lnTo>
                    <a:pt x="989" y="214"/>
                  </a:lnTo>
                  <a:lnTo>
                    <a:pt x="998" y="213"/>
                  </a:lnTo>
                  <a:lnTo>
                    <a:pt x="1007" y="213"/>
                  </a:lnTo>
                  <a:lnTo>
                    <a:pt x="1017" y="215"/>
                  </a:lnTo>
                  <a:lnTo>
                    <a:pt x="1022" y="219"/>
                  </a:lnTo>
                  <a:lnTo>
                    <a:pt x="1027" y="223"/>
                  </a:lnTo>
                  <a:lnTo>
                    <a:pt x="1031" y="227"/>
                  </a:lnTo>
                  <a:lnTo>
                    <a:pt x="1033" y="232"/>
                  </a:lnTo>
                  <a:lnTo>
                    <a:pt x="1037" y="244"/>
                  </a:lnTo>
                  <a:lnTo>
                    <a:pt x="1040" y="257"/>
                  </a:lnTo>
                  <a:lnTo>
                    <a:pt x="1043" y="269"/>
                  </a:lnTo>
                  <a:lnTo>
                    <a:pt x="1046" y="280"/>
                  </a:lnTo>
                  <a:lnTo>
                    <a:pt x="1050" y="284"/>
                  </a:lnTo>
                  <a:lnTo>
                    <a:pt x="1053" y="287"/>
                  </a:lnTo>
                  <a:lnTo>
                    <a:pt x="1057" y="289"/>
                  </a:lnTo>
                  <a:lnTo>
                    <a:pt x="1063" y="290"/>
                  </a:lnTo>
                  <a:lnTo>
                    <a:pt x="1069" y="289"/>
                  </a:lnTo>
                  <a:lnTo>
                    <a:pt x="1076" y="286"/>
                  </a:lnTo>
                  <a:lnTo>
                    <a:pt x="1078" y="284"/>
                  </a:lnTo>
                  <a:lnTo>
                    <a:pt x="1081" y="282"/>
                  </a:lnTo>
                  <a:lnTo>
                    <a:pt x="1083" y="280"/>
                  </a:lnTo>
                  <a:lnTo>
                    <a:pt x="1084" y="277"/>
                  </a:lnTo>
                  <a:lnTo>
                    <a:pt x="1088" y="279"/>
                  </a:lnTo>
                  <a:lnTo>
                    <a:pt x="1092" y="280"/>
                  </a:lnTo>
                  <a:lnTo>
                    <a:pt x="1096" y="280"/>
                  </a:lnTo>
                  <a:lnTo>
                    <a:pt x="1099" y="280"/>
                  </a:lnTo>
                  <a:lnTo>
                    <a:pt x="1104" y="278"/>
                  </a:lnTo>
                  <a:lnTo>
                    <a:pt x="1110" y="277"/>
                  </a:lnTo>
                  <a:lnTo>
                    <a:pt x="1120" y="277"/>
                  </a:lnTo>
                  <a:lnTo>
                    <a:pt x="1128" y="276"/>
                  </a:lnTo>
                  <a:lnTo>
                    <a:pt x="1133" y="274"/>
                  </a:lnTo>
                  <a:lnTo>
                    <a:pt x="1135" y="270"/>
                  </a:lnTo>
                  <a:lnTo>
                    <a:pt x="1136" y="261"/>
                  </a:lnTo>
                  <a:lnTo>
                    <a:pt x="1136" y="246"/>
                  </a:lnTo>
                  <a:lnTo>
                    <a:pt x="1136" y="240"/>
                  </a:lnTo>
                  <a:lnTo>
                    <a:pt x="1137" y="234"/>
                  </a:lnTo>
                  <a:lnTo>
                    <a:pt x="1140" y="228"/>
                  </a:lnTo>
                  <a:lnTo>
                    <a:pt x="1143" y="223"/>
                  </a:lnTo>
                  <a:lnTo>
                    <a:pt x="1148" y="212"/>
                  </a:lnTo>
                  <a:lnTo>
                    <a:pt x="1156" y="204"/>
                  </a:lnTo>
                  <a:lnTo>
                    <a:pt x="1164" y="195"/>
                  </a:lnTo>
                  <a:lnTo>
                    <a:pt x="1170" y="186"/>
                  </a:lnTo>
                  <a:lnTo>
                    <a:pt x="1173" y="182"/>
                  </a:lnTo>
                  <a:lnTo>
                    <a:pt x="1175" y="177"/>
                  </a:lnTo>
                  <a:lnTo>
                    <a:pt x="1176" y="172"/>
                  </a:lnTo>
                  <a:lnTo>
                    <a:pt x="1176" y="167"/>
                  </a:lnTo>
                  <a:lnTo>
                    <a:pt x="1189" y="154"/>
                  </a:lnTo>
                  <a:lnTo>
                    <a:pt x="1201" y="146"/>
                  </a:lnTo>
                  <a:lnTo>
                    <a:pt x="1213" y="139"/>
                  </a:lnTo>
                  <a:lnTo>
                    <a:pt x="1225" y="134"/>
                  </a:lnTo>
                  <a:lnTo>
                    <a:pt x="1237" y="131"/>
                  </a:lnTo>
                  <a:lnTo>
                    <a:pt x="1248" y="128"/>
                  </a:lnTo>
                  <a:lnTo>
                    <a:pt x="1259" y="127"/>
                  </a:lnTo>
                  <a:lnTo>
                    <a:pt x="1270" y="126"/>
                  </a:lnTo>
                  <a:lnTo>
                    <a:pt x="1289" y="125"/>
                  </a:lnTo>
                  <a:lnTo>
                    <a:pt x="1305" y="123"/>
                  </a:lnTo>
                  <a:lnTo>
                    <a:pt x="1313" y="121"/>
                  </a:lnTo>
                  <a:lnTo>
                    <a:pt x="1320" y="117"/>
                  </a:lnTo>
                  <a:lnTo>
                    <a:pt x="1324" y="112"/>
                  </a:lnTo>
                  <a:lnTo>
                    <a:pt x="1328" y="104"/>
                  </a:lnTo>
                  <a:lnTo>
                    <a:pt x="1322" y="94"/>
                  </a:lnTo>
                  <a:lnTo>
                    <a:pt x="1314" y="86"/>
                  </a:lnTo>
                  <a:lnTo>
                    <a:pt x="1308" y="80"/>
                  </a:lnTo>
                  <a:lnTo>
                    <a:pt x="1301" y="75"/>
                  </a:lnTo>
                  <a:lnTo>
                    <a:pt x="1297" y="69"/>
                  </a:lnTo>
                  <a:lnTo>
                    <a:pt x="1292" y="64"/>
                  </a:lnTo>
                  <a:lnTo>
                    <a:pt x="1290" y="58"/>
                  </a:lnTo>
                  <a:lnTo>
                    <a:pt x="1289" y="49"/>
                  </a:lnTo>
                  <a:lnTo>
                    <a:pt x="1305" y="48"/>
                  </a:lnTo>
                  <a:lnTo>
                    <a:pt x="1322" y="45"/>
                  </a:lnTo>
                  <a:lnTo>
                    <a:pt x="1336" y="41"/>
                  </a:lnTo>
                  <a:lnTo>
                    <a:pt x="1349" y="36"/>
                  </a:lnTo>
                  <a:lnTo>
                    <a:pt x="1352" y="46"/>
                  </a:lnTo>
                  <a:lnTo>
                    <a:pt x="1356" y="56"/>
                  </a:lnTo>
                  <a:lnTo>
                    <a:pt x="1360" y="64"/>
                  </a:lnTo>
                  <a:lnTo>
                    <a:pt x="1366" y="72"/>
                  </a:lnTo>
                  <a:lnTo>
                    <a:pt x="1372" y="78"/>
                  </a:lnTo>
                  <a:lnTo>
                    <a:pt x="1379" y="84"/>
                  </a:lnTo>
                  <a:lnTo>
                    <a:pt x="1387" y="90"/>
                  </a:lnTo>
                  <a:lnTo>
                    <a:pt x="1394" y="94"/>
                  </a:lnTo>
                  <a:lnTo>
                    <a:pt x="1403" y="98"/>
                  </a:lnTo>
                  <a:lnTo>
                    <a:pt x="1412" y="101"/>
                  </a:lnTo>
                  <a:lnTo>
                    <a:pt x="1422" y="104"/>
                  </a:lnTo>
                  <a:lnTo>
                    <a:pt x="1432" y="107"/>
                  </a:lnTo>
                  <a:lnTo>
                    <a:pt x="1443" y="109"/>
                  </a:lnTo>
                  <a:lnTo>
                    <a:pt x="1453" y="110"/>
                  </a:lnTo>
                  <a:lnTo>
                    <a:pt x="1464" y="111"/>
                  </a:lnTo>
                  <a:lnTo>
                    <a:pt x="1476" y="111"/>
                  </a:lnTo>
                  <a:lnTo>
                    <a:pt x="1481" y="110"/>
                  </a:lnTo>
                  <a:lnTo>
                    <a:pt x="1489" y="108"/>
                  </a:lnTo>
                  <a:lnTo>
                    <a:pt x="1499" y="105"/>
                  </a:lnTo>
                  <a:lnTo>
                    <a:pt x="1509" y="104"/>
                  </a:lnTo>
                  <a:lnTo>
                    <a:pt x="1514" y="109"/>
                  </a:lnTo>
                  <a:lnTo>
                    <a:pt x="1523" y="113"/>
                  </a:lnTo>
                  <a:lnTo>
                    <a:pt x="1532" y="116"/>
                  </a:lnTo>
                  <a:lnTo>
                    <a:pt x="1541" y="117"/>
                  </a:lnTo>
                  <a:lnTo>
                    <a:pt x="1544" y="117"/>
                  </a:lnTo>
                  <a:lnTo>
                    <a:pt x="1547" y="115"/>
                  </a:lnTo>
                  <a:lnTo>
                    <a:pt x="1549" y="113"/>
                  </a:lnTo>
                  <a:lnTo>
                    <a:pt x="1551" y="110"/>
                  </a:lnTo>
                  <a:lnTo>
                    <a:pt x="1557" y="103"/>
                  </a:lnTo>
                  <a:lnTo>
                    <a:pt x="1561" y="98"/>
                  </a:lnTo>
                  <a:lnTo>
                    <a:pt x="1561" y="135"/>
                  </a:lnTo>
                  <a:lnTo>
                    <a:pt x="1556" y="146"/>
                  </a:lnTo>
                  <a:lnTo>
                    <a:pt x="1545" y="163"/>
                  </a:lnTo>
                  <a:lnTo>
                    <a:pt x="1530" y="183"/>
                  </a:lnTo>
                  <a:lnTo>
                    <a:pt x="1513" y="205"/>
                  </a:lnTo>
                  <a:lnTo>
                    <a:pt x="1495" y="228"/>
                  </a:lnTo>
                  <a:lnTo>
                    <a:pt x="1479" y="247"/>
                  </a:lnTo>
                  <a:lnTo>
                    <a:pt x="1465" y="262"/>
                  </a:lnTo>
                  <a:lnTo>
                    <a:pt x="1455" y="270"/>
                  </a:lnTo>
                  <a:lnTo>
                    <a:pt x="1464" y="275"/>
                  </a:lnTo>
                  <a:lnTo>
                    <a:pt x="1470" y="278"/>
                  </a:lnTo>
                  <a:lnTo>
                    <a:pt x="1474" y="282"/>
                  </a:lnTo>
                  <a:lnTo>
                    <a:pt x="1479" y="286"/>
                  </a:lnTo>
                  <a:lnTo>
                    <a:pt x="1485" y="294"/>
                  </a:lnTo>
                  <a:lnTo>
                    <a:pt x="1489" y="302"/>
                  </a:lnTo>
                  <a:lnTo>
                    <a:pt x="1492" y="310"/>
                  </a:lnTo>
                  <a:lnTo>
                    <a:pt x="1495" y="317"/>
                  </a:lnTo>
                  <a:lnTo>
                    <a:pt x="1498" y="321"/>
                  </a:lnTo>
                  <a:lnTo>
                    <a:pt x="1500" y="325"/>
                  </a:lnTo>
                  <a:lnTo>
                    <a:pt x="1504" y="328"/>
                  </a:lnTo>
                  <a:lnTo>
                    <a:pt x="1509" y="333"/>
                  </a:lnTo>
                  <a:lnTo>
                    <a:pt x="1514" y="336"/>
                  </a:lnTo>
                  <a:lnTo>
                    <a:pt x="1520" y="338"/>
                  </a:lnTo>
                  <a:lnTo>
                    <a:pt x="1525" y="339"/>
                  </a:lnTo>
                  <a:lnTo>
                    <a:pt x="1532" y="338"/>
                  </a:lnTo>
                  <a:lnTo>
                    <a:pt x="1538" y="338"/>
                  </a:lnTo>
                  <a:lnTo>
                    <a:pt x="1544" y="337"/>
                  </a:lnTo>
                  <a:lnTo>
                    <a:pt x="1549" y="337"/>
                  </a:lnTo>
                  <a:lnTo>
                    <a:pt x="1555" y="339"/>
                  </a:lnTo>
                  <a:lnTo>
                    <a:pt x="1560" y="340"/>
                  </a:lnTo>
                  <a:lnTo>
                    <a:pt x="1566" y="342"/>
                  </a:lnTo>
                  <a:lnTo>
                    <a:pt x="1570" y="345"/>
                  </a:lnTo>
                  <a:lnTo>
                    <a:pt x="1574" y="347"/>
                  </a:lnTo>
                  <a:lnTo>
                    <a:pt x="1582" y="354"/>
                  </a:lnTo>
                  <a:lnTo>
                    <a:pt x="1588" y="361"/>
                  </a:lnTo>
                  <a:lnTo>
                    <a:pt x="1594" y="368"/>
                  </a:lnTo>
                  <a:lnTo>
                    <a:pt x="1602" y="376"/>
                  </a:lnTo>
                  <a:lnTo>
                    <a:pt x="1605" y="379"/>
                  </a:lnTo>
                  <a:lnTo>
                    <a:pt x="1611" y="382"/>
                  </a:lnTo>
                  <a:lnTo>
                    <a:pt x="1615" y="386"/>
                  </a:lnTo>
                  <a:lnTo>
                    <a:pt x="1622" y="388"/>
                  </a:lnTo>
                  <a:lnTo>
                    <a:pt x="1629" y="391"/>
                  </a:lnTo>
                  <a:lnTo>
                    <a:pt x="1637" y="394"/>
                  </a:lnTo>
                  <a:lnTo>
                    <a:pt x="1644" y="398"/>
                  </a:lnTo>
                  <a:lnTo>
                    <a:pt x="1649" y="403"/>
                  </a:lnTo>
                  <a:lnTo>
                    <a:pt x="1659" y="413"/>
                  </a:lnTo>
                  <a:lnTo>
                    <a:pt x="1668" y="423"/>
                  </a:lnTo>
                  <a:lnTo>
                    <a:pt x="1677" y="433"/>
                  </a:lnTo>
                  <a:lnTo>
                    <a:pt x="1686" y="442"/>
                  </a:lnTo>
                  <a:lnTo>
                    <a:pt x="1692" y="445"/>
                  </a:lnTo>
                  <a:lnTo>
                    <a:pt x="1698" y="448"/>
                  </a:lnTo>
                  <a:lnTo>
                    <a:pt x="1706" y="449"/>
                  </a:lnTo>
                  <a:lnTo>
                    <a:pt x="1714" y="450"/>
                  </a:lnTo>
                  <a:lnTo>
                    <a:pt x="1719" y="449"/>
                  </a:lnTo>
                  <a:lnTo>
                    <a:pt x="1724" y="448"/>
                  </a:lnTo>
                  <a:lnTo>
                    <a:pt x="1729" y="446"/>
                  </a:lnTo>
                  <a:lnTo>
                    <a:pt x="1735" y="444"/>
                  </a:lnTo>
                  <a:lnTo>
                    <a:pt x="1745" y="435"/>
                  </a:lnTo>
                  <a:lnTo>
                    <a:pt x="1754" y="425"/>
                  </a:lnTo>
                  <a:lnTo>
                    <a:pt x="1764" y="413"/>
                  </a:lnTo>
                  <a:lnTo>
                    <a:pt x="1773" y="400"/>
                  </a:lnTo>
                  <a:lnTo>
                    <a:pt x="1782" y="385"/>
                  </a:lnTo>
                  <a:lnTo>
                    <a:pt x="1791" y="368"/>
                  </a:lnTo>
                  <a:lnTo>
                    <a:pt x="1798" y="351"/>
                  </a:lnTo>
                  <a:lnTo>
                    <a:pt x="1805" y="334"/>
                  </a:lnTo>
                  <a:lnTo>
                    <a:pt x="1812" y="316"/>
                  </a:lnTo>
                  <a:lnTo>
                    <a:pt x="1817" y="299"/>
                  </a:lnTo>
                  <a:lnTo>
                    <a:pt x="1821" y="283"/>
                  </a:lnTo>
                  <a:lnTo>
                    <a:pt x="1825" y="266"/>
                  </a:lnTo>
                  <a:lnTo>
                    <a:pt x="1827" y="252"/>
                  </a:lnTo>
                  <a:lnTo>
                    <a:pt x="1827" y="240"/>
                  </a:lnTo>
                  <a:lnTo>
                    <a:pt x="1828" y="223"/>
                  </a:lnTo>
                  <a:lnTo>
                    <a:pt x="1830" y="205"/>
                  </a:lnTo>
                  <a:lnTo>
                    <a:pt x="1834" y="189"/>
                  </a:lnTo>
                  <a:lnTo>
                    <a:pt x="1839" y="174"/>
                  </a:lnTo>
                  <a:lnTo>
                    <a:pt x="1845" y="159"/>
                  </a:lnTo>
                  <a:lnTo>
                    <a:pt x="1850" y="145"/>
                  </a:lnTo>
                  <a:lnTo>
                    <a:pt x="1857" y="131"/>
                  </a:lnTo>
                  <a:lnTo>
                    <a:pt x="1863" y="118"/>
                  </a:lnTo>
                  <a:lnTo>
                    <a:pt x="1877" y="90"/>
                  </a:lnTo>
                  <a:lnTo>
                    <a:pt x="1888" y="63"/>
                  </a:lnTo>
                  <a:lnTo>
                    <a:pt x="1894" y="47"/>
                  </a:lnTo>
                  <a:lnTo>
                    <a:pt x="1897" y="32"/>
                  </a:lnTo>
                  <a:lnTo>
                    <a:pt x="1899" y="17"/>
                  </a:lnTo>
                  <a:lnTo>
                    <a:pt x="1901" y="0"/>
                  </a:lnTo>
                  <a:lnTo>
                    <a:pt x="1904" y="10"/>
                  </a:lnTo>
                  <a:lnTo>
                    <a:pt x="1909" y="21"/>
                  </a:lnTo>
                  <a:lnTo>
                    <a:pt x="1917" y="32"/>
                  </a:lnTo>
                  <a:lnTo>
                    <a:pt x="1925" y="43"/>
                  </a:lnTo>
                  <a:lnTo>
                    <a:pt x="1932" y="55"/>
                  </a:lnTo>
                  <a:lnTo>
                    <a:pt x="1940" y="63"/>
                  </a:lnTo>
                  <a:lnTo>
                    <a:pt x="1948" y="70"/>
                  </a:lnTo>
                  <a:lnTo>
                    <a:pt x="1953" y="74"/>
                  </a:lnTo>
                  <a:lnTo>
                    <a:pt x="1952" y="76"/>
                  </a:lnTo>
                  <a:lnTo>
                    <a:pt x="1950" y="77"/>
                  </a:lnTo>
                  <a:lnTo>
                    <a:pt x="1947" y="78"/>
                  </a:lnTo>
                  <a:lnTo>
                    <a:pt x="1943" y="79"/>
                  </a:lnTo>
                  <a:lnTo>
                    <a:pt x="1937" y="80"/>
                  </a:lnTo>
                  <a:lnTo>
                    <a:pt x="1933" y="80"/>
                  </a:lnTo>
                  <a:lnTo>
                    <a:pt x="1935" y="90"/>
                  </a:lnTo>
                  <a:lnTo>
                    <a:pt x="1937" y="98"/>
                  </a:lnTo>
                  <a:lnTo>
                    <a:pt x="1940" y="104"/>
                  </a:lnTo>
                  <a:lnTo>
                    <a:pt x="1943" y="110"/>
                  </a:lnTo>
                  <a:lnTo>
                    <a:pt x="1947" y="115"/>
                  </a:lnTo>
                  <a:lnTo>
                    <a:pt x="1950" y="121"/>
                  </a:lnTo>
                  <a:lnTo>
                    <a:pt x="1952" y="127"/>
                  </a:lnTo>
                  <a:lnTo>
                    <a:pt x="1953" y="135"/>
                  </a:lnTo>
                  <a:lnTo>
                    <a:pt x="1953" y="144"/>
                  </a:lnTo>
                  <a:lnTo>
                    <a:pt x="1951" y="152"/>
                  </a:lnTo>
                  <a:lnTo>
                    <a:pt x="1949" y="160"/>
                  </a:lnTo>
                  <a:lnTo>
                    <a:pt x="1947" y="169"/>
                  </a:lnTo>
                  <a:lnTo>
                    <a:pt x="1944" y="176"/>
                  </a:lnTo>
                  <a:lnTo>
                    <a:pt x="1942" y="183"/>
                  </a:lnTo>
                  <a:lnTo>
                    <a:pt x="1941" y="190"/>
                  </a:lnTo>
                  <a:lnTo>
                    <a:pt x="1940" y="197"/>
                  </a:lnTo>
                  <a:lnTo>
                    <a:pt x="1940" y="201"/>
                  </a:lnTo>
                  <a:lnTo>
                    <a:pt x="1941" y="206"/>
                  </a:lnTo>
                  <a:lnTo>
                    <a:pt x="1942" y="210"/>
                  </a:lnTo>
                  <a:lnTo>
                    <a:pt x="1944" y="214"/>
                  </a:lnTo>
                  <a:lnTo>
                    <a:pt x="1950" y="222"/>
                  </a:lnTo>
                  <a:lnTo>
                    <a:pt x="1955" y="228"/>
                  </a:lnTo>
                  <a:lnTo>
                    <a:pt x="1963" y="233"/>
                  </a:lnTo>
                  <a:lnTo>
                    <a:pt x="1971" y="237"/>
                  </a:lnTo>
                  <a:lnTo>
                    <a:pt x="1978" y="239"/>
                  </a:lnTo>
                  <a:lnTo>
                    <a:pt x="1986" y="240"/>
                  </a:lnTo>
                  <a:lnTo>
                    <a:pt x="1987" y="244"/>
                  </a:lnTo>
                  <a:lnTo>
                    <a:pt x="1989" y="248"/>
                  </a:lnTo>
                  <a:lnTo>
                    <a:pt x="1993" y="251"/>
                  </a:lnTo>
                  <a:lnTo>
                    <a:pt x="1997" y="254"/>
                  </a:lnTo>
                  <a:lnTo>
                    <a:pt x="2006" y="257"/>
                  </a:lnTo>
                  <a:lnTo>
                    <a:pt x="2014" y="258"/>
                  </a:lnTo>
                  <a:lnTo>
                    <a:pt x="2014" y="278"/>
                  </a:lnTo>
                  <a:lnTo>
                    <a:pt x="2015" y="297"/>
                  </a:lnTo>
                  <a:lnTo>
                    <a:pt x="2017" y="314"/>
                  </a:lnTo>
                  <a:lnTo>
                    <a:pt x="2019" y="332"/>
                  </a:lnTo>
                  <a:lnTo>
                    <a:pt x="2026" y="365"/>
                  </a:lnTo>
                  <a:lnTo>
                    <a:pt x="2033" y="398"/>
                  </a:lnTo>
                  <a:lnTo>
                    <a:pt x="2040" y="429"/>
                  </a:lnTo>
                  <a:lnTo>
                    <a:pt x="2047" y="461"/>
                  </a:lnTo>
                  <a:lnTo>
                    <a:pt x="2050" y="476"/>
                  </a:lnTo>
                  <a:lnTo>
                    <a:pt x="2051" y="491"/>
                  </a:lnTo>
                  <a:lnTo>
                    <a:pt x="2053" y="508"/>
                  </a:lnTo>
                  <a:lnTo>
                    <a:pt x="2053" y="523"/>
                  </a:lnTo>
                  <a:lnTo>
                    <a:pt x="2053" y="526"/>
                  </a:lnTo>
                  <a:lnTo>
                    <a:pt x="2054" y="528"/>
                  </a:lnTo>
                  <a:lnTo>
                    <a:pt x="2056" y="529"/>
                  </a:lnTo>
                  <a:lnTo>
                    <a:pt x="2060" y="531"/>
                  </a:lnTo>
                  <a:lnTo>
                    <a:pt x="2066" y="533"/>
                  </a:lnTo>
                  <a:lnTo>
                    <a:pt x="2074" y="536"/>
                  </a:lnTo>
                  <a:lnTo>
                    <a:pt x="2082" y="538"/>
                  </a:lnTo>
                  <a:lnTo>
                    <a:pt x="2089" y="540"/>
                  </a:lnTo>
                  <a:lnTo>
                    <a:pt x="2096" y="544"/>
                  </a:lnTo>
                  <a:lnTo>
                    <a:pt x="2099" y="548"/>
                  </a:lnTo>
                  <a:lnTo>
                    <a:pt x="2108" y="562"/>
                  </a:lnTo>
                  <a:lnTo>
                    <a:pt x="2116" y="574"/>
                  </a:lnTo>
                  <a:lnTo>
                    <a:pt x="2120" y="578"/>
                  </a:lnTo>
                  <a:lnTo>
                    <a:pt x="2123" y="582"/>
                  </a:lnTo>
                  <a:lnTo>
                    <a:pt x="2128" y="584"/>
                  </a:lnTo>
                  <a:lnTo>
                    <a:pt x="2133" y="585"/>
                  </a:lnTo>
                  <a:lnTo>
                    <a:pt x="2134" y="596"/>
                  </a:lnTo>
                  <a:lnTo>
                    <a:pt x="2139" y="615"/>
                  </a:lnTo>
                  <a:lnTo>
                    <a:pt x="2146" y="637"/>
                  </a:lnTo>
                  <a:lnTo>
                    <a:pt x="2154" y="661"/>
                  </a:lnTo>
                  <a:lnTo>
                    <a:pt x="2163" y="686"/>
                  </a:lnTo>
                  <a:lnTo>
                    <a:pt x="2172" y="707"/>
                  </a:lnTo>
                  <a:lnTo>
                    <a:pt x="2179" y="724"/>
                  </a:lnTo>
                  <a:lnTo>
                    <a:pt x="2186" y="733"/>
                  </a:lnTo>
                  <a:lnTo>
                    <a:pt x="2188" y="735"/>
                  </a:lnTo>
                  <a:lnTo>
                    <a:pt x="2194" y="737"/>
                  </a:lnTo>
                  <a:lnTo>
                    <a:pt x="2201" y="738"/>
                  </a:lnTo>
                  <a:lnTo>
                    <a:pt x="2211" y="739"/>
                  </a:lnTo>
                  <a:lnTo>
                    <a:pt x="2231" y="742"/>
                  </a:lnTo>
                  <a:lnTo>
                    <a:pt x="2245" y="745"/>
                  </a:lnTo>
                  <a:lnTo>
                    <a:pt x="2242" y="756"/>
                  </a:lnTo>
                  <a:lnTo>
                    <a:pt x="2238" y="762"/>
                  </a:lnTo>
                  <a:lnTo>
                    <a:pt x="2231" y="766"/>
                  </a:lnTo>
                  <a:lnTo>
                    <a:pt x="2219" y="769"/>
                  </a:lnTo>
                  <a:lnTo>
                    <a:pt x="2223" y="781"/>
                  </a:lnTo>
                  <a:lnTo>
                    <a:pt x="2228" y="790"/>
                  </a:lnTo>
                  <a:lnTo>
                    <a:pt x="2233" y="800"/>
                  </a:lnTo>
                  <a:lnTo>
                    <a:pt x="2239" y="809"/>
                  </a:lnTo>
                  <a:lnTo>
                    <a:pt x="2251" y="827"/>
                  </a:lnTo>
                  <a:lnTo>
                    <a:pt x="2263" y="846"/>
                  </a:lnTo>
                  <a:lnTo>
                    <a:pt x="2289" y="879"/>
                  </a:lnTo>
                  <a:lnTo>
                    <a:pt x="2312" y="912"/>
                  </a:lnTo>
                  <a:lnTo>
                    <a:pt x="2318" y="907"/>
                  </a:lnTo>
                  <a:lnTo>
                    <a:pt x="2324" y="902"/>
                  </a:lnTo>
                  <a:lnTo>
                    <a:pt x="2328" y="899"/>
                  </a:lnTo>
                  <a:lnTo>
                    <a:pt x="2330" y="896"/>
                  </a:lnTo>
                  <a:lnTo>
                    <a:pt x="2332" y="892"/>
                  </a:lnTo>
                  <a:lnTo>
                    <a:pt x="2332" y="887"/>
                  </a:lnTo>
                  <a:lnTo>
                    <a:pt x="2332" y="896"/>
                  </a:lnTo>
                  <a:lnTo>
                    <a:pt x="2332" y="903"/>
                  </a:lnTo>
                  <a:lnTo>
                    <a:pt x="2332" y="910"/>
                  </a:lnTo>
                  <a:lnTo>
                    <a:pt x="2332" y="918"/>
                  </a:lnTo>
                  <a:lnTo>
                    <a:pt x="2293" y="1010"/>
                  </a:lnTo>
                  <a:lnTo>
                    <a:pt x="2295" y="1024"/>
                  </a:lnTo>
                  <a:lnTo>
                    <a:pt x="2296" y="1038"/>
                  </a:lnTo>
                  <a:lnTo>
                    <a:pt x="2295" y="1051"/>
                  </a:lnTo>
                  <a:lnTo>
                    <a:pt x="2291" y="1066"/>
                  </a:lnTo>
                  <a:lnTo>
                    <a:pt x="2288" y="1079"/>
                  </a:lnTo>
                  <a:lnTo>
                    <a:pt x="2283" y="1092"/>
                  </a:lnTo>
                  <a:lnTo>
                    <a:pt x="2276" y="1105"/>
                  </a:lnTo>
                  <a:lnTo>
                    <a:pt x="2269" y="1118"/>
                  </a:lnTo>
                  <a:lnTo>
                    <a:pt x="2253" y="1143"/>
                  </a:lnTo>
                  <a:lnTo>
                    <a:pt x="2237" y="1167"/>
                  </a:lnTo>
                  <a:lnTo>
                    <a:pt x="2220" y="1188"/>
                  </a:lnTo>
                  <a:lnTo>
                    <a:pt x="2206" y="1207"/>
                  </a:lnTo>
                  <a:lnTo>
                    <a:pt x="2188" y="1233"/>
                  </a:lnTo>
                  <a:lnTo>
                    <a:pt x="2172" y="1260"/>
                  </a:lnTo>
                  <a:lnTo>
                    <a:pt x="2153" y="1289"/>
                  </a:lnTo>
                  <a:lnTo>
                    <a:pt x="2133" y="1317"/>
                  </a:lnTo>
                  <a:lnTo>
                    <a:pt x="2123" y="1329"/>
                  </a:lnTo>
                  <a:lnTo>
                    <a:pt x="2111" y="1342"/>
                  </a:lnTo>
                  <a:lnTo>
                    <a:pt x="2100" y="1352"/>
                  </a:lnTo>
                  <a:lnTo>
                    <a:pt x="2087" y="1362"/>
                  </a:lnTo>
                  <a:lnTo>
                    <a:pt x="2081" y="1366"/>
                  </a:lnTo>
                  <a:lnTo>
                    <a:pt x="2074" y="1369"/>
                  </a:lnTo>
                  <a:lnTo>
                    <a:pt x="2066" y="1372"/>
                  </a:lnTo>
                  <a:lnTo>
                    <a:pt x="2059" y="1375"/>
                  </a:lnTo>
                  <a:lnTo>
                    <a:pt x="2051" y="1377"/>
                  </a:lnTo>
                  <a:lnTo>
                    <a:pt x="2043" y="1378"/>
                  </a:lnTo>
                  <a:lnTo>
                    <a:pt x="2036" y="1379"/>
                  </a:lnTo>
                  <a:lnTo>
                    <a:pt x="2027" y="1380"/>
                  </a:lnTo>
                  <a:lnTo>
                    <a:pt x="2026" y="1393"/>
                  </a:lnTo>
                  <a:lnTo>
                    <a:pt x="2022" y="1404"/>
                  </a:lnTo>
                  <a:lnTo>
                    <a:pt x="2018" y="1414"/>
                  </a:lnTo>
                  <a:lnTo>
                    <a:pt x="2013" y="1423"/>
                  </a:lnTo>
                  <a:lnTo>
                    <a:pt x="2005" y="1432"/>
                  </a:lnTo>
                  <a:lnTo>
                    <a:pt x="1997" y="1440"/>
                  </a:lnTo>
                  <a:lnTo>
                    <a:pt x="1988" y="1449"/>
                  </a:lnTo>
                  <a:lnTo>
                    <a:pt x="1978" y="1456"/>
                  </a:lnTo>
                  <a:lnTo>
                    <a:pt x="1958" y="1470"/>
                  </a:lnTo>
                  <a:lnTo>
                    <a:pt x="1937" y="1483"/>
                  </a:lnTo>
                  <a:lnTo>
                    <a:pt x="1917" y="1495"/>
                  </a:lnTo>
                  <a:lnTo>
                    <a:pt x="1901" y="1510"/>
                  </a:lnTo>
                  <a:lnTo>
                    <a:pt x="1885" y="1525"/>
                  </a:lnTo>
                  <a:lnTo>
                    <a:pt x="1873" y="1539"/>
                  </a:lnTo>
                  <a:lnTo>
                    <a:pt x="1864" y="1553"/>
                  </a:lnTo>
                  <a:lnTo>
                    <a:pt x="1857" y="1565"/>
                  </a:lnTo>
                  <a:lnTo>
                    <a:pt x="1848" y="1578"/>
                  </a:lnTo>
                  <a:lnTo>
                    <a:pt x="1838" y="1591"/>
                  </a:lnTo>
                  <a:lnTo>
                    <a:pt x="1825" y="1604"/>
                  </a:lnTo>
                  <a:lnTo>
                    <a:pt x="1807" y="1621"/>
                  </a:lnTo>
                  <a:lnTo>
                    <a:pt x="1801" y="1630"/>
                  </a:lnTo>
                  <a:lnTo>
                    <a:pt x="1796" y="1639"/>
                  </a:lnTo>
                  <a:lnTo>
                    <a:pt x="1793" y="1648"/>
                  </a:lnTo>
                  <a:lnTo>
                    <a:pt x="1790" y="1657"/>
                  </a:lnTo>
                  <a:lnTo>
                    <a:pt x="1786" y="1665"/>
                  </a:lnTo>
                  <a:lnTo>
                    <a:pt x="1782" y="1671"/>
                  </a:lnTo>
                  <a:lnTo>
                    <a:pt x="1780" y="1673"/>
                  </a:lnTo>
                  <a:lnTo>
                    <a:pt x="1776" y="1675"/>
                  </a:lnTo>
                  <a:lnTo>
                    <a:pt x="1772" y="1676"/>
                  </a:lnTo>
                  <a:lnTo>
                    <a:pt x="1768" y="1676"/>
                  </a:lnTo>
                  <a:lnTo>
                    <a:pt x="1749" y="1676"/>
                  </a:lnTo>
                  <a:lnTo>
                    <a:pt x="1733" y="1676"/>
                  </a:lnTo>
                  <a:lnTo>
                    <a:pt x="1718" y="1676"/>
                  </a:lnTo>
                  <a:lnTo>
                    <a:pt x="1707" y="1676"/>
                  </a:lnTo>
                  <a:lnTo>
                    <a:pt x="1702" y="1676"/>
                  </a:lnTo>
                  <a:lnTo>
                    <a:pt x="1695" y="1678"/>
                  </a:lnTo>
                  <a:lnTo>
                    <a:pt x="1689" y="1680"/>
                  </a:lnTo>
                  <a:lnTo>
                    <a:pt x="1682" y="1683"/>
                  </a:lnTo>
                  <a:lnTo>
                    <a:pt x="1668" y="1690"/>
                  </a:lnTo>
                  <a:lnTo>
                    <a:pt x="1652" y="1699"/>
                  </a:lnTo>
                  <a:lnTo>
                    <a:pt x="1634" y="1708"/>
                  </a:lnTo>
                  <a:lnTo>
                    <a:pt x="1613" y="1717"/>
                  </a:lnTo>
                  <a:lnTo>
                    <a:pt x="1602" y="1722"/>
                  </a:lnTo>
                  <a:lnTo>
                    <a:pt x="1589" y="1726"/>
                  </a:lnTo>
                  <a:lnTo>
                    <a:pt x="1576" y="1729"/>
                  </a:lnTo>
                  <a:lnTo>
                    <a:pt x="1561" y="1731"/>
                  </a:lnTo>
                  <a:lnTo>
                    <a:pt x="1558" y="1725"/>
                  </a:lnTo>
                  <a:lnTo>
                    <a:pt x="1555" y="1718"/>
                  </a:lnTo>
                  <a:lnTo>
                    <a:pt x="1548" y="1718"/>
                  </a:lnTo>
                  <a:lnTo>
                    <a:pt x="1541" y="1717"/>
                  </a:lnTo>
                  <a:lnTo>
                    <a:pt x="1536" y="1715"/>
                  </a:lnTo>
                  <a:lnTo>
                    <a:pt x="1532" y="1713"/>
                  </a:lnTo>
                  <a:lnTo>
                    <a:pt x="1528" y="1711"/>
                  </a:lnTo>
                  <a:lnTo>
                    <a:pt x="1525" y="1708"/>
                  </a:lnTo>
                  <a:lnTo>
                    <a:pt x="1522" y="1705"/>
                  </a:lnTo>
                  <a:lnTo>
                    <a:pt x="1520" y="1701"/>
                  </a:lnTo>
                  <a:lnTo>
                    <a:pt x="1517" y="1693"/>
                  </a:lnTo>
                  <a:lnTo>
                    <a:pt x="1515" y="1685"/>
                  </a:lnTo>
                  <a:lnTo>
                    <a:pt x="1515" y="1677"/>
                  </a:lnTo>
                  <a:lnTo>
                    <a:pt x="1515" y="1670"/>
                  </a:lnTo>
                  <a:lnTo>
                    <a:pt x="1489" y="1690"/>
                  </a:lnTo>
                  <a:lnTo>
                    <a:pt x="1462" y="1709"/>
                  </a:lnTo>
                  <a:lnTo>
                    <a:pt x="1449" y="1718"/>
                  </a:lnTo>
                  <a:lnTo>
                    <a:pt x="1437" y="1725"/>
                  </a:lnTo>
                  <a:lnTo>
                    <a:pt x="1432" y="1728"/>
                  </a:lnTo>
                  <a:lnTo>
                    <a:pt x="1426" y="1730"/>
                  </a:lnTo>
                  <a:lnTo>
                    <a:pt x="1421" y="1731"/>
                  </a:lnTo>
                  <a:lnTo>
                    <a:pt x="1415" y="1731"/>
                  </a:lnTo>
                  <a:lnTo>
                    <a:pt x="1413" y="1731"/>
                  </a:lnTo>
                  <a:lnTo>
                    <a:pt x="1410" y="1729"/>
                  </a:lnTo>
                  <a:lnTo>
                    <a:pt x="1406" y="1727"/>
                  </a:lnTo>
                  <a:lnTo>
                    <a:pt x="1403" y="1725"/>
                  </a:lnTo>
                  <a:lnTo>
                    <a:pt x="1400" y="1722"/>
                  </a:lnTo>
                  <a:lnTo>
                    <a:pt x="1398" y="1718"/>
                  </a:lnTo>
                  <a:lnTo>
                    <a:pt x="1395" y="1715"/>
                  </a:lnTo>
                  <a:lnTo>
                    <a:pt x="1395" y="1712"/>
                  </a:lnTo>
                  <a:lnTo>
                    <a:pt x="1372" y="1711"/>
                  </a:lnTo>
                  <a:lnTo>
                    <a:pt x="1349" y="1709"/>
                  </a:lnTo>
                  <a:lnTo>
                    <a:pt x="1338" y="1707"/>
                  </a:lnTo>
                  <a:lnTo>
                    <a:pt x="1327" y="1704"/>
                  </a:lnTo>
                  <a:lnTo>
                    <a:pt x="1316" y="1701"/>
                  </a:lnTo>
                  <a:lnTo>
                    <a:pt x="1307" y="1697"/>
                  </a:lnTo>
                  <a:lnTo>
                    <a:pt x="1297" y="1693"/>
                  </a:lnTo>
                  <a:lnTo>
                    <a:pt x="1289" y="1688"/>
                  </a:lnTo>
                  <a:lnTo>
                    <a:pt x="1281" y="1683"/>
                  </a:lnTo>
                  <a:lnTo>
                    <a:pt x="1275" y="1677"/>
                  </a:lnTo>
                  <a:lnTo>
                    <a:pt x="1269" y="1670"/>
                  </a:lnTo>
                  <a:lnTo>
                    <a:pt x="1266" y="1662"/>
                  </a:lnTo>
                  <a:lnTo>
                    <a:pt x="1264" y="1653"/>
                  </a:lnTo>
                  <a:lnTo>
                    <a:pt x="1263" y="1645"/>
                  </a:lnTo>
                  <a:lnTo>
                    <a:pt x="1263" y="1639"/>
                  </a:lnTo>
                  <a:lnTo>
                    <a:pt x="1264" y="1635"/>
                  </a:lnTo>
                  <a:lnTo>
                    <a:pt x="1266" y="1631"/>
                  </a:lnTo>
                  <a:lnTo>
                    <a:pt x="1268" y="1627"/>
                  </a:lnTo>
                  <a:lnTo>
                    <a:pt x="1272" y="1620"/>
                  </a:lnTo>
                  <a:lnTo>
                    <a:pt x="1279" y="1614"/>
                  </a:lnTo>
                  <a:lnTo>
                    <a:pt x="1286" y="1609"/>
                  </a:lnTo>
                  <a:lnTo>
                    <a:pt x="1290" y="1601"/>
                  </a:lnTo>
                  <a:lnTo>
                    <a:pt x="1292" y="1597"/>
                  </a:lnTo>
                  <a:lnTo>
                    <a:pt x="1294" y="1593"/>
                  </a:lnTo>
                  <a:lnTo>
                    <a:pt x="1296" y="1589"/>
                  </a:lnTo>
                  <a:lnTo>
                    <a:pt x="1296" y="1583"/>
                  </a:lnTo>
                  <a:lnTo>
                    <a:pt x="1296" y="1546"/>
                  </a:lnTo>
                  <a:lnTo>
                    <a:pt x="1309" y="1528"/>
                  </a:lnTo>
                  <a:lnTo>
                    <a:pt x="1309" y="1522"/>
                  </a:lnTo>
                  <a:lnTo>
                    <a:pt x="1256" y="1522"/>
                  </a:lnTo>
                  <a:lnTo>
                    <a:pt x="1249" y="1534"/>
                  </a:lnTo>
                  <a:lnTo>
                    <a:pt x="1255" y="1525"/>
                  </a:lnTo>
                  <a:lnTo>
                    <a:pt x="1263" y="1516"/>
                  </a:lnTo>
                  <a:lnTo>
                    <a:pt x="1269" y="1509"/>
                  </a:lnTo>
                  <a:lnTo>
                    <a:pt x="1276" y="1504"/>
                  </a:lnTo>
                  <a:lnTo>
                    <a:pt x="1276" y="1460"/>
                  </a:lnTo>
                  <a:lnTo>
                    <a:pt x="1270" y="1462"/>
                  </a:lnTo>
                  <a:lnTo>
                    <a:pt x="1265" y="1464"/>
                  </a:lnTo>
                  <a:lnTo>
                    <a:pt x="1260" y="1466"/>
                  </a:lnTo>
                  <a:lnTo>
                    <a:pt x="1256" y="1469"/>
                  </a:lnTo>
                  <a:lnTo>
                    <a:pt x="1249" y="1475"/>
                  </a:lnTo>
                  <a:lnTo>
                    <a:pt x="1243" y="1481"/>
                  </a:lnTo>
                  <a:lnTo>
                    <a:pt x="1237" y="1488"/>
                  </a:lnTo>
                  <a:lnTo>
                    <a:pt x="1232" y="1494"/>
                  </a:lnTo>
                  <a:lnTo>
                    <a:pt x="1229" y="1498"/>
                  </a:lnTo>
                  <a:lnTo>
                    <a:pt x="1225" y="1500"/>
                  </a:lnTo>
                  <a:lnTo>
                    <a:pt x="1221" y="1502"/>
                  </a:lnTo>
                  <a:lnTo>
                    <a:pt x="1216" y="1504"/>
                  </a:lnTo>
                  <a:lnTo>
                    <a:pt x="1189" y="1504"/>
                  </a:lnTo>
                  <a:lnTo>
                    <a:pt x="1222" y="1472"/>
                  </a:lnTo>
                  <a:lnTo>
                    <a:pt x="1252" y="1442"/>
                  </a:lnTo>
                  <a:lnTo>
                    <a:pt x="1280" y="1411"/>
                  </a:lnTo>
                  <a:lnTo>
                    <a:pt x="1309" y="1380"/>
                  </a:lnTo>
                  <a:lnTo>
                    <a:pt x="1305" y="1378"/>
                  </a:lnTo>
                  <a:lnTo>
                    <a:pt x="1301" y="1377"/>
                  </a:lnTo>
                  <a:lnTo>
                    <a:pt x="1298" y="1376"/>
                  </a:lnTo>
                  <a:lnTo>
                    <a:pt x="1294" y="1376"/>
                  </a:lnTo>
                  <a:lnTo>
                    <a:pt x="1287" y="1378"/>
                  </a:lnTo>
                  <a:lnTo>
                    <a:pt x="1280" y="1382"/>
                  </a:lnTo>
                  <a:lnTo>
                    <a:pt x="1267" y="1392"/>
                  </a:lnTo>
                  <a:lnTo>
                    <a:pt x="1256" y="1399"/>
                  </a:lnTo>
                  <a:lnTo>
                    <a:pt x="1230" y="1418"/>
                  </a:lnTo>
                  <a:lnTo>
                    <a:pt x="1185" y="1450"/>
                  </a:lnTo>
                  <a:lnTo>
                    <a:pt x="1142" y="1478"/>
                  </a:lnTo>
                  <a:lnTo>
                    <a:pt x="1123" y="1490"/>
                  </a:lnTo>
                  <a:lnTo>
                    <a:pt x="1123" y="1380"/>
                  </a:lnTo>
                  <a:lnTo>
                    <a:pt x="1113" y="1379"/>
                  </a:lnTo>
                  <a:lnTo>
                    <a:pt x="1106" y="1377"/>
                  </a:lnTo>
                  <a:lnTo>
                    <a:pt x="1099" y="1375"/>
                  </a:lnTo>
                  <a:lnTo>
                    <a:pt x="1093" y="1371"/>
                  </a:lnTo>
                  <a:lnTo>
                    <a:pt x="1090" y="1367"/>
                  </a:lnTo>
                  <a:lnTo>
                    <a:pt x="1088" y="1362"/>
                  </a:lnTo>
                  <a:lnTo>
                    <a:pt x="1088" y="1356"/>
                  </a:lnTo>
                  <a:lnTo>
                    <a:pt x="1090" y="1349"/>
                  </a:lnTo>
                  <a:lnTo>
                    <a:pt x="1078" y="1338"/>
                  </a:lnTo>
                  <a:lnTo>
                    <a:pt x="1064" y="1325"/>
                  </a:lnTo>
                  <a:lnTo>
                    <a:pt x="1047" y="1314"/>
                  </a:lnTo>
                  <a:lnTo>
                    <a:pt x="1030" y="1304"/>
                  </a:lnTo>
                  <a:lnTo>
                    <a:pt x="1020" y="1299"/>
                  </a:lnTo>
                  <a:lnTo>
                    <a:pt x="1011" y="1295"/>
                  </a:lnTo>
                  <a:lnTo>
                    <a:pt x="1001" y="1291"/>
                  </a:lnTo>
                  <a:lnTo>
                    <a:pt x="990" y="1288"/>
                  </a:lnTo>
                  <a:lnTo>
                    <a:pt x="980" y="1285"/>
                  </a:lnTo>
                  <a:lnTo>
                    <a:pt x="971" y="1283"/>
                  </a:lnTo>
                  <a:lnTo>
                    <a:pt x="961" y="1282"/>
                  </a:lnTo>
                  <a:lnTo>
                    <a:pt x="951" y="1282"/>
                  </a:lnTo>
                  <a:lnTo>
                    <a:pt x="941" y="1283"/>
                  </a:lnTo>
                  <a:lnTo>
                    <a:pt x="931" y="1285"/>
                  </a:lnTo>
                  <a:lnTo>
                    <a:pt x="923" y="1289"/>
                  </a:lnTo>
                  <a:lnTo>
                    <a:pt x="917" y="1294"/>
                  </a:lnTo>
                  <a:lnTo>
                    <a:pt x="831" y="1294"/>
                  </a:lnTo>
                  <a:lnTo>
                    <a:pt x="819" y="1301"/>
                  </a:lnTo>
                  <a:lnTo>
                    <a:pt x="807" y="1307"/>
                  </a:lnTo>
                  <a:lnTo>
                    <a:pt x="796" y="1312"/>
                  </a:lnTo>
                  <a:lnTo>
                    <a:pt x="785" y="1316"/>
                  </a:lnTo>
                  <a:lnTo>
                    <a:pt x="775" y="1319"/>
                  </a:lnTo>
                  <a:lnTo>
                    <a:pt x="764" y="1321"/>
                  </a:lnTo>
                  <a:lnTo>
                    <a:pt x="754" y="1323"/>
                  </a:lnTo>
                  <a:lnTo>
                    <a:pt x="745" y="1324"/>
                  </a:lnTo>
                  <a:lnTo>
                    <a:pt x="726" y="1326"/>
                  </a:lnTo>
                  <a:lnTo>
                    <a:pt x="706" y="1328"/>
                  </a:lnTo>
                  <a:lnTo>
                    <a:pt x="686" y="1332"/>
                  </a:lnTo>
                  <a:lnTo>
                    <a:pt x="664" y="1337"/>
                  </a:lnTo>
                  <a:lnTo>
                    <a:pt x="636" y="1345"/>
                  </a:lnTo>
                  <a:lnTo>
                    <a:pt x="596" y="1356"/>
                  </a:lnTo>
                  <a:lnTo>
                    <a:pt x="577" y="1362"/>
                  </a:lnTo>
                  <a:lnTo>
                    <a:pt x="560" y="1369"/>
                  </a:lnTo>
                  <a:lnTo>
                    <a:pt x="547" y="1374"/>
                  </a:lnTo>
                  <a:lnTo>
                    <a:pt x="538" y="1380"/>
                  </a:lnTo>
                  <a:lnTo>
                    <a:pt x="521" y="1402"/>
                  </a:lnTo>
                  <a:lnTo>
                    <a:pt x="507" y="1419"/>
                  </a:lnTo>
                  <a:lnTo>
                    <a:pt x="501" y="1426"/>
                  </a:lnTo>
                  <a:lnTo>
                    <a:pt x="493" y="1431"/>
                  </a:lnTo>
                  <a:lnTo>
                    <a:pt x="488" y="1433"/>
                  </a:lnTo>
                  <a:lnTo>
                    <a:pt x="483" y="1434"/>
                  </a:lnTo>
                  <a:lnTo>
                    <a:pt x="478" y="1435"/>
                  </a:lnTo>
                  <a:lnTo>
                    <a:pt x="472" y="1435"/>
                  </a:lnTo>
                  <a:lnTo>
                    <a:pt x="306" y="1435"/>
                  </a:lnTo>
                  <a:lnTo>
                    <a:pt x="291" y="1439"/>
                  </a:lnTo>
                  <a:lnTo>
                    <a:pt x="277" y="1444"/>
                  </a:lnTo>
                  <a:lnTo>
                    <a:pt x="265" y="1448"/>
                  </a:lnTo>
                  <a:lnTo>
                    <a:pt x="254" y="1453"/>
                  </a:lnTo>
                  <a:lnTo>
                    <a:pt x="233" y="1463"/>
                  </a:lnTo>
                  <a:lnTo>
                    <a:pt x="214" y="1473"/>
                  </a:lnTo>
                  <a:lnTo>
                    <a:pt x="204" y="1478"/>
                  </a:lnTo>
                  <a:lnTo>
                    <a:pt x="193" y="1482"/>
                  </a:lnTo>
                  <a:lnTo>
                    <a:pt x="182" y="1486"/>
                  </a:lnTo>
                  <a:lnTo>
                    <a:pt x="170" y="1490"/>
                  </a:lnTo>
                  <a:lnTo>
                    <a:pt x="157" y="1493"/>
                  </a:lnTo>
                  <a:lnTo>
                    <a:pt x="142" y="1495"/>
                  </a:lnTo>
                  <a:lnTo>
                    <a:pt x="125" y="1496"/>
                  </a:lnTo>
                  <a:lnTo>
                    <a:pt x="106" y="1496"/>
                  </a:lnTo>
                  <a:lnTo>
                    <a:pt x="95" y="1496"/>
                  </a:lnTo>
                  <a:lnTo>
                    <a:pt x="84" y="1495"/>
                  </a:lnTo>
                  <a:lnTo>
                    <a:pt x="75" y="1494"/>
                  </a:lnTo>
                  <a:lnTo>
                    <a:pt x="65" y="1492"/>
                  </a:lnTo>
                  <a:lnTo>
                    <a:pt x="55" y="1490"/>
                  </a:lnTo>
                  <a:lnTo>
                    <a:pt x="46" y="1487"/>
                  </a:lnTo>
                  <a:lnTo>
                    <a:pt x="38" y="1483"/>
                  </a:lnTo>
                  <a:lnTo>
                    <a:pt x="31" y="1479"/>
                  </a:lnTo>
                  <a:lnTo>
                    <a:pt x="24" y="1475"/>
                  </a:lnTo>
                  <a:lnTo>
                    <a:pt x="19" y="1470"/>
                  </a:lnTo>
                  <a:lnTo>
                    <a:pt x="13" y="1464"/>
                  </a:lnTo>
                  <a:lnTo>
                    <a:pt x="9" y="1458"/>
                  </a:lnTo>
                  <a:lnTo>
                    <a:pt x="4" y="1452"/>
                  </a:lnTo>
                  <a:lnTo>
                    <a:pt x="2" y="1445"/>
                  </a:lnTo>
                  <a:lnTo>
                    <a:pt x="1" y="1437"/>
                  </a:lnTo>
                  <a:lnTo>
                    <a:pt x="0" y="1429"/>
                  </a:lnTo>
                  <a:lnTo>
                    <a:pt x="1" y="1426"/>
                  </a:lnTo>
                  <a:lnTo>
                    <a:pt x="2" y="1423"/>
                  </a:lnTo>
                  <a:lnTo>
                    <a:pt x="4" y="1421"/>
                  </a:lnTo>
                  <a:lnTo>
                    <a:pt x="6" y="1418"/>
                  </a:lnTo>
                  <a:lnTo>
                    <a:pt x="13" y="1415"/>
                  </a:lnTo>
                  <a:lnTo>
                    <a:pt x="22" y="1413"/>
                  </a:lnTo>
                  <a:lnTo>
                    <a:pt x="39" y="1411"/>
                  </a:lnTo>
                  <a:lnTo>
                    <a:pt x="54" y="1411"/>
                  </a:lnTo>
                  <a:lnTo>
                    <a:pt x="58" y="1408"/>
                  </a:lnTo>
                  <a:lnTo>
                    <a:pt x="64" y="1404"/>
                  </a:lnTo>
                  <a:lnTo>
                    <a:pt x="68" y="1399"/>
                  </a:lnTo>
                  <a:lnTo>
                    <a:pt x="72" y="1393"/>
                  </a:lnTo>
                  <a:lnTo>
                    <a:pt x="82" y="1378"/>
                  </a:lnTo>
                  <a:lnTo>
                    <a:pt x="90" y="1361"/>
                  </a:lnTo>
                  <a:lnTo>
                    <a:pt x="97" y="1344"/>
                  </a:lnTo>
                  <a:lnTo>
                    <a:pt x="102" y="1325"/>
                  </a:lnTo>
                  <a:lnTo>
                    <a:pt x="105" y="1309"/>
                  </a:lnTo>
                  <a:lnTo>
                    <a:pt x="106" y="1294"/>
                  </a:lnTo>
                  <a:lnTo>
                    <a:pt x="106" y="1288"/>
                  </a:lnTo>
                  <a:lnTo>
                    <a:pt x="105" y="1284"/>
                  </a:lnTo>
                  <a:lnTo>
                    <a:pt x="103" y="1279"/>
                  </a:lnTo>
                  <a:lnTo>
                    <a:pt x="101" y="1275"/>
                  </a:lnTo>
                  <a:lnTo>
                    <a:pt x="95" y="1267"/>
                  </a:lnTo>
                  <a:lnTo>
                    <a:pt x="90" y="1260"/>
                  </a:lnTo>
                  <a:lnTo>
                    <a:pt x="83" y="1254"/>
                  </a:lnTo>
                  <a:lnTo>
                    <a:pt x="79" y="1248"/>
                  </a:lnTo>
                  <a:lnTo>
                    <a:pt x="77" y="1244"/>
                  </a:lnTo>
                  <a:lnTo>
                    <a:pt x="75" y="1241"/>
                  </a:lnTo>
                  <a:lnTo>
                    <a:pt x="73" y="1237"/>
                  </a:lnTo>
                  <a:lnTo>
                    <a:pt x="73" y="1232"/>
                  </a:lnTo>
                  <a:lnTo>
                    <a:pt x="73" y="1225"/>
                  </a:lnTo>
                  <a:lnTo>
                    <a:pt x="75" y="1218"/>
                  </a:lnTo>
                  <a:lnTo>
                    <a:pt x="77" y="1212"/>
                  </a:lnTo>
                  <a:lnTo>
                    <a:pt x="79" y="1207"/>
                  </a:lnTo>
                  <a:lnTo>
                    <a:pt x="86" y="1200"/>
                  </a:lnTo>
                  <a:lnTo>
                    <a:pt x="93" y="1193"/>
                  </a:lnTo>
                  <a:lnTo>
                    <a:pt x="101" y="1188"/>
                  </a:lnTo>
                  <a:lnTo>
                    <a:pt x="106" y="1182"/>
                  </a:lnTo>
                  <a:lnTo>
                    <a:pt x="110" y="1179"/>
                  </a:lnTo>
                  <a:lnTo>
                    <a:pt x="112" y="1175"/>
                  </a:lnTo>
                  <a:lnTo>
                    <a:pt x="113" y="1170"/>
                  </a:lnTo>
                  <a:lnTo>
                    <a:pt x="113" y="1165"/>
                  </a:lnTo>
                  <a:lnTo>
                    <a:pt x="113" y="1150"/>
                  </a:lnTo>
                  <a:lnTo>
                    <a:pt x="111" y="1137"/>
                  </a:lnTo>
                  <a:lnTo>
                    <a:pt x="109" y="1123"/>
                  </a:lnTo>
                  <a:lnTo>
                    <a:pt x="105" y="1110"/>
                  </a:lnTo>
                  <a:lnTo>
                    <a:pt x="98" y="1082"/>
                  </a:lnTo>
                  <a:lnTo>
                    <a:pt x="88" y="1056"/>
                  </a:lnTo>
                  <a:lnTo>
                    <a:pt x="78" y="1030"/>
                  </a:lnTo>
                  <a:lnTo>
                    <a:pt x="68" y="1006"/>
                  </a:lnTo>
                  <a:lnTo>
                    <a:pt x="59" y="982"/>
                  </a:lnTo>
                  <a:lnTo>
                    <a:pt x="54" y="961"/>
                  </a:lnTo>
                  <a:lnTo>
                    <a:pt x="54" y="930"/>
                  </a:lnTo>
                  <a:lnTo>
                    <a:pt x="58" y="943"/>
                  </a:lnTo>
                  <a:lnTo>
                    <a:pt x="64" y="954"/>
                  </a:lnTo>
                  <a:lnTo>
                    <a:pt x="71" y="964"/>
                  </a:lnTo>
                  <a:lnTo>
                    <a:pt x="80" y="973"/>
                  </a:lnTo>
                  <a:lnTo>
                    <a:pt x="80" y="949"/>
                  </a:lnTo>
                  <a:lnTo>
                    <a:pt x="80" y="954"/>
                  </a:lnTo>
                  <a:lnTo>
                    <a:pt x="82" y="958"/>
                  </a:lnTo>
                  <a:lnTo>
                    <a:pt x="84" y="962"/>
                  </a:lnTo>
                  <a:lnTo>
                    <a:pt x="88" y="966"/>
                  </a:lnTo>
                  <a:lnTo>
                    <a:pt x="92" y="969"/>
                  </a:lnTo>
                  <a:lnTo>
                    <a:pt x="97" y="971"/>
                  </a:lnTo>
                  <a:lnTo>
                    <a:pt x="102" y="973"/>
                  </a:lnTo>
                  <a:lnTo>
                    <a:pt x="106" y="973"/>
                  </a:lnTo>
                  <a:lnTo>
                    <a:pt x="113" y="964"/>
                  </a:lnTo>
                  <a:lnTo>
                    <a:pt x="122" y="955"/>
                  </a:lnTo>
                  <a:lnTo>
                    <a:pt x="126" y="951"/>
                  </a:lnTo>
                  <a:lnTo>
                    <a:pt x="129" y="946"/>
                  </a:lnTo>
                  <a:lnTo>
                    <a:pt x="132" y="940"/>
                  </a:lnTo>
                  <a:lnTo>
                    <a:pt x="133" y="936"/>
                  </a:lnTo>
                  <a:lnTo>
                    <a:pt x="132" y="923"/>
                  </a:lnTo>
                  <a:lnTo>
                    <a:pt x="128" y="913"/>
                  </a:lnTo>
                  <a:lnTo>
                    <a:pt x="125" y="903"/>
                  </a:lnTo>
                  <a:lnTo>
                    <a:pt x="120" y="895"/>
                  </a:lnTo>
                  <a:lnTo>
                    <a:pt x="115" y="887"/>
                  </a:lnTo>
                  <a:lnTo>
                    <a:pt x="111" y="879"/>
                  </a:lnTo>
                  <a:lnTo>
                    <a:pt x="107" y="871"/>
                  </a:lnTo>
                  <a:lnTo>
                    <a:pt x="106" y="862"/>
                  </a:lnTo>
                  <a:lnTo>
                    <a:pt x="107" y="855"/>
                  </a:lnTo>
                  <a:lnTo>
                    <a:pt x="111" y="847"/>
                  </a:lnTo>
                  <a:lnTo>
                    <a:pt x="115" y="839"/>
                  </a:lnTo>
                  <a:lnTo>
                    <a:pt x="121" y="831"/>
                  </a:lnTo>
                  <a:lnTo>
                    <a:pt x="126" y="823"/>
                  </a:lnTo>
                  <a:lnTo>
                    <a:pt x="132" y="818"/>
                  </a:lnTo>
                  <a:lnTo>
                    <a:pt x="136" y="814"/>
                  </a:lnTo>
                  <a:lnTo>
                    <a:pt x="139" y="813"/>
                  </a:lnTo>
                  <a:lnTo>
                    <a:pt x="139" y="807"/>
                  </a:lnTo>
                  <a:lnTo>
                    <a:pt x="140" y="800"/>
                  </a:lnTo>
                  <a:lnTo>
                    <a:pt x="143" y="792"/>
                  </a:lnTo>
                  <a:lnTo>
                    <a:pt x="146" y="783"/>
                  </a:lnTo>
                  <a:lnTo>
                    <a:pt x="147" y="765"/>
                  </a:lnTo>
                  <a:lnTo>
                    <a:pt x="149" y="751"/>
                  </a:lnTo>
                  <a:lnTo>
                    <a:pt x="151" y="737"/>
                  </a:lnTo>
                  <a:lnTo>
                    <a:pt x="153" y="721"/>
                  </a:lnTo>
                </a:path>
              </a:pathLst>
            </a:custGeom>
            <a:solidFill>
              <a:srgbClr val="FFFF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210" name="Freeform 193"/>
            <p:cNvSpPr>
              <a:spLocks/>
            </p:cNvSpPr>
            <p:nvPr>
              <p:custDataLst>
                <p:tags r:id="rId136"/>
              </p:custDataLst>
            </p:nvPr>
          </p:nvSpPr>
          <p:spPr bwMode="auto">
            <a:xfrm>
              <a:off x="3327677" y="3312925"/>
              <a:ext cx="668701" cy="581945"/>
            </a:xfrm>
            <a:custGeom>
              <a:avLst/>
              <a:gdLst>
                <a:gd name="T0" fmla="*/ 1243 w 1535"/>
                <a:gd name="T1" fmla="*/ 925 h 1109"/>
                <a:gd name="T2" fmla="*/ 1299 w 1535"/>
                <a:gd name="T3" fmla="*/ 982 h 1109"/>
                <a:gd name="T4" fmla="*/ 1220 w 1535"/>
                <a:gd name="T5" fmla="*/ 999 h 1109"/>
                <a:gd name="T6" fmla="*/ 1177 w 1535"/>
                <a:gd name="T7" fmla="*/ 1095 h 1109"/>
                <a:gd name="T8" fmla="*/ 1065 w 1535"/>
                <a:gd name="T9" fmla="*/ 1006 h 1109"/>
                <a:gd name="T10" fmla="*/ 994 w 1535"/>
                <a:gd name="T11" fmla="*/ 1012 h 1109"/>
                <a:gd name="T12" fmla="*/ 913 w 1535"/>
                <a:gd name="T13" fmla="*/ 1039 h 1109"/>
                <a:gd name="T14" fmla="*/ 786 w 1535"/>
                <a:gd name="T15" fmla="*/ 971 h 1109"/>
                <a:gd name="T16" fmla="*/ 648 w 1535"/>
                <a:gd name="T17" fmla="*/ 917 h 1109"/>
                <a:gd name="T18" fmla="*/ 588 w 1535"/>
                <a:gd name="T19" fmla="*/ 883 h 1109"/>
                <a:gd name="T20" fmla="*/ 537 w 1535"/>
                <a:gd name="T21" fmla="*/ 835 h 1109"/>
                <a:gd name="T22" fmla="*/ 485 w 1535"/>
                <a:gd name="T23" fmla="*/ 826 h 1109"/>
                <a:gd name="T24" fmla="*/ 439 w 1535"/>
                <a:gd name="T25" fmla="*/ 757 h 1109"/>
                <a:gd name="T26" fmla="*/ 467 w 1535"/>
                <a:gd name="T27" fmla="*/ 705 h 1109"/>
                <a:gd name="T28" fmla="*/ 450 w 1535"/>
                <a:gd name="T29" fmla="*/ 601 h 1109"/>
                <a:gd name="T30" fmla="*/ 352 w 1535"/>
                <a:gd name="T31" fmla="*/ 468 h 1109"/>
                <a:gd name="T32" fmla="*/ 304 w 1535"/>
                <a:gd name="T33" fmla="*/ 426 h 1109"/>
                <a:gd name="T34" fmla="*/ 293 w 1535"/>
                <a:gd name="T35" fmla="*/ 369 h 1109"/>
                <a:gd name="T36" fmla="*/ 217 w 1535"/>
                <a:gd name="T37" fmla="*/ 248 h 1109"/>
                <a:gd name="T38" fmla="*/ 167 w 1535"/>
                <a:gd name="T39" fmla="*/ 74 h 1109"/>
                <a:gd name="T40" fmla="*/ 84 w 1535"/>
                <a:gd name="T41" fmla="*/ 104 h 1109"/>
                <a:gd name="T42" fmla="*/ 113 w 1535"/>
                <a:gd name="T43" fmla="*/ 222 h 1109"/>
                <a:gd name="T44" fmla="*/ 150 w 1535"/>
                <a:gd name="T45" fmla="*/ 326 h 1109"/>
                <a:gd name="T46" fmla="*/ 196 w 1535"/>
                <a:gd name="T47" fmla="*/ 402 h 1109"/>
                <a:gd name="T48" fmla="*/ 200 w 1535"/>
                <a:gd name="T49" fmla="*/ 465 h 1109"/>
                <a:gd name="T50" fmla="*/ 213 w 1535"/>
                <a:gd name="T51" fmla="*/ 524 h 1109"/>
                <a:gd name="T52" fmla="*/ 259 w 1535"/>
                <a:gd name="T53" fmla="*/ 571 h 1109"/>
                <a:gd name="T54" fmla="*/ 214 w 1535"/>
                <a:gd name="T55" fmla="*/ 596 h 1109"/>
                <a:gd name="T56" fmla="*/ 193 w 1535"/>
                <a:gd name="T57" fmla="*/ 542 h 1109"/>
                <a:gd name="T58" fmla="*/ 120 w 1535"/>
                <a:gd name="T59" fmla="*/ 474 h 1109"/>
                <a:gd name="T60" fmla="*/ 146 w 1535"/>
                <a:gd name="T61" fmla="*/ 420 h 1109"/>
                <a:gd name="T62" fmla="*/ 89 w 1535"/>
                <a:gd name="T63" fmla="*/ 366 h 1109"/>
                <a:gd name="T64" fmla="*/ 27 w 1535"/>
                <a:gd name="T65" fmla="*/ 307 h 1109"/>
                <a:gd name="T66" fmla="*/ 65 w 1535"/>
                <a:gd name="T67" fmla="*/ 289 h 1109"/>
                <a:gd name="T68" fmla="*/ 64 w 1535"/>
                <a:gd name="T69" fmla="*/ 225 h 1109"/>
                <a:gd name="T70" fmla="*/ 6 w 1535"/>
                <a:gd name="T71" fmla="*/ 117 h 1109"/>
                <a:gd name="T72" fmla="*/ 38 w 1535"/>
                <a:gd name="T73" fmla="*/ 5 h 1109"/>
                <a:gd name="T74" fmla="*/ 211 w 1535"/>
                <a:gd name="T75" fmla="*/ 18 h 1109"/>
                <a:gd name="T76" fmla="*/ 361 w 1535"/>
                <a:gd name="T77" fmla="*/ 76 h 1109"/>
                <a:gd name="T78" fmla="*/ 498 w 1535"/>
                <a:gd name="T79" fmla="*/ 55 h 1109"/>
                <a:gd name="T80" fmla="*/ 593 w 1535"/>
                <a:gd name="T81" fmla="*/ 54 h 1109"/>
                <a:gd name="T82" fmla="*/ 633 w 1535"/>
                <a:gd name="T83" fmla="*/ 110 h 1109"/>
                <a:gd name="T84" fmla="*/ 700 w 1535"/>
                <a:gd name="T85" fmla="*/ 215 h 1109"/>
                <a:gd name="T86" fmla="*/ 750 w 1535"/>
                <a:gd name="T87" fmla="*/ 192 h 1109"/>
                <a:gd name="T88" fmla="*/ 822 w 1535"/>
                <a:gd name="T89" fmla="*/ 176 h 1109"/>
                <a:gd name="T90" fmla="*/ 879 w 1535"/>
                <a:gd name="T91" fmla="*/ 244 h 1109"/>
                <a:gd name="T92" fmla="*/ 905 w 1535"/>
                <a:gd name="T93" fmla="*/ 362 h 1109"/>
                <a:gd name="T94" fmla="*/ 964 w 1535"/>
                <a:gd name="T95" fmla="*/ 405 h 1109"/>
                <a:gd name="T96" fmla="*/ 977 w 1535"/>
                <a:gd name="T97" fmla="*/ 456 h 1109"/>
                <a:gd name="T98" fmla="*/ 931 w 1535"/>
                <a:gd name="T99" fmla="*/ 492 h 1109"/>
                <a:gd name="T100" fmla="*/ 917 w 1535"/>
                <a:gd name="T101" fmla="*/ 634 h 1109"/>
                <a:gd name="T102" fmla="*/ 956 w 1535"/>
                <a:gd name="T103" fmla="*/ 791 h 1109"/>
                <a:gd name="T104" fmla="*/ 1054 w 1535"/>
                <a:gd name="T105" fmla="*/ 877 h 1109"/>
                <a:gd name="T106" fmla="*/ 1166 w 1535"/>
                <a:gd name="T107" fmla="*/ 849 h 1109"/>
                <a:gd name="T108" fmla="*/ 1249 w 1535"/>
                <a:gd name="T109" fmla="*/ 850 h 1109"/>
                <a:gd name="T110" fmla="*/ 1296 w 1535"/>
                <a:gd name="T111" fmla="*/ 742 h 1109"/>
                <a:gd name="T112" fmla="*/ 1336 w 1535"/>
                <a:gd name="T113" fmla="*/ 693 h 1109"/>
                <a:gd name="T114" fmla="*/ 1506 w 1535"/>
                <a:gd name="T115" fmla="*/ 678 h 1109"/>
                <a:gd name="T116" fmla="*/ 1503 w 1535"/>
                <a:gd name="T117" fmla="*/ 729 h 1109"/>
                <a:gd name="T118" fmla="*/ 1468 w 1535"/>
                <a:gd name="T119" fmla="*/ 821 h 1109"/>
                <a:gd name="T120" fmla="*/ 1369 w 1535"/>
                <a:gd name="T121" fmla="*/ 888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535" h="1109">
                  <a:moveTo>
                    <a:pt x="1336" y="888"/>
                  </a:moveTo>
                  <a:lnTo>
                    <a:pt x="1319" y="891"/>
                  </a:lnTo>
                  <a:lnTo>
                    <a:pt x="1287" y="901"/>
                  </a:lnTo>
                  <a:lnTo>
                    <a:pt x="1270" y="907"/>
                  </a:lnTo>
                  <a:lnTo>
                    <a:pt x="1256" y="913"/>
                  </a:lnTo>
                  <a:lnTo>
                    <a:pt x="1251" y="916"/>
                  </a:lnTo>
                  <a:lnTo>
                    <a:pt x="1246" y="919"/>
                  </a:lnTo>
                  <a:lnTo>
                    <a:pt x="1244" y="922"/>
                  </a:lnTo>
                  <a:lnTo>
                    <a:pt x="1243" y="925"/>
                  </a:lnTo>
                  <a:lnTo>
                    <a:pt x="1243" y="929"/>
                  </a:lnTo>
                  <a:lnTo>
                    <a:pt x="1244" y="933"/>
                  </a:lnTo>
                  <a:lnTo>
                    <a:pt x="1246" y="937"/>
                  </a:lnTo>
                  <a:lnTo>
                    <a:pt x="1248" y="940"/>
                  </a:lnTo>
                  <a:lnTo>
                    <a:pt x="1255" y="946"/>
                  </a:lnTo>
                  <a:lnTo>
                    <a:pt x="1263" y="951"/>
                  </a:lnTo>
                  <a:lnTo>
                    <a:pt x="1282" y="961"/>
                  </a:lnTo>
                  <a:lnTo>
                    <a:pt x="1302" y="973"/>
                  </a:lnTo>
                  <a:lnTo>
                    <a:pt x="1299" y="982"/>
                  </a:lnTo>
                  <a:lnTo>
                    <a:pt x="1294" y="988"/>
                  </a:lnTo>
                  <a:lnTo>
                    <a:pt x="1289" y="993"/>
                  </a:lnTo>
                  <a:lnTo>
                    <a:pt x="1282" y="996"/>
                  </a:lnTo>
                  <a:lnTo>
                    <a:pt x="1275" y="998"/>
                  </a:lnTo>
                  <a:lnTo>
                    <a:pt x="1267" y="999"/>
                  </a:lnTo>
                  <a:lnTo>
                    <a:pt x="1258" y="999"/>
                  </a:lnTo>
                  <a:lnTo>
                    <a:pt x="1251" y="999"/>
                  </a:lnTo>
                  <a:lnTo>
                    <a:pt x="1234" y="999"/>
                  </a:lnTo>
                  <a:lnTo>
                    <a:pt x="1220" y="999"/>
                  </a:lnTo>
                  <a:lnTo>
                    <a:pt x="1213" y="1000"/>
                  </a:lnTo>
                  <a:lnTo>
                    <a:pt x="1209" y="1002"/>
                  </a:lnTo>
                  <a:lnTo>
                    <a:pt x="1204" y="1006"/>
                  </a:lnTo>
                  <a:lnTo>
                    <a:pt x="1203" y="1011"/>
                  </a:lnTo>
                  <a:lnTo>
                    <a:pt x="1193" y="1036"/>
                  </a:lnTo>
                  <a:lnTo>
                    <a:pt x="1185" y="1058"/>
                  </a:lnTo>
                  <a:lnTo>
                    <a:pt x="1181" y="1069"/>
                  </a:lnTo>
                  <a:lnTo>
                    <a:pt x="1178" y="1080"/>
                  </a:lnTo>
                  <a:lnTo>
                    <a:pt x="1177" y="1095"/>
                  </a:lnTo>
                  <a:lnTo>
                    <a:pt x="1176" y="1109"/>
                  </a:lnTo>
                  <a:lnTo>
                    <a:pt x="1165" y="1100"/>
                  </a:lnTo>
                  <a:lnTo>
                    <a:pt x="1153" y="1091"/>
                  </a:lnTo>
                  <a:lnTo>
                    <a:pt x="1141" y="1081"/>
                  </a:lnTo>
                  <a:lnTo>
                    <a:pt x="1130" y="1072"/>
                  </a:lnTo>
                  <a:lnTo>
                    <a:pt x="1112" y="1051"/>
                  </a:lnTo>
                  <a:lnTo>
                    <a:pt x="1090" y="1026"/>
                  </a:lnTo>
                  <a:lnTo>
                    <a:pt x="1078" y="1015"/>
                  </a:lnTo>
                  <a:lnTo>
                    <a:pt x="1065" y="1006"/>
                  </a:lnTo>
                  <a:lnTo>
                    <a:pt x="1058" y="1003"/>
                  </a:lnTo>
                  <a:lnTo>
                    <a:pt x="1052" y="1001"/>
                  </a:lnTo>
                  <a:lnTo>
                    <a:pt x="1044" y="999"/>
                  </a:lnTo>
                  <a:lnTo>
                    <a:pt x="1036" y="998"/>
                  </a:lnTo>
                  <a:lnTo>
                    <a:pt x="1028" y="999"/>
                  </a:lnTo>
                  <a:lnTo>
                    <a:pt x="1019" y="1000"/>
                  </a:lnTo>
                  <a:lnTo>
                    <a:pt x="1011" y="1002"/>
                  </a:lnTo>
                  <a:lnTo>
                    <a:pt x="1006" y="1005"/>
                  </a:lnTo>
                  <a:lnTo>
                    <a:pt x="994" y="1012"/>
                  </a:lnTo>
                  <a:lnTo>
                    <a:pt x="984" y="1020"/>
                  </a:lnTo>
                  <a:lnTo>
                    <a:pt x="974" y="1027"/>
                  </a:lnTo>
                  <a:lnTo>
                    <a:pt x="962" y="1035"/>
                  </a:lnTo>
                  <a:lnTo>
                    <a:pt x="955" y="1038"/>
                  </a:lnTo>
                  <a:lnTo>
                    <a:pt x="949" y="1040"/>
                  </a:lnTo>
                  <a:lnTo>
                    <a:pt x="940" y="1041"/>
                  </a:lnTo>
                  <a:lnTo>
                    <a:pt x="930" y="1042"/>
                  </a:lnTo>
                  <a:lnTo>
                    <a:pt x="922" y="1041"/>
                  </a:lnTo>
                  <a:lnTo>
                    <a:pt x="913" y="1039"/>
                  </a:lnTo>
                  <a:lnTo>
                    <a:pt x="902" y="1037"/>
                  </a:lnTo>
                  <a:lnTo>
                    <a:pt x="891" y="1032"/>
                  </a:lnTo>
                  <a:lnTo>
                    <a:pt x="868" y="1023"/>
                  </a:lnTo>
                  <a:lnTo>
                    <a:pt x="845" y="1011"/>
                  </a:lnTo>
                  <a:lnTo>
                    <a:pt x="823" y="999"/>
                  </a:lnTo>
                  <a:lnTo>
                    <a:pt x="805" y="987"/>
                  </a:lnTo>
                  <a:lnTo>
                    <a:pt x="797" y="982"/>
                  </a:lnTo>
                  <a:lnTo>
                    <a:pt x="790" y="976"/>
                  </a:lnTo>
                  <a:lnTo>
                    <a:pt x="786" y="971"/>
                  </a:lnTo>
                  <a:lnTo>
                    <a:pt x="784" y="967"/>
                  </a:lnTo>
                  <a:lnTo>
                    <a:pt x="731" y="973"/>
                  </a:lnTo>
                  <a:lnTo>
                    <a:pt x="714" y="962"/>
                  </a:lnTo>
                  <a:lnTo>
                    <a:pt x="697" y="953"/>
                  </a:lnTo>
                  <a:lnTo>
                    <a:pt x="680" y="945"/>
                  </a:lnTo>
                  <a:lnTo>
                    <a:pt x="658" y="937"/>
                  </a:lnTo>
                  <a:lnTo>
                    <a:pt x="653" y="932"/>
                  </a:lnTo>
                  <a:lnTo>
                    <a:pt x="650" y="925"/>
                  </a:lnTo>
                  <a:lnTo>
                    <a:pt x="648" y="917"/>
                  </a:lnTo>
                  <a:lnTo>
                    <a:pt x="644" y="910"/>
                  </a:lnTo>
                  <a:lnTo>
                    <a:pt x="642" y="904"/>
                  </a:lnTo>
                  <a:lnTo>
                    <a:pt x="639" y="898"/>
                  </a:lnTo>
                  <a:lnTo>
                    <a:pt x="638" y="896"/>
                  </a:lnTo>
                  <a:lnTo>
                    <a:pt x="636" y="895"/>
                  </a:lnTo>
                  <a:lnTo>
                    <a:pt x="633" y="894"/>
                  </a:lnTo>
                  <a:lnTo>
                    <a:pt x="631" y="894"/>
                  </a:lnTo>
                  <a:lnTo>
                    <a:pt x="607" y="887"/>
                  </a:lnTo>
                  <a:lnTo>
                    <a:pt x="588" y="883"/>
                  </a:lnTo>
                  <a:lnTo>
                    <a:pt x="575" y="882"/>
                  </a:lnTo>
                  <a:lnTo>
                    <a:pt x="565" y="880"/>
                  </a:lnTo>
                  <a:lnTo>
                    <a:pt x="561" y="879"/>
                  </a:lnTo>
                  <a:lnTo>
                    <a:pt x="558" y="877"/>
                  </a:lnTo>
                  <a:lnTo>
                    <a:pt x="554" y="874"/>
                  </a:lnTo>
                  <a:lnTo>
                    <a:pt x="551" y="870"/>
                  </a:lnTo>
                  <a:lnTo>
                    <a:pt x="546" y="857"/>
                  </a:lnTo>
                  <a:lnTo>
                    <a:pt x="538" y="838"/>
                  </a:lnTo>
                  <a:lnTo>
                    <a:pt x="537" y="835"/>
                  </a:lnTo>
                  <a:lnTo>
                    <a:pt x="535" y="833"/>
                  </a:lnTo>
                  <a:lnTo>
                    <a:pt x="532" y="831"/>
                  </a:lnTo>
                  <a:lnTo>
                    <a:pt x="530" y="829"/>
                  </a:lnTo>
                  <a:lnTo>
                    <a:pt x="524" y="828"/>
                  </a:lnTo>
                  <a:lnTo>
                    <a:pt x="517" y="828"/>
                  </a:lnTo>
                  <a:lnTo>
                    <a:pt x="509" y="828"/>
                  </a:lnTo>
                  <a:lnTo>
                    <a:pt x="501" y="828"/>
                  </a:lnTo>
                  <a:lnTo>
                    <a:pt x="493" y="828"/>
                  </a:lnTo>
                  <a:lnTo>
                    <a:pt x="485" y="826"/>
                  </a:lnTo>
                  <a:lnTo>
                    <a:pt x="480" y="822"/>
                  </a:lnTo>
                  <a:lnTo>
                    <a:pt x="472" y="816"/>
                  </a:lnTo>
                  <a:lnTo>
                    <a:pt x="464" y="806"/>
                  </a:lnTo>
                  <a:lnTo>
                    <a:pt x="457" y="796"/>
                  </a:lnTo>
                  <a:lnTo>
                    <a:pt x="450" y="784"/>
                  </a:lnTo>
                  <a:lnTo>
                    <a:pt x="445" y="773"/>
                  </a:lnTo>
                  <a:lnTo>
                    <a:pt x="442" y="768"/>
                  </a:lnTo>
                  <a:lnTo>
                    <a:pt x="440" y="762"/>
                  </a:lnTo>
                  <a:lnTo>
                    <a:pt x="439" y="757"/>
                  </a:lnTo>
                  <a:lnTo>
                    <a:pt x="439" y="751"/>
                  </a:lnTo>
                  <a:lnTo>
                    <a:pt x="439" y="747"/>
                  </a:lnTo>
                  <a:lnTo>
                    <a:pt x="440" y="743"/>
                  </a:lnTo>
                  <a:lnTo>
                    <a:pt x="441" y="739"/>
                  </a:lnTo>
                  <a:lnTo>
                    <a:pt x="443" y="735"/>
                  </a:lnTo>
                  <a:lnTo>
                    <a:pt x="449" y="728"/>
                  </a:lnTo>
                  <a:lnTo>
                    <a:pt x="456" y="720"/>
                  </a:lnTo>
                  <a:lnTo>
                    <a:pt x="461" y="713"/>
                  </a:lnTo>
                  <a:lnTo>
                    <a:pt x="467" y="705"/>
                  </a:lnTo>
                  <a:lnTo>
                    <a:pt x="469" y="700"/>
                  </a:lnTo>
                  <a:lnTo>
                    <a:pt x="471" y="694"/>
                  </a:lnTo>
                  <a:lnTo>
                    <a:pt x="472" y="689"/>
                  </a:lnTo>
                  <a:lnTo>
                    <a:pt x="472" y="684"/>
                  </a:lnTo>
                  <a:lnTo>
                    <a:pt x="471" y="664"/>
                  </a:lnTo>
                  <a:lnTo>
                    <a:pt x="468" y="647"/>
                  </a:lnTo>
                  <a:lnTo>
                    <a:pt x="463" y="630"/>
                  </a:lnTo>
                  <a:lnTo>
                    <a:pt x="457" y="615"/>
                  </a:lnTo>
                  <a:lnTo>
                    <a:pt x="450" y="601"/>
                  </a:lnTo>
                  <a:lnTo>
                    <a:pt x="441" y="589"/>
                  </a:lnTo>
                  <a:lnTo>
                    <a:pt x="431" y="576"/>
                  </a:lnTo>
                  <a:lnTo>
                    <a:pt x="423" y="565"/>
                  </a:lnTo>
                  <a:lnTo>
                    <a:pt x="402" y="543"/>
                  </a:lnTo>
                  <a:lnTo>
                    <a:pt x="382" y="520"/>
                  </a:lnTo>
                  <a:lnTo>
                    <a:pt x="373" y="509"/>
                  </a:lnTo>
                  <a:lnTo>
                    <a:pt x="366" y="496"/>
                  </a:lnTo>
                  <a:lnTo>
                    <a:pt x="358" y="483"/>
                  </a:lnTo>
                  <a:lnTo>
                    <a:pt x="352" y="468"/>
                  </a:lnTo>
                  <a:lnTo>
                    <a:pt x="350" y="464"/>
                  </a:lnTo>
                  <a:lnTo>
                    <a:pt x="348" y="460"/>
                  </a:lnTo>
                  <a:lnTo>
                    <a:pt x="345" y="456"/>
                  </a:lnTo>
                  <a:lnTo>
                    <a:pt x="341" y="453"/>
                  </a:lnTo>
                  <a:lnTo>
                    <a:pt x="333" y="447"/>
                  </a:lnTo>
                  <a:lnTo>
                    <a:pt x="324" y="441"/>
                  </a:lnTo>
                  <a:lnTo>
                    <a:pt x="314" y="435"/>
                  </a:lnTo>
                  <a:lnTo>
                    <a:pt x="306" y="429"/>
                  </a:lnTo>
                  <a:lnTo>
                    <a:pt x="304" y="426"/>
                  </a:lnTo>
                  <a:lnTo>
                    <a:pt x="301" y="422"/>
                  </a:lnTo>
                  <a:lnTo>
                    <a:pt x="300" y="417"/>
                  </a:lnTo>
                  <a:lnTo>
                    <a:pt x="300" y="413"/>
                  </a:lnTo>
                  <a:lnTo>
                    <a:pt x="306" y="404"/>
                  </a:lnTo>
                  <a:lnTo>
                    <a:pt x="313" y="394"/>
                  </a:lnTo>
                  <a:lnTo>
                    <a:pt x="306" y="391"/>
                  </a:lnTo>
                  <a:lnTo>
                    <a:pt x="300" y="388"/>
                  </a:lnTo>
                  <a:lnTo>
                    <a:pt x="297" y="380"/>
                  </a:lnTo>
                  <a:lnTo>
                    <a:pt x="293" y="369"/>
                  </a:lnTo>
                  <a:lnTo>
                    <a:pt x="286" y="356"/>
                  </a:lnTo>
                  <a:lnTo>
                    <a:pt x="279" y="344"/>
                  </a:lnTo>
                  <a:lnTo>
                    <a:pt x="262" y="321"/>
                  </a:lnTo>
                  <a:lnTo>
                    <a:pt x="252" y="308"/>
                  </a:lnTo>
                  <a:lnTo>
                    <a:pt x="245" y="291"/>
                  </a:lnTo>
                  <a:lnTo>
                    <a:pt x="238" y="278"/>
                  </a:lnTo>
                  <a:lnTo>
                    <a:pt x="230" y="267"/>
                  </a:lnTo>
                  <a:lnTo>
                    <a:pt x="224" y="258"/>
                  </a:lnTo>
                  <a:lnTo>
                    <a:pt x="217" y="248"/>
                  </a:lnTo>
                  <a:lnTo>
                    <a:pt x="211" y="239"/>
                  </a:lnTo>
                  <a:lnTo>
                    <a:pt x="205" y="228"/>
                  </a:lnTo>
                  <a:lnTo>
                    <a:pt x="200" y="216"/>
                  </a:lnTo>
                  <a:lnTo>
                    <a:pt x="193" y="195"/>
                  </a:lnTo>
                  <a:lnTo>
                    <a:pt x="187" y="176"/>
                  </a:lnTo>
                  <a:lnTo>
                    <a:pt x="182" y="158"/>
                  </a:lnTo>
                  <a:lnTo>
                    <a:pt x="178" y="140"/>
                  </a:lnTo>
                  <a:lnTo>
                    <a:pt x="171" y="107"/>
                  </a:lnTo>
                  <a:lnTo>
                    <a:pt x="167" y="74"/>
                  </a:lnTo>
                  <a:lnTo>
                    <a:pt x="155" y="74"/>
                  </a:lnTo>
                  <a:lnTo>
                    <a:pt x="146" y="73"/>
                  </a:lnTo>
                  <a:lnTo>
                    <a:pt x="138" y="71"/>
                  </a:lnTo>
                  <a:lnTo>
                    <a:pt x="132" y="69"/>
                  </a:lnTo>
                  <a:lnTo>
                    <a:pt x="120" y="64"/>
                  </a:lnTo>
                  <a:lnTo>
                    <a:pt x="106" y="56"/>
                  </a:lnTo>
                  <a:lnTo>
                    <a:pt x="97" y="74"/>
                  </a:lnTo>
                  <a:lnTo>
                    <a:pt x="89" y="94"/>
                  </a:lnTo>
                  <a:lnTo>
                    <a:pt x="84" y="104"/>
                  </a:lnTo>
                  <a:lnTo>
                    <a:pt x="82" y="114"/>
                  </a:lnTo>
                  <a:lnTo>
                    <a:pt x="80" y="124"/>
                  </a:lnTo>
                  <a:lnTo>
                    <a:pt x="80" y="135"/>
                  </a:lnTo>
                  <a:lnTo>
                    <a:pt x="81" y="148"/>
                  </a:lnTo>
                  <a:lnTo>
                    <a:pt x="83" y="160"/>
                  </a:lnTo>
                  <a:lnTo>
                    <a:pt x="87" y="171"/>
                  </a:lnTo>
                  <a:lnTo>
                    <a:pt x="90" y="182"/>
                  </a:lnTo>
                  <a:lnTo>
                    <a:pt x="101" y="203"/>
                  </a:lnTo>
                  <a:lnTo>
                    <a:pt x="113" y="222"/>
                  </a:lnTo>
                  <a:lnTo>
                    <a:pt x="125" y="241"/>
                  </a:lnTo>
                  <a:lnTo>
                    <a:pt x="136" y="263"/>
                  </a:lnTo>
                  <a:lnTo>
                    <a:pt x="140" y="273"/>
                  </a:lnTo>
                  <a:lnTo>
                    <a:pt x="144" y="284"/>
                  </a:lnTo>
                  <a:lnTo>
                    <a:pt x="146" y="296"/>
                  </a:lnTo>
                  <a:lnTo>
                    <a:pt x="146" y="308"/>
                  </a:lnTo>
                  <a:lnTo>
                    <a:pt x="147" y="314"/>
                  </a:lnTo>
                  <a:lnTo>
                    <a:pt x="148" y="320"/>
                  </a:lnTo>
                  <a:lnTo>
                    <a:pt x="150" y="326"/>
                  </a:lnTo>
                  <a:lnTo>
                    <a:pt x="154" y="332"/>
                  </a:lnTo>
                  <a:lnTo>
                    <a:pt x="161" y="344"/>
                  </a:lnTo>
                  <a:lnTo>
                    <a:pt x="170" y="355"/>
                  </a:lnTo>
                  <a:lnTo>
                    <a:pt x="178" y="366"/>
                  </a:lnTo>
                  <a:lnTo>
                    <a:pt x="185" y="375"/>
                  </a:lnTo>
                  <a:lnTo>
                    <a:pt x="191" y="383"/>
                  </a:lnTo>
                  <a:lnTo>
                    <a:pt x="193" y="388"/>
                  </a:lnTo>
                  <a:lnTo>
                    <a:pt x="195" y="395"/>
                  </a:lnTo>
                  <a:lnTo>
                    <a:pt x="196" y="402"/>
                  </a:lnTo>
                  <a:lnTo>
                    <a:pt x="196" y="409"/>
                  </a:lnTo>
                  <a:lnTo>
                    <a:pt x="198" y="415"/>
                  </a:lnTo>
                  <a:lnTo>
                    <a:pt x="196" y="429"/>
                  </a:lnTo>
                  <a:lnTo>
                    <a:pt x="195" y="441"/>
                  </a:lnTo>
                  <a:lnTo>
                    <a:pt x="195" y="446"/>
                  </a:lnTo>
                  <a:lnTo>
                    <a:pt x="195" y="452"/>
                  </a:lnTo>
                  <a:lnTo>
                    <a:pt x="196" y="456"/>
                  </a:lnTo>
                  <a:lnTo>
                    <a:pt x="198" y="461"/>
                  </a:lnTo>
                  <a:lnTo>
                    <a:pt x="200" y="465"/>
                  </a:lnTo>
                  <a:lnTo>
                    <a:pt x="203" y="469"/>
                  </a:lnTo>
                  <a:lnTo>
                    <a:pt x="207" y="472"/>
                  </a:lnTo>
                  <a:lnTo>
                    <a:pt x="213" y="474"/>
                  </a:lnTo>
                  <a:lnTo>
                    <a:pt x="211" y="483"/>
                  </a:lnTo>
                  <a:lnTo>
                    <a:pt x="210" y="489"/>
                  </a:lnTo>
                  <a:lnTo>
                    <a:pt x="210" y="495"/>
                  </a:lnTo>
                  <a:lnTo>
                    <a:pt x="211" y="499"/>
                  </a:lnTo>
                  <a:lnTo>
                    <a:pt x="212" y="509"/>
                  </a:lnTo>
                  <a:lnTo>
                    <a:pt x="213" y="524"/>
                  </a:lnTo>
                  <a:lnTo>
                    <a:pt x="221" y="525"/>
                  </a:lnTo>
                  <a:lnTo>
                    <a:pt x="228" y="528"/>
                  </a:lnTo>
                  <a:lnTo>
                    <a:pt x="236" y="533"/>
                  </a:lnTo>
                  <a:lnTo>
                    <a:pt x="244" y="539"/>
                  </a:lnTo>
                  <a:lnTo>
                    <a:pt x="250" y="546"/>
                  </a:lnTo>
                  <a:lnTo>
                    <a:pt x="255" y="553"/>
                  </a:lnTo>
                  <a:lnTo>
                    <a:pt x="258" y="560"/>
                  </a:lnTo>
                  <a:lnTo>
                    <a:pt x="259" y="567"/>
                  </a:lnTo>
                  <a:lnTo>
                    <a:pt x="259" y="571"/>
                  </a:lnTo>
                  <a:lnTo>
                    <a:pt x="258" y="575"/>
                  </a:lnTo>
                  <a:lnTo>
                    <a:pt x="257" y="579"/>
                  </a:lnTo>
                  <a:lnTo>
                    <a:pt x="255" y="583"/>
                  </a:lnTo>
                  <a:lnTo>
                    <a:pt x="250" y="590"/>
                  </a:lnTo>
                  <a:lnTo>
                    <a:pt x="245" y="596"/>
                  </a:lnTo>
                  <a:lnTo>
                    <a:pt x="232" y="604"/>
                  </a:lnTo>
                  <a:lnTo>
                    <a:pt x="219" y="610"/>
                  </a:lnTo>
                  <a:lnTo>
                    <a:pt x="216" y="603"/>
                  </a:lnTo>
                  <a:lnTo>
                    <a:pt x="214" y="596"/>
                  </a:lnTo>
                  <a:lnTo>
                    <a:pt x="213" y="587"/>
                  </a:lnTo>
                  <a:lnTo>
                    <a:pt x="213" y="580"/>
                  </a:lnTo>
                  <a:lnTo>
                    <a:pt x="213" y="573"/>
                  </a:lnTo>
                  <a:lnTo>
                    <a:pt x="212" y="566"/>
                  </a:lnTo>
                  <a:lnTo>
                    <a:pt x="210" y="560"/>
                  </a:lnTo>
                  <a:lnTo>
                    <a:pt x="206" y="555"/>
                  </a:lnTo>
                  <a:lnTo>
                    <a:pt x="203" y="550"/>
                  </a:lnTo>
                  <a:lnTo>
                    <a:pt x="199" y="546"/>
                  </a:lnTo>
                  <a:lnTo>
                    <a:pt x="193" y="542"/>
                  </a:lnTo>
                  <a:lnTo>
                    <a:pt x="188" y="537"/>
                  </a:lnTo>
                  <a:lnTo>
                    <a:pt x="173" y="528"/>
                  </a:lnTo>
                  <a:lnTo>
                    <a:pt x="158" y="519"/>
                  </a:lnTo>
                  <a:lnTo>
                    <a:pt x="144" y="510"/>
                  </a:lnTo>
                  <a:lnTo>
                    <a:pt x="132" y="499"/>
                  </a:lnTo>
                  <a:lnTo>
                    <a:pt x="126" y="494"/>
                  </a:lnTo>
                  <a:lnTo>
                    <a:pt x="123" y="488"/>
                  </a:lnTo>
                  <a:lnTo>
                    <a:pt x="121" y="482"/>
                  </a:lnTo>
                  <a:lnTo>
                    <a:pt x="120" y="474"/>
                  </a:lnTo>
                  <a:lnTo>
                    <a:pt x="121" y="468"/>
                  </a:lnTo>
                  <a:lnTo>
                    <a:pt x="124" y="461"/>
                  </a:lnTo>
                  <a:lnTo>
                    <a:pt x="128" y="456"/>
                  </a:lnTo>
                  <a:lnTo>
                    <a:pt x="133" y="450"/>
                  </a:lnTo>
                  <a:lnTo>
                    <a:pt x="138" y="444"/>
                  </a:lnTo>
                  <a:lnTo>
                    <a:pt x="143" y="438"/>
                  </a:lnTo>
                  <a:lnTo>
                    <a:pt x="145" y="432"/>
                  </a:lnTo>
                  <a:lnTo>
                    <a:pt x="146" y="426"/>
                  </a:lnTo>
                  <a:lnTo>
                    <a:pt x="146" y="420"/>
                  </a:lnTo>
                  <a:lnTo>
                    <a:pt x="145" y="415"/>
                  </a:lnTo>
                  <a:lnTo>
                    <a:pt x="144" y="411"/>
                  </a:lnTo>
                  <a:lnTo>
                    <a:pt x="142" y="406"/>
                  </a:lnTo>
                  <a:lnTo>
                    <a:pt x="136" y="399"/>
                  </a:lnTo>
                  <a:lnTo>
                    <a:pt x="128" y="391"/>
                  </a:lnTo>
                  <a:lnTo>
                    <a:pt x="120" y="385"/>
                  </a:lnTo>
                  <a:lnTo>
                    <a:pt x="111" y="378"/>
                  </a:lnTo>
                  <a:lnTo>
                    <a:pt x="100" y="372"/>
                  </a:lnTo>
                  <a:lnTo>
                    <a:pt x="89" y="366"/>
                  </a:lnTo>
                  <a:lnTo>
                    <a:pt x="78" y="359"/>
                  </a:lnTo>
                  <a:lnTo>
                    <a:pt x="68" y="353"/>
                  </a:lnTo>
                  <a:lnTo>
                    <a:pt x="57" y="347"/>
                  </a:lnTo>
                  <a:lnTo>
                    <a:pt x="48" y="339"/>
                  </a:lnTo>
                  <a:lnTo>
                    <a:pt x="41" y="332"/>
                  </a:lnTo>
                  <a:lnTo>
                    <a:pt x="34" y="323"/>
                  </a:lnTo>
                  <a:lnTo>
                    <a:pt x="32" y="318"/>
                  </a:lnTo>
                  <a:lnTo>
                    <a:pt x="30" y="313"/>
                  </a:lnTo>
                  <a:lnTo>
                    <a:pt x="27" y="307"/>
                  </a:lnTo>
                  <a:lnTo>
                    <a:pt x="27" y="302"/>
                  </a:lnTo>
                  <a:lnTo>
                    <a:pt x="34" y="302"/>
                  </a:lnTo>
                  <a:lnTo>
                    <a:pt x="41" y="301"/>
                  </a:lnTo>
                  <a:lnTo>
                    <a:pt x="46" y="300"/>
                  </a:lnTo>
                  <a:lnTo>
                    <a:pt x="50" y="298"/>
                  </a:lnTo>
                  <a:lnTo>
                    <a:pt x="55" y="297"/>
                  </a:lnTo>
                  <a:lnTo>
                    <a:pt x="59" y="294"/>
                  </a:lnTo>
                  <a:lnTo>
                    <a:pt x="62" y="292"/>
                  </a:lnTo>
                  <a:lnTo>
                    <a:pt x="65" y="289"/>
                  </a:lnTo>
                  <a:lnTo>
                    <a:pt x="69" y="282"/>
                  </a:lnTo>
                  <a:lnTo>
                    <a:pt x="71" y="274"/>
                  </a:lnTo>
                  <a:lnTo>
                    <a:pt x="73" y="264"/>
                  </a:lnTo>
                  <a:lnTo>
                    <a:pt x="73" y="252"/>
                  </a:lnTo>
                  <a:lnTo>
                    <a:pt x="73" y="247"/>
                  </a:lnTo>
                  <a:lnTo>
                    <a:pt x="72" y="242"/>
                  </a:lnTo>
                  <a:lnTo>
                    <a:pt x="71" y="237"/>
                  </a:lnTo>
                  <a:lnTo>
                    <a:pt x="69" y="233"/>
                  </a:lnTo>
                  <a:lnTo>
                    <a:pt x="64" y="225"/>
                  </a:lnTo>
                  <a:lnTo>
                    <a:pt x="58" y="217"/>
                  </a:lnTo>
                  <a:lnTo>
                    <a:pt x="43" y="205"/>
                  </a:lnTo>
                  <a:lnTo>
                    <a:pt x="27" y="191"/>
                  </a:lnTo>
                  <a:lnTo>
                    <a:pt x="19" y="176"/>
                  </a:lnTo>
                  <a:lnTo>
                    <a:pt x="13" y="163"/>
                  </a:lnTo>
                  <a:lnTo>
                    <a:pt x="10" y="151"/>
                  </a:lnTo>
                  <a:lnTo>
                    <a:pt x="9" y="139"/>
                  </a:lnTo>
                  <a:lnTo>
                    <a:pt x="8" y="128"/>
                  </a:lnTo>
                  <a:lnTo>
                    <a:pt x="6" y="117"/>
                  </a:lnTo>
                  <a:lnTo>
                    <a:pt x="4" y="106"/>
                  </a:lnTo>
                  <a:lnTo>
                    <a:pt x="0" y="93"/>
                  </a:lnTo>
                  <a:lnTo>
                    <a:pt x="0" y="50"/>
                  </a:lnTo>
                  <a:lnTo>
                    <a:pt x="1" y="36"/>
                  </a:lnTo>
                  <a:lnTo>
                    <a:pt x="3" y="22"/>
                  </a:lnTo>
                  <a:lnTo>
                    <a:pt x="5" y="10"/>
                  </a:lnTo>
                  <a:lnTo>
                    <a:pt x="6" y="0"/>
                  </a:lnTo>
                  <a:lnTo>
                    <a:pt x="23" y="4"/>
                  </a:lnTo>
                  <a:lnTo>
                    <a:pt x="38" y="5"/>
                  </a:lnTo>
                  <a:lnTo>
                    <a:pt x="53" y="6"/>
                  </a:lnTo>
                  <a:lnTo>
                    <a:pt x="66" y="5"/>
                  </a:lnTo>
                  <a:lnTo>
                    <a:pt x="92" y="2"/>
                  </a:lnTo>
                  <a:lnTo>
                    <a:pt x="120" y="0"/>
                  </a:lnTo>
                  <a:lnTo>
                    <a:pt x="140" y="1"/>
                  </a:lnTo>
                  <a:lnTo>
                    <a:pt x="159" y="4"/>
                  </a:lnTo>
                  <a:lnTo>
                    <a:pt x="178" y="7"/>
                  </a:lnTo>
                  <a:lnTo>
                    <a:pt x="194" y="13"/>
                  </a:lnTo>
                  <a:lnTo>
                    <a:pt x="211" y="18"/>
                  </a:lnTo>
                  <a:lnTo>
                    <a:pt x="226" y="25"/>
                  </a:lnTo>
                  <a:lnTo>
                    <a:pt x="243" y="33"/>
                  </a:lnTo>
                  <a:lnTo>
                    <a:pt x="258" y="41"/>
                  </a:lnTo>
                  <a:lnTo>
                    <a:pt x="273" y="48"/>
                  </a:lnTo>
                  <a:lnTo>
                    <a:pt x="290" y="55"/>
                  </a:lnTo>
                  <a:lnTo>
                    <a:pt x="306" y="62"/>
                  </a:lnTo>
                  <a:lnTo>
                    <a:pt x="324" y="68"/>
                  </a:lnTo>
                  <a:lnTo>
                    <a:pt x="342" y="73"/>
                  </a:lnTo>
                  <a:lnTo>
                    <a:pt x="361" y="76"/>
                  </a:lnTo>
                  <a:lnTo>
                    <a:pt x="383" y="79"/>
                  </a:lnTo>
                  <a:lnTo>
                    <a:pt x="405" y="80"/>
                  </a:lnTo>
                  <a:lnTo>
                    <a:pt x="419" y="79"/>
                  </a:lnTo>
                  <a:lnTo>
                    <a:pt x="432" y="78"/>
                  </a:lnTo>
                  <a:lnTo>
                    <a:pt x="443" y="77"/>
                  </a:lnTo>
                  <a:lnTo>
                    <a:pt x="452" y="74"/>
                  </a:lnTo>
                  <a:lnTo>
                    <a:pt x="470" y="68"/>
                  </a:lnTo>
                  <a:lnTo>
                    <a:pt x="484" y="62"/>
                  </a:lnTo>
                  <a:lnTo>
                    <a:pt x="498" y="55"/>
                  </a:lnTo>
                  <a:lnTo>
                    <a:pt x="515" y="49"/>
                  </a:lnTo>
                  <a:lnTo>
                    <a:pt x="524" y="47"/>
                  </a:lnTo>
                  <a:lnTo>
                    <a:pt x="534" y="45"/>
                  </a:lnTo>
                  <a:lnTo>
                    <a:pt x="546" y="44"/>
                  </a:lnTo>
                  <a:lnTo>
                    <a:pt x="559" y="44"/>
                  </a:lnTo>
                  <a:lnTo>
                    <a:pt x="569" y="44"/>
                  </a:lnTo>
                  <a:lnTo>
                    <a:pt x="577" y="46"/>
                  </a:lnTo>
                  <a:lnTo>
                    <a:pt x="585" y="50"/>
                  </a:lnTo>
                  <a:lnTo>
                    <a:pt x="593" y="54"/>
                  </a:lnTo>
                  <a:lnTo>
                    <a:pt x="598" y="59"/>
                  </a:lnTo>
                  <a:lnTo>
                    <a:pt x="603" y="65"/>
                  </a:lnTo>
                  <a:lnTo>
                    <a:pt x="607" y="71"/>
                  </a:lnTo>
                  <a:lnTo>
                    <a:pt x="610" y="77"/>
                  </a:lnTo>
                  <a:lnTo>
                    <a:pt x="617" y="90"/>
                  </a:lnTo>
                  <a:lnTo>
                    <a:pt x="622" y="101"/>
                  </a:lnTo>
                  <a:lnTo>
                    <a:pt x="626" y="105"/>
                  </a:lnTo>
                  <a:lnTo>
                    <a:pt x="629" y="108"/>
                  </a:lnTo>
                  <a:lnTo>
                    <a:pt x="633" y="110"/>
                  </a:lnTo>
                  <a:lnTo>
                    <a:pt x="638" y="111"/>
                  </a:lnTo>
                  <a:lnTo>
                    <a:pt x="642" y="121"/>
                  </a:lnTo>
                  <a:lnTo>
                    <a:pt x="649" y="134"/>
                  </a:lnTo>
                  <a:lnTo>
                    <a:pt x="658" y="151"/>
                  </a:lnTo>
                  <a:lnTo>
                    <a:pt x="667" y="169"/>
                  </a:lnTo>
                  <a:lnTo>
                    <a:pt x="678" y="186"/>
                  </a:lnTo>
                  <a:lnTo>
                    <a:pt x="689" y="202"/>
                  </a:lnTo>
                  <a:lnTo>
                    <a:pt x="695" y="209"/>
                  </a:lnTo>
                  <a:lnTo>
                    <a:pt x="700" y="215"/>
                  </a:lnTo>
                  <a:lnTo>
                    <a:pt x="706" y="219"/>
                  </a:lnTo>
                  <a:lnTo>
                    <a:pt x="711" y="222"/>
                  </a:lnTo>
                  <a:lnTo>
                    <a:pt x="738" y="222"/>
                  </a:lnTo>
                  <a:lnTo>
                    <a:pt x="738" y="217"/>
                  </a:lnTo>
                  <a:lnTo>
                    <a:pt x="739" y="211"/>
                  </a:lnTo>
                  <a:lnTo>
                    <a:pt x="741" y="206"/>
                  </a:lnTo>
                  <a:lnTo>
                    <a:pt x="743" y="202"/>
                  </a:lnTo>
                  <a:lnTo>
                    <a:pt x="747" y="196"/>
                  </a:lnTo>
                  <a:lnTo>
                    <a:pt x="750" y="192"/>
                  </a:lnTo>
                  <a:lnTo>
                    <a:pt x="754" y="189"/>
                  </a:lnTo>
                  <a:lnTo>
                    <a:pt x="759" y="185"/>
                  </a:lnTo>
                  <a:lnTo>
                    <a:pt x="768" y="180"/>
                  </a:lnTo>
                  <a:lnTo>
                    <a:pt x="779" y="176"/>
                  </a:lnTo>
                  <a:lnTo>
                    <a:pt x="792" y="173"/>
                  </a:lnTo>
                  <a:lnTo>
                    <a:pt x="805" y="173"/>
                  </a:lnTo>
                  <a:lnTo>
                    <a:pt x="810" y="173"/>
                  </a:lnTo>
                  <a:lnTo>
                    <a:pt x="816" y="174"/>
                  </a:lnTo>
                  <a:lnTo>
                    <a:pt x="822" y="176"/>
                  </a:lnTo>
                  <a:lnTo>
                    <a:pt x="828" y="178"/>
                  </a:lnTo>
                  <a:lnTo>
                    <a:pt x="833" y="181"/>
                  </a:lnTo>
                  <a:lnTo>
                    <a:pt x="838" y="185"/>
                  </a:lnTo>
                  <a:lnTo>
                    <a:pt x="843" y="189"/>
                  </a:lnTo>
                  <a:lnTo>
                    <a:pt x="848" y="193"/>
                  </a:lnTo>
                  <a:lnTo>
                    <a:pt x="856" y="205"/>
                  </a:lnTo>
                  <a:lnTo>
                    <a:pt x="865" y="217"/>
                  </a:lnTo>
                  <a:lnTo>
                    <a:pt x="872" y="230"/>
                  </a:lnTo>
                  <a:lnTo>
                    <a:pt x="879" y="244"/>
                  </a:lnTo>
                  <a:lnTo>
                    <a:pt x="885" y="260"/>
                  </a:lnTo>
                  <a:lnTo>
                    <a:pt x="889" y="275"/>
                  </a:lnTo>
                  <a:lnTo>
                    <a:pt x="894" y="290"/>
                  </a:lnTo>
                  <a:lnTo>
                    <a:pt x="898" y="305"/>
                  </a:lnTo>
                  <a:lnTo>
                    <a:pt x="900" y="320"/>
                  </a:lnTo>
                  <a:lnTo>
                    <a:pt x="902" y="334"/>
                  </a:lnTo>
                  <a:lnTo>
                    <a:pt x="904" y="346"/>
                  </a:lnTo>
                  <a:lnTo>
                    <a:pt x="904" y="357"/>
                  </a:lnTo>
                  <a:lnTo>
                    <a:pt x="905" y="362"/>
                  </a:lnTo>
                  <a:lnTo>
                    <a:pt x="906" y="367"/>
                  </a:lnTo>
                  <a:lnTo>
                    <a:pt x="908" y="372"/>
                  </a:lnTo>
                  <a:lnTo>
                    <a:pt x="910" y="376"/>
                  </a:lnTo>
                  <a:lnTo>
                    <a:pt x="918" y="384"/>
                  </a:lnTo>
                  <a:lnTo>
                    <a:pt x="928" y="391"/>
                  </a:lnTo>
                  <a:lnTo>
                    <a:pt x="939" y="398"/>
                  </a:lnTo>
                  <a:lnTo>
                    <a:pt x="952" y="402"/>
                  </a:lnTo>
                  <a:lnTo>
                    <a:pt x="957" y="404"/>
                  </a:lnTo>
                  <a:lnTo>
                    <a:pt x="964" y="405"/>
                  </a:lnTo>
                  <a:lnTo>
                    <a:pt x="971" y="406"/>
                  </a:lnTo>
                  <a:lnTo>
                    <a:pt x="977" y="407"/>
                  </a:lnTo>
                  <a:lnTo>
                    <a:pt x="977" y="394"/>
                  </a:lnTo>
                  <a:lnTo>
                    <a:pt x="976" y="414"/>
                  </a:lnTo>
                  <a:lnTo>
                    <a:pt x="975" y="430"/>
                  </a:lnTo>
                  <a:lnTo>
                    <a:pt x="974" y="437"/>
                  </a:lnTo>
                  <a:lnTo>
                    <a:pt x="974" y="443"/>
                  </a:lnTo>
                  <a:lnTo>
                    <a:pt x="975" y="449"/>
                  </a:lnTo>
                  <a:lnTo>
                    <a:pt x="977" y="456"/>
                  </a:lnTo>
                  <a:lnTo>
                    <a:pt x="971" y="457"/>
                  </a:lnTo>
                  <a:lnTo>
                    <a:pt x="964" y="458"/>
                  </a:lnTo>
                  <a:lnTo>
                    <a:pt x="958" y="461"/>
                  </a:lnTo>
                  <a:lnTo>
                    <a:pt x="953" y="464"/>
                  </a:lnTo>
                  <a:lnTo>
                    <a:pt x="949" y="467"/>
                  </a:lnTo>
                  <a:lnTo>
                    <a:pt x="944" y="471"/>
                  </a:lnTo>
                  <a:lnTo>
                    <a:pt x="940" y="475"/>
                  </a:lnTo>
                  <a:lnTo>
                    <a:pt x="936" y="481"/>
                  </a:lnTo>
                  <a:lnTo>
                    <a:pt x="931" y="492"/>
                  </a:lnTo>
                  <a:lnTo>
                    <a:pt x="926" y="504"/>
                  </a:lnTo>
                  <a:lnTo>
                    <a:pt x="922" y="517"/>
                  </a:lnTo>
                  <a:lnTo>
                    <a:pt x="920" y="531"/>
                  </a:lnTo>
                  <a:lnTo>
                    <a:pt x="918" y="546"/>
                  </a:lnTo>
                  <a:lnTo>
                    <a:pt x="917" y="561"/>
                  </a:lnTo>
                  <a:lnTo>
                    <a:pt x="917" y="575"/>
                  </a:lnTo>
                  <a:lnTo>
                    <a:pt x="917" y="590"/>
                  </a:lnTo>
                  <a:lnTo>
                    <a:pt x="917" y="615"/>
                  </a:lnTo>
                  <a:lnTo>
                    <a:pt x="917" y="634"/>
                  </a:lnTo>
                  <a:lnTo>
                    <a:pt x="917" y="654"/>
                  </a:lnTo>
                  <a:lnTo>
                    <a:pt x="918" y="685"/>
                  </a:lnTo>
                  <a:lnTo>
                    <a:pt x="919" y="702"/>
                  </a:lnTo>
                  <a:lnTo>
                    <a:pt x="920" y="717"/>
                  </a:lnTo>
                  <a:lnTo>
                    <a:pt x="921" y="730"/>
                  </a:lnTo>
                  <a:lnTo>
                    <a:pt x="923" y="739"/>
                  </a:lnTo>
                  <a:lnTo>
                    <a:pt x="933" y="758"/>
                  </a:lnTo>
                  <a:lnTo>
                    <a:pt x="947" y="780"/>
                  </a:lnTo>
                  <a:lnTo>
                    <a:pt x="956" y="791"/>
                  </a:lnTo>
                  <a:lnTo>
                    <a:pt x="965" y="803"/>
                  </a:lnTo>
                  <a:lnTo>
                    <a:pt x="975" y="816"/>
                  </a:lnTo>
                  <a:lnTo>
                    <a:pt x="985" y="827"/>
                  </a:lnTo>
                  <a:lnTo>
                    <a:pt x="996" y="838"/>
                  </a:lnTo>
                  <a:lnTo>
                    <a:pt x="1007" y="848"/>
                  </a:lnTo>
                  <a:lnTo>
                    <a:pt x="1019" y="857"/>
                  </a:lnTo>
                  <a:lnTo>
                    <a:pt x="1030" y="865"/>
                  </a:lnTo>
                  <a:lnTo>
                    <a:pt x="1042" y="872"/>
                  </a:lnTo>
                  <a:lnTo>
                    <a:pt x="1054" y="877"/>
                  </a:lnTo>
                  <a:lnTo>
                    <a:pt x="1065" y="880"/>
                  </a:lnTo>
                  <a:lnTo>
                    <a:pt x="1077" y="881"/>
                  </a:lnTo>
                  <a:lnTo>
                    <a:pt x="1090" y="877"/>
                  </a:lnTo>
                  <a:lnTo>
                    <a:pt x="1114" y="865"/>
                  </a:lnTo>
                  <a:lnTo>
                    <a:pt x="1126" y="860"/>
                  </a:lnTo>
                  <a:lnTo>
                    <a:pt x="1140" y="855"/>
                  </a:lnTo>
                  <a:lnTo>
                    <a:pt x="1149" y="852"/>
                  </a:lnTo>
                  <a:lnTo>
                    <a:pt x="1156" y="850"/>
                  </a:lnTo>
                  <a:lnTo>
                    <a:pt x="1166" y="849"/>
                  </a:lnTo>
                  <a:lnTo>
                    <a:pt x="1178" y="849"/>
                  </a:lnTo>
                  <a:lnTo>
                    <a:pt x="1192" y="851"/>
                  </a:lnTo>
                  <a:lnTo>
                    <a:pt x="1208" y="852"/>
                  </a:lnTo>
                  <a:lnTo>
                    <a:pt x="1222" y="854"/>
                  </a:lnTo>
                  <a:lnTo>
                    <a:pt x="1235" y="854"/>
                  </a:lnTo>
                  <a:lnTo>
                    <a:pt x="1240" y="854"/>
                  </a:lnTo>
                  <a:lnTo>
                    <a:pt x="1244" y="853"/>
                  </a:lnTo>
                  <a:lnTo>
                    <a:pt x="1247" y="852"/>
                  </a:lnTo>
                  <a:lnTo>
                    <a:pt x="1249" y="850"/>
                  </a:lnTo>
                  <a:lnTo>
                    <a:pt x="1257" y="842"/>
                  </a:lnTo>
                  <a:lnTo>
                    <a:pt x="1264" y="834"/>
                  </a:lnTo>
                  <a:lnTo>
                    <a:pt x="1269" y="826"/>
                  </a:lnTo>
                  <a:lnTo>
                    <a:pt x="1274" y="818"/>
                  </a:lnTo>
                  <a:lnTo>
                    <a:pt x="1280" y="801"/>
                  </a:lnTo>
                  <a:lnTo>
                    <a:pt x="1285" y="785"/>
                  </a:lnTo>
                  <a:lnTo>
                    <a:pt x="1288" y="768"/>
                  </a:lnTo>
                  <a:lnTo>
                    <a:pt x="1292" y="750"/>
                  </a:lnTo>
                  <a:lnTo>
                    <a:pt x="1296" y="742"/>
                  </a:lnTo>
                  <a:lnTo>
                    <a:pt x="1299" y="733"/>
                  </a:lnTo>
                  <a:lnTo>
                    <a:pt x="1303" y="724"/>
                  </a:lnTo>
                  <a:lnTo>
                    <a:pt x="1309" y="715"/>
                  </a:lnTo>
                  <a:lnTo>
                    <a:pt x="1311" y="712"/>
                  </a:lnTo>
                  <a:lnTo>
                    <a:pt x="1313" y="709"/>
                  </a:lnTo>
                  <a:lnTo>
                    <a:pt x="1315" y="706"/>
                  </a:lnTo>
                  <a:lnTo>
                    <a:pt x="1319" y="703"/>
                  </a:lnTo>
                  <a:lnTo>
                    <a:pt x="1326" y="697"/>
                  </a:lnTo>
                  <a:lnTo>
                    <a:pt x="1336" y="693"/>
                  </a:lnTo>
                  <a:lnTo>
                    <a:pt x="1347" y="690"/>
                  </a:lnTo>
                  <a:lnTo>
                    <a:pt x="1359" y="687"/>
                  </a:lnTo>
                  <a:lnTo>
                    <a:pt x="1373" y="684"/>
                  </a:lnTo>
                  <a:lnTo>
                    <a:pt x="1387" y="682"/>
                  </a:lnTo>
                  <a:lnTo>
                    <a:pt x="1416" y="680"/>
                  </a:lnTo>
                  <a:lnTo>
                    <a:pt x="1446" y="678"/>
                  </a:lnTo>
                  <a:lnTo>
                    <a:pt x="1472" y="678"/>
                  </a:lnTo>
                  <a:lnTo>
                    <a:pt x="1495" y="678"/>
                  </a:lnTo>
                  <a:lnTo>
                    <a:pt x="1506" y="678"/>
                  </a:lnTo>
                  <a:lnTo>
                    <a:pt x="1522" y="678"/>
                  </a:lnTo>
                  <a:lnTo>
                    <a:pt x="1524" y="684"/>
                  </a:lnTo>
                  <a:lnTo>
                    <a:pt x="1528" y="693"/>
                  </a:lnTo>
                  <a:lnTo>
                    <a:pt x="1533" y="703"/>
                  </a:lnTo>
                  <a:lnTo>
                    <a:pt x="1535" y="709"/>
                  </a:lnTo>
                  <a:lnTo>
                    <a:pt x="1526" y="714"/>
                  </a:lnTo>
                  <a:lnTo>
                    <a:pt x="1515" y="720"/>
                  </a:lnTo>
                  <a:lnTo>
                    <a:pt x="1510" y="724"/>
                  </a:lnTo>
                  <a:lnTo>
                    <a:pt x="1503" y="729"/>
                  </a:lnTo>
                  <a:lnTo>
                    <a:pt x="1498" y="735"/>
                  </a:lnTo>
                  <a:lnTo>
                    <a:pt x="1492" y="741"/>
                  </a:lnTo>
                  <a:lnTo>
                    <a:pt x="1487" y="748"/>
                  </a:lnTo>
                  <a:lnTo>
                    <a:pt x="1481" y="758"/>
                  </a:lnTo>
                  <a:lnTo>
                    <a:pt x="1477" y="767"/>
                  </a:lnTo>
                  <a:lnTo>
                    <a:pt x="1473" y="778"/>
                  </a:lnTo>
                  <a:lnTo>
                    <a:pt x="1470" y="791"/>
                  </a:lnTo>
                  <a:lnTo>
                    <a:pt x="1469" y="804"/>
                  </a:lnTo>
                  <a:lnTo>
                    <a:pt x="1468" y="821"/>
                  </a:lnTo>
                  <a:lnTo>
                    <a:pt x="1469" y="838"/>
                  </a:lnTo>
                  <a:lnTo>
                    <a:pt x="1455" y="854"/>
                  </a:lnTo>
                  <a:lnTo>
                    <a:pt x="1444" y="868"/>
                  </a:lnTo>
                  <a:lnTo>
                    <a:pt x="1435" y="878"/>
                  </a:lnTo>
                  <a:lnTo>
                    <a:pt x="1428" y="888"/>
                  </a:lnTo>
                  <a:lnTo>
                    <a:pt x="1414" y="888"/>
                  </a:lnTo>
                  <a:lnTo>
                    <a:pt x="1401" y="888"/>
                  </a:lnTo>
                  <a:lnTo>
                    <a:pt x="1387" y="888"/>
                  </a:lnTo>
                  <a:lnTo>
                    <a:pt x="1369" y="888"/>
                  </a:lnTo>
                  <a:lnTo>
                    <a:pt x="1367" y="888"/>
                  </a:lnTo>
                  <a:lnTo>
                    <a:pt x="1359" y="888"/>
                  </a:lnTo>
                  <a:lnTo>
                    <a:pt x="1349" y="888"/>
                  </a:lnTo>
                  <a:lnTo>
                    <a:pt x="1336" y="88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11" name="Freeform 194"/>
            <p:cNvSpPr>
              <a:spLocks/>
            </p:cNvSpPr>
            <p:nvPr>
              <p:custDataLst>
                <p:tags r:id="rId137"/>
              </p:custDataLst>
            </p:nvPr>
          </p:nvSpPr>
          <p:spPr bwMode="auto">
            <a:xfrm>
              <a:off x="4602837" y="4954178"/>
              <a:ext cx="210665" cy="264828"/>
            </a:xfrm>
            <a:custGeom>
              <a:avLst/>
              <a:gdLst>
                <a:gd name="T0" fmla="*/ 14 w 486"/>
                <a:gd name="T1" fmla="*/ 176 h 505"/>
                <a:gd name="T2" fmla="*/ 31 w 486"/>
                <a:gd name="T3" fmla="*/ 198 h 505"/>
                <a:gd name="T4" fmla="*/ 51 w 486"/>
                <a:gd name="T5" fmla="*/ 232 h 505"/>
                <a:gd name="T6" fmla="*/ 82 w 486"/>
                <a:gd name="T7" fmla="*/ 266 h 505"/>
                <a:gd name="T8" fmla="*/ 126 w 486"/>
                <a:gd name="T9" fmla="*/ 293 h 505"/>
                <a:gd name="T10" fmla="*/ 170 w 486"/>
                <a:gd name="T11" fmla="*/ 310 h 505"/>
                <a:gd name="T12" fmla="*/ 246 w 486"/>
                <a:gd name="T13" fmla="*/ 328 h 505"/>
                <a:gd name="T14" fmla="*/ 295 w 486"/>
                <a:gd name="T15" fmla="*/ 344 h 505"/>
                <a:gd name="T16" fmla="*/ 299 w 486"/>
                <a:gd name="T17" fmla="*/ 381 h 505"/>
                <a:gd name="T18" fmla="*/ 277 w 486"/>
                <a:gd name="T19" fmla="*/ 418 h 505"/>
                <a:gd name="T20" fmla="*/ 267 w 486"/>
                <a:gd name="T21" fmla="*/ 443 h 505"/>
                <a:gd name="T22" fmla="*/ 266 w 486"/>
                <a:gd name="T23" fmla="*/ 463 h 505"/>
                <a:gd name="T24" fmla="*/ 278 w 486"/>
                <a:gd name="T25" fmla="*/ 482 h 505"/>
                <a:gd name="T26" fmla="*/ 299 w 486"/>
                <a:gd name="T27" fmla="*/ 494 h 505"/>
                <a:gd name="T28" fmla="*/ 344 w 486"/>
                <a:gd name="T29" fmla="*/ 504 h 505"/>
                <a:gd name="T30" fmla="*/ 387 w 486"/>
                <a:gd name="T31" fmla="*/ 504 h 505"/>
                <a:gd name="T32" fmla="*/ 415 w 486"/>
                <a:gd name="T33" fmla="*/ 494 h 505"/>
                <a:gd name="T34" fmla="*/ 446 w 486"/>
                <a:gd name="T35" fmla="*/ 474 h 505"/>
                <a:gd name="T36" fmla="*/ 473 w 486"/>
                <a:gd name="T37" fmla="*/ 447 h 505"/>
                <a:gd name="T38" fmla="*/ 485 w 486"/>
                <a:gd name="T39" fmla="*/ 418 h 505"/>
                <a:gd name="T40" fmla="*/ 484 w 486"/>
                <a:gd name="T41" fmla="*/ 397 h 505"/>
                <a:gd name="T42" fmla="*/ 478 w 486"/>
                <a:gd name="T43" fmla="*/ 358 h 505"/>
                <a:gd name="T44" fmla="*/ 471 w 486"/>
                <a:gd name="T45" fmla="*/ 316 h 505"/>
                <a:gd name="T46" fmla="*/ 465 w 486"/>
                <a:gd name="T47" fmla="*/ 270 h 505"/>
                <a:gd name="T48" fmla="*/ 456 w 486"/>
                <a:gd name="T49" fmla="*/ 252 h 505"/>
                <a:gd name="T50" fmla="*/ 439 w 486"/>
                <a:gd name="T51" fmla="*/ 239 h 505"/>
                <a:gd name="T52" fmla="*/ 413 w 486"/>
                <a:gd name="T53" fmla="*/ 232 h 505"/>
                <a:gd name="T54" fmla="*/ 392 w 486"/>
                <a:gd name="T55" fmla="*/ 222 h 505"/>
                <a:gd name="T56" fmla="*/ 370 w 486"/>
                <a:gd name="T57" fmla="*/ 207 h 505"/>
                <a:gd name="T58" fmla="*/ 330 w 486"/>
                <a:gd name="T59" fmla="*/ 188 h 505"/>
                <a:gd name="T60" fmla="*/ 290 w 486"/>
                <a:gd name="T61" fmla="*/ 172 h 505"/>
                <a:gd name="T62" fmla="*/ 273 w 486"/>
                <a:gd name="T63" fmla="*/ 160 h 505"/>
                <a:gd name="T64" fmla="*/ 264 w 486"/>
                <a:gd name="T65" fmla="*/ 151 h 505"/>
                <a:gd name="T66" fmla="*/ 261 w 486"/>
                <a:gd name="T67" fmla="*/ 125 h 505"/>
                <a:gd name="T68" fmla="*/ 261 w 486"/>
                <a:gd name="T69" fmla="*/ 90 h 505"/>
                <a:gd name="T70" fmla="*/ 255 w 486"/>
                <a:gd name="T71" fmla="*/ 71 h 505"/>
                <a:gd name="T72" fmla="*/ 241 w 486"/>
                <a:gd name="T73" fmla="*/ 55 h 505"/>
                <a:gd name="T74" fmla="*/ 234 w 486"/>
                <a:gd name="T75" fmla="*/ 37 h 505"/>
                <a:gd name="T76" fmla="*/ 199 w 486"/>
                <a:gd name="T77" fmla="*/ 12 h 505"/>
                <a:gd name="T78" fmla="*/ 186 w 486"/>
                <a:gd name="T79" fmla="*/ 8 h 505"/>
                <a:gd name="T80" fmla="*/ 173 w 486"/>
                <a:gd name="T81" fmla="*/ 2 h 505"/>
                <a:gd name="T82" fmla="*/ 139 w 486"/>
                <a:gd name="T83" fmla="*/ 1 h 505"/>
                <a:gd name="T84" fmla="*/ 70 w 486"/>
                <a:gd name="T85" fmla="*/ 11 h 505"/>
                <a:gd name="T86" fmla="*/ 42 w 486"/>
                <a:gd name="T87" fmla="*/ 21 h 505"/>
                <a:gd name="T88" fmla="*/ 24 w 486"/>
                <a:gd name="T89" fmla="*/ 37 h 505"/>
                <a:gd name="T90" fmla="*/ 20 w 486"/>
                <a:gd name="T91" fmla="*/ 6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86" h="505">
                  <a:moveTo>
                    <a:pt x="0" y="166"/>
                  </a:moveTo>
                  <a:lnTo>
                    <a:pt x="7" y="171"/>
                  </a:lnTo>
                  <a:lnTo>
                    <a:pt x="14" y="176"/>
                  </a:lnTo>
                  <a:lnTo>
                    <a:pt x="19" y="181"/>
                  </a:lnTo>
                  <a:lnTo>
                    <a:pt x="24" y="186"/>
                  </a:lnTo>
                  <a:lnTo>
                    <a:pt x="31" y="198"/>
                  </a:lnTo>
                  <a:lnTo>
                    <a:pt x="39" y="210"/>
                  </a:lnTo>
                  <a:lnTo>
                    <a:pt x="44" y="221"/>
                  </a:lnTo>
                  <a:lnTo>
                    <a:pt x="51" y="232"/>
                  </a:lnTo>
                  <a:lnTo>
                    <a:pt x="58" y="242"/>
                  </a:lnTo>
                  <a:lnTo>
                    <a:pt x="66" y="253"/>
                  </a:lnTo>
                  <a:lnTo>
                    <a:pt x="82" y="266"/>
                  </a:lnTo>
                  <a:lnTo>
                    <a:pt x="96" y="276"/>
                  </a:lnTo>
                  <a:lnTo>
                    <a:pt x="111" y="285"/>
                  </a:lnTo>
                  <a:lnTo>
                    <a:pt x="126" y="293"/>
                  </a:lnTo>
                  <a:lnTo>
                    <a:pt x="140" y="299"/>
                  </a:lnTo>
                  <a:lnTo>
                    <a:pt x="155" y="305"/>
                  </a:lnTo>
                  <a:lnTo>
                    <a:pt x="170" y="310"/>
                  </a:lnTo>
                  <a:lnTo>
                    <a:pt x="185" y="314"/>
                  </a:lnTo>
                  <a:lnTo>
                    <a:pt x="215" y="321"/>
                  </a:lnTo>
                  <a:lnTo>
                    <a:pt x="246" y="328"/>
                  </a:lnTo>
                  <a:lnTo>
                    <a:pt x="262" y="332"/>
                  </a:lnTo>
                  <a:lnTo>
                    <a:pt x="278" y="338"/>
                  </a:lnTo>
                  <a:lnTo>
                    <a:pt x="295" y="344"/>
                  </a:lnTo>
                  <a:lnTo>
                    <a:pt x="312" y="351"/>
                  </a:lnTo>
                  <a:lnTo>
                    <a:pt x="307" y="367"/>
                  </a:lnTo>
                  <a:lnTo>
                    <a:pt x="299" y="381"/>
                  </a:lnTo>
                  <a:lnTo>
                    <a:pt x="291" y="394"/>
                  </a:lnTo>
                  <a:lnTo>
                    <a:pt x="284" y="406"/>
                  </a:lnTo>
                  <a:lnTo>
                    <a:pt x="277" y="418"/>
                  </a:lnTo>
                  <a:lnTo>
                    <a:pt x="272" y="430"/>
                  </a:lnTo>
                  <a:lnTo>
                    <a:pt x="269" y="436"/>
                  </a:lnTo>
                  <a:lnTo>
                    <a:pt x="267" y="443"/>
                  </a:lnTo>
                  <a:lnTo>
                    <a:pt x="266" y="449"/>
                  </a:lnTo>
                  <a:lnTo>
                    <a:pt x="266" y="456"/>
                  </a:lnTo>
                  <a:lnTo>
                    <a:pt x="266" y="463"/>
                  </a:lnTo>
                  <a:lnTo>
                    <a:pt x="269" y="471"/>
                  </a:lnTo>
                  <a:lnTo>
                    <a:pt x="273" y="477"/>
                  </a:lnTo>
                  <a:lnTo>
                    <a:pt x="278" y="482"/>
                  </a:lnTo>
                  <a:lnTo>
                    <a:pt x="284" y="487"/>
                  </a:lnTo>
                  <a:lnTo>
                    <a:pt x="291" y="491"/>
                  </a:lnTo>
                  <a:lnTo>
                    <a:pt x="299" y="494"/>
                  </a:lnTo>
                  <a:lnTo>
                    <a:pt x="308" y="497"/>
                  </a:lnTo>
                  <a:lnTo>
                    <a:pt x="325" y="501"/>
                  </a:lnTo>
                  <a:lnTo>
                    <a:pt x="344" y="504"/>
                  </a:lnTo>
                  <a:lnTo>
                    <a:pt x="363" y="505"/>
                  </a:lnTo>
                  <a:lnTo>
                    <a:pt x="379" y="505"/>
                  </a:lnTo>
                  <a:lnTo>
                    <a:pt x="387" y="504"/>
                  </a:lnTo>
                  <a:lnTo>
                    <a:pt x="396" y="502"/>
                  </a:lnTo>
                  <a:lnTo>
                    <a:pt x="406" y="499"/>
                  </a:lnTo>
                  <a:lnTo>
                    <a:pt x="415" y="494"/>
                  </a:lnTo>
                  <a:lnTo>
                    <a:pt x="426" y="488"/>
                  </a:lnTo>
                  <a:lnTo>
                    <a:pt x="436" y="482"/>
                  </a:lnTo>
                  <a:lnTo>
                    <a:pt x="446" y="474"/>
                  </a:lnTo>
                  <a:lnTo>
                    <a:pt x="456" y="465"/>
                  </a:lnTo>
                  <a:lnTo>
                    <a:pt x="465" y="456"/>
                  </a:lnTo>
                  <a:lnTo>
                    <a:pt x="473" y="447"/>
                  </a:lnTo>
                  <a:lnTo>
                    <a:pt x="478" y="437"/>
                  </a:lnTo>
                  <a:lnTo>
                    <a:pt x="482" y="428"/>
                  </a:lnTo>
                  <a:lnTo>
                    <a:pt x="485" y="418"/>
                  </a:lnTo>
                  <a:lnTo>
                    <a:pt x="486" y="407"/>
                  </a:lnTo>
                  <a:lnTo>
                    <a:pt x="485" y="402"/>
                  </a:lnTo>
                  <a:lnTo>
                    <a:pt x="484" y="397"/>
                  </a:lnTo>
                  <a:lnTo>
                    <a:pt x="481" y="393"/>
                  </a:lnTo>
                  <a:lnTo>
                    <a:pt x="478" y="388"/>
                  </a:lnTo>
                  <a:lnTo>
                    <a:pt x="478" y="358"/>
                  </a:lnTo>
                  <a:lnTo>
                    <a:pt x="475" y="345"/>
                  </a:lnTo>
                  <a:lnTo>
                    <a:pt x="473" y="331"/>
                  </a:lnTo>
                  <a:lnTo>
                    <a:pt x="471" y="316"/>
                  </a:lnTo>
                  <a:lnTo>
                    <a:pt x="470" y="299"/>
                  </a:lnTo>
                  <a:lnTo>
                    <a:pt x="468" y="284"/>
                  </a:lnTo>
                  <a:lnTo>
                    <a:pt x="465" y="270"/>
                  </a:lnTo>
                  <a:lnTo>
                    <a:pt x="463" y="263"/>
                  </a:lnTo>
                  <a:lnTo>
                    <a:pt x="461" y="257"/>
                  </a:lnTo>
                  <a:lnTo>
                    <a:pt x="456" y="252"/>
                  </a:lnTo>
                  <a:lnTo>
                    <a:pt x="452" y="247"/>
                  </a:lnTo>
                  <a:lnTo>
                    <a:pt x="446" y="242"/>
                  </a:lnTo>
                  <a:lnTo>
                    <a:pt x="439" y="239"/>
                  </a:lnTo>
                  <a:lnTo>
                    <a:pt x="431" y="236"/>
                  </a:lnTo>
                  <a:lnTo>
                    <a:pt x="422" y="234"/>
                  </a:lnTo>
                  <a:lnTo>
                    <a:pt x="413" y="232"/>
                  </a:lnTo>
                  <a:lnTo>
                    <a:pt x="406" y="229"/>
                  </a:lnTo>
                  <a:lnTo>
                    <a:pt x="398" y="226"/>
                  </a:lnTo>
                  <a:lnTo>
                    <a:pt x="392" y="222"/>
                  </a:lnTo>
                  <a:lnTo>
                    <a:pt x="386" y="216"/>
                  </a:lnTo>
                  <a:lnTo>
                    <a:pt x="378" y="212"/>
                  </a:lnTo>
                  <a:lnTo>
                    <a:pt x="370" y="207"/>
                  </a:lnTo>
                  <a:lnTo>
                    <a:pt x="363" y="203"/>
                  </a:lnTo>
                  <a:lnTo>
                    <a:pt x="346" y="196"/>
                  </a:lnTo>
                  <a:lnTo>
                    <a:pt x="330" y="188"/>
                  </a:lnTo>
                  <a:lnTo>
                    <a:pt x="313" y="182"/>
                  </a:lnTo>
                  <a:lnTo>
                    <a:pt x="298" y="176"/>
                  </a:lnTo>
                  <a:lnTo>
                    <a:pt x="290" y="172"/>
                  </a:lnTo>
                  <a:lnTo>
                    <a:pt x="284" y="169"/>
                  </a:lnTo>
                  <a:lnTo>
                    <a:pt x="278" y="165"/>
                  </a:lnTo>
                  <a:lnTo>
                    <a:pt x="273" y="160"/>
                  </a:lnTo>
                  <a:lnTo>
                    <a:pt x="269" y="158"/>
                  </a:lnTo>
                  <a:lnTo>
                    <a:pt x="266" y="154"/>
                  </a:lnTo>
                  <a:lnTo>
                    <a:pt x="264" y="151"/>
                  </a:lnTo>
                  <a:lnTo>
                    <a:pt x="263" y="146"/>
                  </a:lnTo>
                  <a:lnTo>
                    <a:pt x="262" y="136"/>
                  </a:lnTo>
                  <a:lnTo>
                    <a:pt x="261" y="125"/>
                  </a:lnTo>
                  <a:lnTo>
                    <a:pt x="261" y="113"/>
                  </a:lnTo>
                  <a:lnTo>
                    <a:pt x="262" y="101"/>
                  </a:lnTo>
                  <a:lnTo>
                    <a:pt x="261" y="90"/>
                  </a:lnTo>
                  <a:lnTo>
                    <a:pt x="260" y="81"/>
                  </a:lnTo>
                  <a:lnTo>
                    <a:pt x="258" y="75"/>
                  </a:lnTo>
                  <a:lnTo>
                    <a:pt x="255" y="71"/>
                  </a:lnTo>
                  <a:lnTo>
                    <a:pt x="251" y="67"/>
                  </a:lnTo>
                  <a:lnTo>
                    <a:pt x="246" y="61"/>
                  </a:lnTo>
                  <a:lnTo>
                    <a:pt x="241" y="55"/>
                  </a:lnTo>
                  <a:lnTo>
                    <a:pt x="237" y="47"/>
                  </a:lnTo>
                  <a:lnTo>
                    <a:pt x="235" y="43"/>
                  </a:lnTo>
                  <a:lnTo>
                    <a:pt x="234" y="37"/>
                  </a:lnTo>
                  <a:lnTo>
                    <a:pt x="233" y="32"/>
                  </a:lnTo>
                  <a:lnTo>
                    <a:pt x="233" y="25"/>
                  </a:lnTo>
                  <a:lnTo>
                    <a:pt x="199" y="12"/>
                  </a:lnTo>
                  <a:lnTo>
                    <a:pt x="195" y="12"/>
                  </a:lnTo>
                  <a:lnTo>
                    <a:pt x="190" y="10"/>
                  </a:lnTo>
                  <a:lnTo>
                    <a:pt x="186" y="8"/>
                  </a:lnTo>
                  <a:lnTo>
                    <a:pt x="182" y="6"/>
                  </a:lnTo>
                  <a:lnTo>
                    <a:pt x="177" y="4"/>
                  </a:lnTo>
                  <a:lnTo>
                    <a:pt x="173" y="2"/>
                  </a:lnTo>
                  <a:lnTo>
                    <a:pt x="166" y="0"/>
                  </a:lnTo>
                  <a:lnTo>
                    <a:pt x="160" y="0"/>
                  </a:lnTo>
                  <a:lnTo>
                    <a:pt x="139" y="1"/>
                  </a:lnTo>
                  <a:lnTo>
                    <a:pt x="116" y="2"/>
                  </a:lnTo>
                  <a:lnTo>
                    <a:pt x="92" y="6"/>
                  </a:lnTo>
                  <a:lnTo>
                    <a:pt x="70" y="11"/>
                  </a:lnTo>
                  <a:lnTo>
                    <a:pt x="60" y="14"/>
                  </a:lnTo>
                  <a:lnTo>
                    <a:pt x="50" y="17"/>
                  </a:lnTo>
                  <a:lnTo>
                    <a:pt x="42" y="21"/>
                  </a:lnTo>
                  <a:lnTo>
                    <a:pt x="34" y="27"/>
                  </a:lnTo>
                  <a:lnTo>
                    <a:pt x="28" y="31"/>
                  </a:lnTo>
                  <a:lnTo>
                    <a:pt x="24" y="37"/>
                  </a:lnTo>
                  <a:lnTo>
                    <a:pt x="21" y="43"/>
                  </a:lnTo>
                  <a:lnTo>
                    <a:pt x="20" y="49"/>
                  </a:lnTo>
                  <a:lnTo>
                    <a:pt x="20" y="64"/>
                  </a:lnTo>
                  <a:lnTo>
                    <a:pt x="20" y="74"/>
                  </a:lnTo>
                  <a:lnTo>
                    <a:pt x="0" y="166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12" name="Freeform 195"/>
            <p:cNvSpPr>
              <a:spLocks/>
            </p:cNvSpPr>
            <p:nvPr>
              <p:custDataLst>
                <p:tags r:id="rId138"/>
              </p:custDataLst>
            </p:nvPr>
          </p:nvSpPr>
          <p:spPr bwMode="auto">
            <a:xfrm>
              <a:off x="4772007" y="4158010"/>
              <a:ext cx="73413" cy="109642"/>
            </a:xfrm>
            <a:custGeom>
              <a:avLst/>
              <a:gdLst>
                <a:gd name="T0" fmla="*/ 7 w 166"/>
                <a:gd name="T1" fmla="*/ 183 h 208"/>
                <a:gd name="T2" fmla="*/ 79 w 166"/>
                <a:gd name="T3" fmla="*/ 208 h 208"/>
                <a:gd name="T4" fmla="*/ 85 w 166"/>
                <a:gd name="T5" fmla="*/ 207 h 208"/>
                <a:gd name="T6" fmla="*/ 90 w 166"/>
                <a:gd name="T7" fmla="*/ 204 h 208"/>
                <a:gd name="T8" fmla="*/ 97 w 166"/>
                <a:gd name="T9" fmla="*/ 198 h 208"/>
                <a:gd name="T10" fmla="*/ 104 w 166"/>
                <a:gd name="T11" fmla="*/ 192 h 208"/>
                <a:gd name="T12" fmla="*/ 117 w 166"/>
                <a:gd name="T13" fmla="*/ 176 h 208"/>
                <a:gd name="T14" fmla="*/ 130 w 166"/>
                <a:gd name="T15" fmla="*/ 158 h 208"/>
                <a:gd name="T16" fmla="*/ 154 w 166"/>
                <a:gd name="T17" fmla="*/ 122 h 208"/>
                <a:gd name="T18" fmla="*/ 166 w 166"/>
                <a:gd name="T19" fmla="*/ 103 h 208"/>
                <a:gd name="T20" fmla="*/ 144 w 166"/>
                <a:gd name="T21" fmla="*/ 94 h 208"/>
                <a:gd name="T22" fmla="*/ 126 w 166"/>
                <a:gd name="T23" fmla="*/ 84 h 208"/>
                <a:gd name="T24" fmla="*/ 108 w 166"/>
                <a:gd name="T25" fmla="*/ 74 h 208"/>
                <a:gd name="T26" fmla="*/ 93 w 166"/>
                <a:gd name="T27" fmla="*/ 64 h 208"/>
                <a:gd name="T28" fmla="*/ 86 w 166"/>
                <a:gd name="T29" fmla="*/ 58 h 208"/>
                <a:gd name="T30" fmla="*/ 81 w 166"/>
                <a:gd name="T31" fmla="*/ 53 h 208"/>
                <a:gd name="T32" fmla="*/ 75 w 166"/>
                <a:gd name="T33" fmla="*/ 47 h 208"/>
                <a:gd name="T34" fmla="*/ 71 w 166"/>
                <a:gd name="T35" fmla="*/ 40 h 208"/>
                <a:gd name="T36" fmla="*/ 67 w 166"/>
                <a:gd name="T37" fmla="*/ 33 h 208"/>
                <a:gd name="T38" fmla="*/ 64 w 166"/>
                <a:gd name="T39" fmla="*/ 26 h 208"/>
                <a:gd name="T40" fmla="*/ 62 w 166"/>
                <a:gd name="T41" fmla="*/ 18 h 208"/>
                <a:gd name="T42" fmla="*/ 60 w 166"/>
                <a:gd name="T43" fmla="*/ 11 h 208"/>
                <a:gd name="T44" fmla="*/ 50 w 166"/>
                <a:gd name="T45" fmla="*/ 10 h 208"/>
                <a:gd name="T46" fmla="*/ 43 w 166"/>
                <a:gd name="T47" fmla="*/ 8 h 208"/>
                <a:gd name="T48" fmla="*/ 40 w 166"/>
                <a:gd name="T49" fmla="*/ 5 h 208"/>
                <a:gd name="T50" fmla="*/ 39 w 166"/>
                <a:gd name="T51" fmla="*/ 3 h 208"/>
                <a:gd name="T52" fmla="*/ 38 w 166"/>
                <a:gd name="T53" fmla="*/ 1 h 208"/>
                <a:gd name="T54" fmla="*/ 36 w 166"/>
                <a:gd name="T55" fmla="*/ 0 h 208"/>
                <a:gd name="T56" fmla="*/ 32 w 166"/>
                <a:gd name="T57" fmla="*/ 1 h 208"/>
                <a:gd name="T58" fmla="*/ 27 w 166"/>
                <a:gd name="T59" fmla="*/ 5 h 208"/>
                <a:gd name="T60" fmla="*/ 20 w 166"/>
                <a:gd name="T61" fmla="*/ 11 h 208"/>
                <a:gd name="T62" fmla="*/ 11 w 166"/>
                <a:gd name="T63" fmla="*/ 22 h 208"/>
                <a:gd name="T64" fmla="*/ 7 w 166"/>
                <a:gd name="T65" fmla="*/ 29 h 208"/>
                <a:gd name="T66" fmla="*/ 4 w 166"/>
                <a:gd name="T67" fmla="*/ 37 h 208"/>
                <a:gd name="T68" fmla="*/ 2 w 166"/>
                <a:gd name="T69" fmla="*/ 45 h 208"/>
                <a:gd name="T70" fmla="*/ 0 w 166"/>
                <a:gd name="T71" fmla="*/ 54 h 208"/>
                <a:gd name="T72" fmla="*/ 0 w 166"/>
                <a:gd name="T73" fmla="*/ 60 h 208"/>
                <a:gd name="T74" fmla="*/ 2 w 166"/>
                <a:gd name="T75" fmla="*/ 65 h 208"/>
                <a:gd name="T76" fmla="*/ 3 w 166"/>
                <a:gd name="T77" fmla="*/ 70 h 208"/>
                <a:gd name="T78" fmla="*/ 5 w 166"/>
                <a:gd name="T79" fmla="*/ 76 h 208"/>
                <a:gd name="T80" fmla="*/ 10 w 166"/>
                <a:gd name="T81" fmla="*/ 86 h 208"/>
                <a:gd name="T82" fmla="*/ 17 w 166"/>
                <a:gd name="T83" fmla="*/ 98 h 208"/>
                <a:gd name="T84" fmla="*/ 22 w 166"/>
                <a:gd name="T85" fmla="*/ 109 h 208"/>
                <a:gd name="T86" fmla="*/ 28 w 166"/>
                <a:gd name="T87" fmla="*/ 120 h 208"/>
                <a:gd name="T88" fmla="*/ 30 w 166"/>
                <a:gd name="T89" fmla="*/ 126 h 208"/>
                <a:gd name="T90" fmla="*/ 32 w 166"/>
                <a:gd name="T91" fmla="*/ 133 h 208"/>
                <a:gd name="T92" fmla="*/ 33 w 166"/>
                <a:gd name="T93" fmla="*/ 139 h 208"/>
                <a:gd name="T94" fmla="*/ 33 w 166"/>
                <a:gd name="T95" fmla="*/ 147 h 208"/>
                <a:gd name="T96" fmla="*/ 32 w 166"/>
                <a:gd name="T97" fmla="*/ 153 h 208"/>
                <a:gd name="T98" fmla="*/ 31 w 166"/>
                <a:gd name="T99" fmla="*/ 159 h 208"/>
                <a:gd name="T100" fmla="*/ 28 w 166"/>
                <a:gd name="T101" fmla="*/ 165 h 208"/>
                <a:gd name="T102" fmla="*/ 25 w 166"/>
                <a:gd name="T103" fmla="*/ 169 h 208"/>
                <a:gd name="T104" fmla="*/ 21 w 166"/>
                <a:gd name="T105" fmla="*/ 174 h 208"/>
                <a:gd name="T106" fmla="*/ 17 w 166"/>
                <a:gd name="T107" fmla="*/ 177 h 208"/>
                <a:gd name="T108" fmla="*/ 11 w 166"/>
                <a:gd name="T109" fmla="*/ 180 h 208"/>
                <a:gd name="T110" fmla="*/ 7 w 166"/>
                <a:gd name="T111" fmla="*/ 183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6" h="208">
                  <a:moveTo>
                    <a:pt x="7" y="183"/>
                  </a:moveTo>
                  <a:lnTo>
                    <a:pt x="79" y="208"/>
                  </a:lnTo>
                  <a:lnTo>
                    <a:pt x="85" y="207"/>
                  </a:lnTo>
                  <a:lnTo>
                    <a:pt x="90" y="204"/>
                  </a:lnTo>
                  <a:lnTo>
                    <a:pt x="97" y="198"/>
                  </a:lnTo>
                  <a:lnTo>
                    <a:pt x="104" y="192"/>
                  </a:lnTo>
                  <a:lnTo>
                    <a:pt x="117" y="176"/>
                  </a:lnTo>
                  <a:lnTo>
                    <a:pt x="130" y="158"/>
                  </a:lnTo>
                  <a:lnTo>
                    <a:pt x="154" y="122"/>
                  </a:lnTo>
                  <a:lnTo>
                    <a:pt x="166" y="103"/>
                  </a:lnTo>
                  <a:lnTo>
                    <a:pt x="144" y="94"/>
                  </a:lnTo>
                  <a:lnTo>
                    <a:pt x="126" y="84"/>
                  </a:lnTo>
                  <a:lnTo>
                    <a:pt x="108" y="74"/>
                  </a:lnTo>
                  <a:lnTo>
                    <a:pt x="93" y="64"/>
                  </a:lnTo>
                  <a:lnTo>
                    <a:pt x="86" y="58"/>
                  </a:lnTo>
                  <a:lnTo>
                    <a:pt x="81" y="53"/>
                  </a:lnTo>
                  <a:lnTo>
                    <a:pt x="75" y="47"/>
                  </a:lnTo>
                  <a:lnTo>
                    <a:pt x="71" y="40"/>
                  </a:lnTo>
                  <a:lnTo>
                    <a:pt x="67" y="33"/>
                  </a:lnTo>
                  <a:lnTo>
                    <a:pt x="64" y="26"/>
                  </a:lnTo>
                  <a:lnTo>
                    <a:pt x="62" y="18"/>
                  </a:lnTo>
                  <a:lnTo>
                    <a:pt x="60" y="11"/>
                  </a:lnTo>
                  <a:lnTo>
                    <a:pt x="50" y="10"/>
                  </a:lnTo>
                  <a:lnTo>
                    <a:pt x="43" y="8"/>
                  </a:lnTo>
                  <a:lnTo>
                    <a:pt x="40" y="5"/>
                  </a:lnTo>
                  <a:lnTo>
                    <a:pt x="39" y="3"/>
                  </a:lnTo>
                  <a:lnTo>
                    <a:pt x="38" y="1"/>
                  </a:lnTo>
                  <a:lnTo>
                    <a:pt x="36" y="0"/>
                  </a:lnTo>
                  <a:lnTo>
                    <a:pt x="32" y="1"/>
                  </a:lnTo>
                  <a:lnTo>
                    <a:pt x="27" y="5"/>
                  </a:lnTo>
                  <a:lnTo>
                    <a:pt x="20" y="11"/>
                  </a:lnTo>
                  <a:lnTo>
                    <a:pt x="11" y="22"/>
                  </a:lnTo>
                  <a:lnTo>
                    <a:pt x="7" y="29"/>
                  </a:lnTo>
                  <a:lnTo>
                    <a:pt x="4" y="37"/>
                  </a:lnTo>
                  <a:lnTo>
                    <a:pt x="2" y="45"/>
                  </a:lnTo>
                  <a:lnTo>
                    <a:pt x="0" y="54"/>
                  </a:lnTo>
                  <a:lnTo>
                    <a:pt x="0" y="60"/>
                  </a:lnTo>
                  <a:lnTo>
                    <a:pt x="2" y="65"/>
                  </a:lnTo>
                  <a:lnTo>
                    <a:pt x="3" y="70"/>
                  </a:lnTo>
                  <a:lnTo>
                    <a:pt x="5" y="76"/>
                  </a:lnTo>
                  <a:lnTo>
                    <a:pt x="10" y="86"/>
                  </a:lnTo>
                  <a:lnTo>
                    <a:pt x="17" y="98"/>
                  </a:lnTo>
                  <a:lnTo>
                    <a:pt x="22" y="109"/>
                  </a:lnTo>
                  <a:lnTo>
                    <a:pt x="28" y="120"/>
                  </a:lnTo>
                  <a:lnTo>
                    <a:pt x="30" y="126"/>
                  </a:lnTo>
                  <a:lnTo>
                    <a:pt x="32" y="133"/>
                  </a:lnTo>
                  <a:lnTo>
                    <a:pt x="33" y="139"/>
                  </a:lnTo>
                  <a:lnTo>
                    <a:pt x="33" y="147"/>
                  </a:lnTo>
                  <a:lnTo>
                    <a:pt x="32" y="153"/>
                  </a:lnTo>
                  <a:lnTo>
                    <a:pt x="31" y="159"/>
                  </a:lnTo>
                  <a:lnTo>
                    <a:pt x="28" y="165"/>
                  </a:lnTo>
                  <a:lnTo>
                    <a:pt x="25" y="169"/>
                  </a:lnTo>
                  <a:lnTo>
                    <a:pt x="21" y="174"/>
                  </a:lnTo>
                  <a:lnTo>
                    <a:pt x="17" y="177"/>
                  </a:lnTo>
                  <a:lnTo>
                    <a:pt x="11" y="180"/>
                  </a:lnTo>
                  <a:lnTo>
                    <a:pt x="7" y="183"/>
                  </a:lnTo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54" name="Freeform 196"/>
            <p:cNvSpPr>
              <a:spLocks/>
            </p:cNvSpPr>
            <p:nvPr>
              <p:custDataLst>
                <p:tags r:id="rId139"/>
              </p:custDataLst>
            </p:nvPr>
          </p:nvSpPr>
          <p:spPr bwMode="auto">
            <a:xfrm>
              <a:off x="4286882" y="3716777"/>
              <a:ext cx="69850" cy="58737"/>
            </a:xfrm>
            <a:custGeom>
              <a:avLst/>
              <a:gdLst>
                <a:gd name="T0" fmla="*/ 2147483647 w 164"/>
                <a:gd name="T1" fmla="*/ 2147483647 h 104"/>
                <a:gd name="T2" fmla="*/ 2147483647 w 164"/>
                <a:gd name="T3" fmla="*/ 2147483647 h 104"/>
                <a:gd name="T4" fmla="*/ 2147483647 w 164"/>
                <a:gd name="T5" fmla="*/ 2147483647 h 104"/>
                <a:gd name="T6" fmla="*/ 2147483647 w 164"/>
                <a:gd name="T7" fmla="*/ 2147483647 h 104"/>
                <a:gd name="T8" fmla="*/ 2147483647 w 164"/>
                <a:gd name="T9" fmla="*/ 2147483647 h 104"/>
                <a:gd name="T10" fmla="*/ 2147483647 w 164"/>
                <a:gd name="T11" fmla="*/ 2147483647 h 104"/>
                <a:gd name="T12" fmla="*/ 2147483647 w 164"/>
                <a:gd name="T13" fmla="*/ 2147483647 h 104"/>
                <a:gd name="T14" fmla="*/ 2147483647 w 164"/>
                <a:gd name="T15" fmla="*/ 2147483647 h 104"/>
                <a:gd name="T16" fmla="*/ 2147483647 w 164"/>
                <a:gd name="T17" fmla="*/ 2147483647 h 104"/>
                <a:gd name="T18" fmla="*/ 2147483647 w 164"/>
                <a:gd name="T19" fmla="*/ 2147483647 h 104"/>
                <a:gd name="T20" fmla="*/ 2147483647 w 164"/>
                <a:gd name="T21" fmla="*/ 2147483647 h 104"/>
                <a:gd name="T22" fmla="*/ 2147483647 w 164"/>
                <a:gd name="T23" fmla="*/ 2147483647 h 104"/>
                <a:gd name="T24" fmla="*/ 2147483647 w 164"/>
                <a:gd name="T25" fmla="*/ 2147483647 h 104"/>
                <a:gd name="T26" fmla="*/ 2147483647 w 164"/>
                <a:gd name="T27" fmla="*/ 2147483647 h 104"/>
                <a:gd name="T28" fmla="*/ 2147483647 w 164"/>
                <a:gd name="T29" fmla="*/ 2147483647 h 104"/>
                <a:gd name="T30" fmla="*/ 2147483647 w 164"/>
                <a:gd name="T31" fmla="*/ 2147483647 h 104"/>
                <a:gd name="T32" fmla="*/ 2147483647 w 164"/>
                <a:gd name="T33" fmla="*/ 2147483647 h 104"/>
                <a:gd name="T34" fmla="*/ 0 w 164"/>
                <a:gd name="T35" fmla="*/ 2147483647 h 104"/>
                <a:gd name="T36" fmla="*/ 0 w 164"/>
                <a:gd name="T37" fmla="*/ 2147483647 h 104"/>
                <a:gd name="T38" fmla="*/ 0 w 164"/>
                <a:gd name="T39" fmla="*/ 2147483647 h 104"/>
                <a:gd name="T40" fmla="*/ 2147483647 w 164"/>
                <a:gd name="T41" fmla="*/ 2147483647 h 104"/>
                <a:gd name="T42" fmla="*/ 2147483647 w 164"/>
                <a:gd name="T43" fmla="*/ 2147483647 h 104"/>
                <a:gd name="T44" fmla="*/ 2147483647 w 164"/>
                <a:gd name="T45" fmla="*/ 2147483647 h 104"/>
                <a:gd name="T46" fmla="*/ 2147483647 w 164"/>
                <a:gd name="T47" fmla="*/ 2147483647 h 104"/>
                <a:gd name="T48" fmla="*/ 2147483647 w 164"/>
                <a:gd name="T49" fmla="*/ 2147483647 h 104"/>
                <a:gd name="T50" fmla="*/ 2147483647 w 164"/>
                <a:gd name="T51" fmla="*/ 2147483647 h 104"/>
                <a:gd name="T52" fmla="*/ 2147483647 w 164"/>
                <a:gd name="T53" fmla="*/ 2147483647 h 104"/>
                <a:gd name="T54" fmla="*/ 2147483647 w 164"/>
                <a:gd name="T55" fmla="*/ 2147483647 h 104"/>
                <a:gd name="T56" fmla="*/ 2147483647 w 164"/>
                <a:gd name="T57" fmla="*/ 2147483647 h 104"/>
                <a:gd name="T58" fmla="*/ 2147483647 w 164"/>
                <a:gd name="T59" fmla="*/ 2147483647 h 104"/>
                <a:gd name="T60" fmla="*/ 2147483647 w 164"/>
                <a:gd name="T61" fmla="*/ 2147483647 h 104"/>
                <a:gd name="T62" fmla="*/ 2147483647 w 164"/>
                <a:gd name="T63" fmla="*/ 2147483647 h 104"/>
                <a:gd name="T64" fmla="*/ 2147483647 w 164"/>
                <a:gd name="T65" fmla="*/ 2147483647 h 104"/>
                <a:gd name="T66" fmla="*/ 2147483647 w 164"/>
                <a:gd name="T67" fmla="*/ 2147483647 h 104"/>
                <a:gd name="T68" fmla="*/ 2147483647 w 164"/>
                <a:gd name="T69" fmla="*/ 2147483647 h 104"/>
                <a:gd name="T70" fmla="*/ 2147483647 w 164"/>
                <a:gd name="T71" fmla="*/ 2147483647 h 104"/>
                <a:gd name="T72" fmla="*/ 2147483647 w 164"/>
                <a:gd name="T73" fmla="*/ 2147483647 h 104"/>
                <a:gd name="T74" fmla="*/ 2147483647 w 164"/>
                <a:gd name="T75" fmla="*/ 2147483647 h 104"/>
                <a:gd name="T76" fmla="*/ 2147483647 w 164"/>
                <a:gd name="T77" fmla="*/ 2147483647 h 104"/>
                <a:gd name="T78" fmla="*/ 2147483647 w 164"/>
                <a:gd name="T79" fmla="*/ 2147483647 h 104"/>
                <a:gd name="T80" fmla="*/ 2147483647 w 164"/>
                <a:gd name="T81" fmla="*/ 0 h 104"/>
                <a:gd name="T82" fmla="*/ 2147483647 w 164"/>
                <a:gd name="T83" fmla="*/ 0 h 104"/>
                <a:gd name="T84" fmla="*/ 2147483647 w 164"/>
                <a:gd name="T85" fmla="*/ 2147483647 h 104"/>
                <a:gd name="T86" fmla="*/ 2147483647 w 164"/>
                <a:gd name="T87" fmla="*/ 2147483647 h 104"/>
                <a:gd name="T88" fmla="*/ 2147483647 w 164"/>
                <a:gd name="T89" fmla="*/ 2147483647 h 104"/>
                <a:gd name="T90" fmla="*/ 2147483647 w 164"/>
                <a:gd name="T91" fmla="*/ 2147483647 h 104"/>
                <a:gd name="T92" fmla="*/ 2147483647 w 164"/>
                <a:gd name="T93" fmla="*/ 2147483647 h 104"/>
                <a:gd name="T94" fmla="*/ 2147483647 w 164"/>
                <a:gd name="T95" fmla="*/ 2147483647 h 104"/>
                <a:gd name="T96" fmla="*/ 2147483647 w 164"/>
                <a:gd name="T97" fmla="*/ 2147483647 h 104"/>
                <a:gd name="T98" fmla="*/ 2147483647 w 164"/>
                <a:gd name="T99" fmla="*/ 2147483647 h 104"/>
                <a:gd name="T100" fmla="*/ 2147483647 w 164"/>
                <a:gd name="T101" fmla="*/ 2147483647 h 104"/>
                <a:gd name="T102" fmla="*/ 2147483647 w 164"/>
                <a:gd name="T103" fmla="*/ 2147483647 h 104"/>
                <a:gd name="T104" fmla="*/ 2147483647 w 164"/>
                <a:gd name="T105" fmla="*/ 2147483647 h 104"/>
                <a:gd name="T106" fmla="*/ 2147483647 w 164"/>
                <a:gd name="T107" fmla="*/ 2147483647 h 104"/>
                <a:gd name="T108" fmla="*/ 2147483647 w 164"/>
                <a:gd name="T109" fmla="*/ 2147483647 h 10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04">
                  <a:moveTo>
                    <a:pt x="153" y="104"/>
                  </a:moveTo>
                  <a:lnTo>
                    <a:pt x="134" y="102"/>
                  </a:lnTo>
                  <a:lnTo>
                    <a:pt x="110" y="97"/>
                  </a:lnTo>
                  <a:lnTo>
                    <a:pt x="96" y="94"/>
                  </a:lnTo>
                  <a:lnTo>
                    <a:pt x="80" y="93"/>
                  </a:lnTo>
                  <a:lnTo>
                    <a:pt x="73" y="93"/>
                  </a:lnTo>
                  <a:lnTo>
                    <a:pt x="64" y="94"/>
                  </a:lnTo>
                  <a:lnTo>
                    <a:pt x="55" y="96"/>
                  </a:lnTo>
                  <a:lnTo>
                    <a:pt x="47" y="98"/>
                  </a:lnTo>
                  <a:lnTo>
                    <a:pt x="41" y="100"/>
                  </a:lnTo>
                  <a:lnTo>
                    <a:pt x="34" y="100"/>
                  </a:lnTo>
                  <a:lnTo>
                    <a:pt x="27" y="99"/>
                  </a:lnTo>
                  <a:lnTo>
                    <a:pt x="19" y="96"/>
                  </a:lnTo>
                  <a:lnTo>
                    <a:pt x="11" y="92"/>
                  </a:lnTo>
                  <a:lnTo>
                    <a:pt x="6" y="88"/>
                  </a:lnTo>
                  <a:lnTo>
                    <a:pt x="3" y="86"/>
                  </a:lnTo>
                  <a:lnTo>
                    <a:pt x="1" y="84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1" y="74"/>
                  </a:lnTo>
                  <a:lnTo>
                    <a:pt x="3" y="71"/>
                  </a:lnTo>
                  <a:lnTo>
                    <a:pt x="6" y="70"/>
                  </a:lnTo>
                  <a:lnTo>
                    <a:pt x="12" y="67"/>
                  </a:lnTo>
                  <a:lnTo>
                    <a:pt x="20" y="66"/>
                  </a:lnTo>
                  <a:lnTo>
                    <a:pt x="40" y="66"/>
                  </a:lnTo>
                  <a:lnTo>
                    <a:pt x="61" y="67"/>
                  </a:lnTo>
                  <a:lnTo>
                    <a:pt x="70" y="67"/>
                  </a:lnTo>
                  <a:lnTo>
                    <a:pt x="79" y="67"/>
                  </a:lnTo>
                  <a:lnTo>
                    <a:pt x="87" y="67"/>
                  </a:lnTo>
                  <a:lnTo>
                    <a:pt x="94" y="67"/>
                  </a:lnTo>
                  <a:lnTo>
                    <a:pt x="94" y="56"/>
                  </a:lnTo>
                  <a:lnTo>
                    <a:pt x="94" y="43"/>
                  </a:lnTo>
                  <a:lnTo>
                    <a:pt x="94" y="29"/>
                  </a:lnTo>
                  <a:lnTo>
                    <a:pt x="94" y="18"/>
                  </a:lnTo>
                  <a:lnTo>
                    <a:pt x="79" y="17"/>
                  </a:lnTo>
                  <a:lnTo>
                    <a:pt x="67" y="15"/>
                  </a:lnTo>
                  <a:lnTo>
                    <a:pt x="62" y="13"/>
                  </a:lnTo>
                  <a:lnTo>
                    <a:pt x="57" y="10"/>
                  </a:lnTo>
                  <a:lnTo>
                    <a:pt x="52" y="6"/>
                  </a:lnTo>
                  <a:lnTo>
                    <a:pt x="47" y="0"/>
                  </a:lnTo>
                  <a:lnTo>
                    <a:pt x="146" y="0"/>
                  </a:lnTo>
                  <a:lnTo>
                    <a:pt x="147" y="6"/>
                  </a:lnTo>
                  <a:lnTo>
                    <a:pt x="148" y="13"/>
                  </a:lnTo>
                  <a:lnTo>
                    <a:pt x="150" y="19"/>
                  </a:lnTo>
                  <a:lnTo>
                    <a:pt x="152" y="25"/>
                  </a:lnTo>
                  <a:lnTo>
                    <a:pt x="156" y="35"/>
                  </a:lnTo>
                  <a:lnTo>
                    <a:pt x="159" y="46"/>
                  </a:lnTo>
                  <a:lnTo>
                    <a:pt x="163" y="54"/>
                  </a:lnTo>
                  <a:lnTo>
                    <a:pt x="164" y="62"/>
                  </a:lnTo>
                  <a:lnTo>
                    <a:pt x="163" y="65"/>
                  </a:lnTo>
                  <a:lnTo>
                    <a:pt x="160" y="68"/>
                  </a:lnTo>
                  <a:lnTo>
                    <a:pt x="157" y="71"/>
                  </a:lnTo>
                  <a:lnTo>
                    <a:pt x="153" y="73"/>
                  </a:lnTo>
                  <a:lnTo>
                    <a:pt x="15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55" name="Freeform 204"/>
            <p:cNvSpPr>
              <a:spLocks/>
            </p:cNvSpPr>
            <p:nvPr>
              <p:custDataLst>
                <p:tags r:id="rId140"/>
              </p:custDataLst>
            </p:nvPr>
          </p:nvSpPr>
          <p:spPr bwMode="auto">
            <a:xfrm>
              <a:off x="4432932" y="5672577"/>
              <a:ext cx="25400" cy="60325"/>
            </a:xfrm>
            <a:custGeom>
              <a:avLst/>
              <a:gdLst>
                <a:gd name="T0" fmla="*/ 2147483647 w 53"/>
                <a:gd name="T1" fmla="*/ 0 h 80"/>
                <a:gd name="T2" fmla="*/ 2147483647 w 53"/>
                <a:gd name="T3" fmla="*/ 2147483647 h 80"/>
                <a:gd name="T4" fmla="*/ 2147483647 w 53"/>
                <a:gd name="T5" fmla="*/ 2147483647 h 80"/>
                <a:gd name="T6" fmla="*/ 2147483647 w 53"/>
                <a:gd name="T7" fmla="*/ 2147483647 h 80"/>
                <a:gd name="T8" fmla="*/ 2147483647 w 53"/>
                <a:gd name="T9" fmla="*/ 2147483647 h 80"/>
                <a:gd name="T10" fmla="*/ 0 w 53"/>
                <a:gd name="T11" fmla="*/ 2147483647 h 80"/>
                <a:gd name="T12" fmla="*/ 0 w 53"/>
                <a:gd name="T13" fmla="*/ 2147483647 h 80"/>
                <a:gd name="T14" fmla="*/ 0 w 53"/>
                <a:gd name="T15" fmla="*/ 2147483647 h 80"/>
                <a:gd name="T16" fmla="*/ 2147483647 w 53"/>
                <a:gd name="T17" fmla="*/ 2147483647 h 80"/>
                <a:gd name="T18" fmla="*/ 2147483647 w 53"/>
                <a:gd name="T19" fmla="*/ 2147483647 h 80"/>
                <a:gd name="T20" fmla="*/ 2147483647 w 53"/>
                <a:gd name="T21" fmla="*/ 2147483647 h 80"/>
                <a:gd name="T22" fmla="*/ 2147483647 w 53"/>
                <a:gd name="T23" fmla="*/ 2147483647 h 80"/>
                <a:gd name="T24" fmla="*/ 2147483647 w 53"/>
                <a:gd name="T25" fmla="*/ 2147483647 h 80"/>
                <a:gd name="T26" fmla="*/ 2147483647 w 53"/>
                <a:gd name="T27" fmla="*/ 2147483647 h 80"/>
                <a:gd name="T28" fmla="*/ 2147483647 w 53"/>
                <a:gd name="T29" fmla="*/ 2147483647 h 80"/>
                <a:gd name="T30" fmla="*/ 2147483647 w 53"/>
                <a:gd name="T31" fmla="*/ 2147483647 h 80"/>
                <a:gd name="T32" fmla="*/ 2147483647 w 53"/>
                <a:gd name="T33" fmla="*/ 2147483647 h 80"/>
                <a:gd name="T34" fmla="*/ 2147483647 w 53"/>
                <a:gd name="T35" fmla="*/ 2147483647 h 80"/>
                <a:gd name="T36" fmla="*/ 2147483647 w 53"/>
                <a:gd name="T37" fmla="*/ 2147483647 h 80"/>
                <a:gd name="T38" fmla="*/ 2147483647 w 53"/>
                <a:gd name="T39" fmla="*/ 2147483647 h 80"/>
                <a:gd name="T40" fmla="*/ 2147483647 w 53"/>
                <a:gd name="T41" fmla="*/ 2147483647 h 80"/>
                <a:gd name="T42" fmla="*/ 2147483647 w 53"/>
                <a:gd name="T43" fmla="*/ 2147483647 h 80"/>
                <a:gd name="T44" fmla="*/ 2147483647 w 53"/>
                <a:gd name="T45" fmla="*/ 2147483647 h 80"/>
                <a:gd name="T46" fmla="*/ 2147483647 w 53"/>
                <a:gd name="T47" fmla="*/ 2147483647 h 80"/>
                <a:gd name="T48" fmla="*/ 2147483647 w 53"/>
                <a:gd name="T49" fmla="*/ 2147483647 h 80"/>
                <a:gd name="T50" fmla="*/ 2147483647 w 53"/>
                <a:gd name="T51" fmla="*/ 2147483647 h 80"/>
                <a:gd name="T52" fmla="*/ 2147483647 w 53"/>
                <a:gd name="T53" fmla="*/ 2147483647 h 80"/>
                <a:gd name="T54" fmla="*/ 2147483647 w 53"/>
                <a:gd name="T55" fmla="*/ 2147483647 h 80"/>
                <a:gd name="T56" fmla="*/ 2147483647 w 53"/>
                <a:gd name="T57" fmla="*/ 2147483647 h 80"/>
                <a:gd name="T58" fmla="*/ 2147483647 w 53"/>
                <a:gd name="T59" fmla="*/ 2147483647 h 80"/>
                <a:gd name="T60" fmla="*/ 2147483647 w 53"/>
                <a:gd name="T61" fmla="*/ 2147483647 h 80"/>
                <a:gd name="T62" fmla="*/ 2147483647 w 53"/>
                <a:gd name="T63" fmla="*/ 2147483647 h 80"/>
                <a:gd name="T64" fmla="*/ 2147483647 w 53"/>
                <a:gd name="T65" fmla="*/ 2147483647 h 80"/>
                <a:gd name="T66" fmla="*/ 2147483647 w 53"/>
                <a:gd name="T67" fmla="*/ 2147483647 h 80"/>
                <a:gd name="T68" fmla="*/ 2147483647 w 53"/>
                <a:gd name="T69" fmla="*/ 2147483647 h 80"/>
                <a:gd name="T70" fmla="*/ 2147483647 w 53"/>
                <a:gd name="T71" fmla="*/ 2147483647 h 80"/>
                <a:gd name="T72" fmla="*/ 2147483647 w 53"/>
                <a:gd name="T73" fmla="*/ 2147483647 h 80"/>
                <a:gd name="T74" fmla="*/ 2147483647 w 53"/>
                <a:gd name="T75" fmla="*/ 2147483647 h 80"/>
                <a:gd name="T76" fmla="*/ 2147483647 w 53"/>
                <a:gd name="T77" fmla="*/ 0 h 8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53" h="80">
                  <a:moveTo>
                    <a:pt x="13" y="0"/>
                  </a:moveTo>
                  <a:lnTo>
                    <a:pt x="8" y="5"/>
                  </a:lnTo>
                  <a:lnTo>
                    <a:pt x="4" y="10"/>
                  </a:lnTo>
                  <a:lnTo>
                    <a:pt x="2" y="13"/>
                  </a:lnTo>
                  <a:lnTo>
                    <a:pt x="1" y="16"/>
                  </a:lnTo>
                  <a:lnTo>
                    <a:pt x="0" y="20"/>
                  </a:lnTo>
                  <a:lnTo>
                    <a:pt x="0" y="25"/>
                  </a:lnTo>
                  <a:lnTo>
                    <a:pt x="0" y="30"/>
                  </a:lnTo>
                  <a:lnTo>
                    <a:pt x="2" y="39"/>
                  </a:lnTo>
                  <a:lnTo>
                    <a:pt x="6" y="48"/>
                  </a:lnTo>
                  <a:lnTo>
                    <a:pt x="9" y="57"/>
                  </a:lnTo>
                  <a:lnTo>
                    <a:pt x="13" y="66"/>
                  </a:lnTo>
                  <a:lnTo>
                    <a:pt x="20" y="73"/>
                  </a:lnTo>
                  <a:lnTo>
                    <a:pt x="22" y="76"/>
                  </a:lnTo>
                  <a:lnTo>
                    <a:pt x="26" y="78"/>
                  </a:lnTo>
                  <a:lnTo>
                    <a:pt x="30" y="80"/>
                  </a:lnTo>
                  <a:lnTo>
                    <a:pt x="33" y="80"/>
                  </a:lnTo>
                  <a:lnTo>
                    <a:pt x="36" y="79"/>
                  </a:lnTo>
                  <a:lnTo>
                    <a:pt x="38" y="78"/>
                  </a:lnTo>
                  <a:lnTo>
                    <a:pt x="42" y="76"/>
                  </a:lnTo>
                  <a:lnTo>
                    <a:pt x="45" y="73"/>
                  </a:lnTo>
                  <a:lnTo>
                    <a:pt x="48" y="70"/>
                  </a:lnTo>
                  <a:lnTo>
                    <a:pt x="51" y="67"/>
                  </a:lnTo>
                  <a:lnTo>
                    <a:pt x="53" y="64"/>
                  </a:lnTo>
                  <a:lnTo>
                    <a:pt x="53" y="62"/>
                  </a:lnTo>
                  <a:lnTo>
                    <a:pt x="52" y="54"/>
                  </a:lnTo>
                  <a:lnTo>
                    <a:pt x="49" y="47"/>
                  </a:lnTo>
                  <a:lnTo>
                    <a:pt x="46" y="42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6" y="27"/>
                  </a:lnTo>
                  <a:lnTo>
                    <a:pt x="34" y="20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1" y="8"/>
                  </a:lnTo>
                  <a:lnTo>
                    <a:pt x="29" y="6"/>
                  </a:lnTo>
                  <a:lnTo>
                    <a:pt x="25" y="4"/>
                  </a:lnTo>
                  <a:lnTo>
                    <a:pt x="19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56" name="Freeform 205"/>
            <p:cNvSpPr>
              <a:spLocks/>
            </p:cNvSpPr>
            <p:nvPr>
              <p:custDataLst>
                <p:tags r:id="rId141"/>
              </p:custDataLst>
            </p:nvPr>
          </p:nvSpPr>
          <p:spPr bwMode="auto">
            <a:xfrm>
              <a:off x="4463094" y="5767827"/>
              <a:ext cx="17463" cy="53975"/>
            </a:xfrm>
            <a:custGeom>
              <a:avLst/>
              <a:gdLst>
                <a:gd name="T0" fmla="*/ 0 w 41"/>
                <a:gd name="T1" fmla="*/ 2147483647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0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2147483647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2147483647 h 43"/>
                <a:gd name="T24" fmla="*/ 0 w 41"/>
                <a:gd name="T25" fmla="*/ 2147483647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41" h="43">
                  <a:moveTo>
                    <a:pt x="0" y="43"/>
                  </a:moveTo>
                  <a:lnTo>
                    <a:pt x="27" y="43"/>
                  </a:lnTo>
                  <a:lnTo>
                    <a:pt x="41" y="24"/>
                  </a:lnTo>
                  <a:lnTo>
                    <a:pt x="38" y="12"/>
                  </a:lnTo>
                  <a:lnTo>
                    <a:pt x="34" y="0"/>
                  </a:lnTo>
                  <a:lnTo>
                    <a:pt x="27" y="4"/>
                  </a:lnTo>
                  <a:lnTo>
                    <a:pt x="20" y="9"/>
                  </a:lnTo>
                  <a:lnTo>
                    <a:pt x="15" y="14"/>
                  </a:lnTo>
                  <a:lnTo>
                    <a:pt x="10" y="19"/>
                  </a:lnTo>
                  <a:lnTo>
                    <a:pt x="6" y="24"/>
                  </a:lnTo>
                  <a:lnTo>
                    <a:pt x="3" y="30"/>
                  </a:lnTo>
                  <a:lnTo>
                    <a:pt x="1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57" name="Freeform 206"/>
            <p:cNvSpPr>
              <a:spLocks/>
            </p:cNvSpPr>
            <p:nvPr>
              <p:custDataLst>
                <p:tags r:id="rId142"/>
              </p:custDataLst>
            </p:nvPr>
          </p:nvSpPr>
          <p:spPr bwMode="auto">
            <a:xfrm>
              <a:off x="4467857" y="5790052"/>
              <a:ext cx="7937" cy="58737"/>
            </a:xfrm>
            <a:custGeom>
              <a:avLst/>
              <a:gdLst>
                <a:gd name="T0" fmla="*/ 2147483647 w 20"/>
                <a:gd name="T1" fmla="*/ 0 h 24"/>
                <a:gd name="T2" fmla="*/ 0 w 20"/>
                <a:gd name="T3" fmla="*/ 0 h 24"/>
                <a:gd name="T4" fmla="*/ 2147483647 w 20"/>
                <a:gd name="T5" fmla="*/ 2147483647 h 24"/>
                <a:gd name="T6" fmla="*/ 2147483647 w 20"/>
                <a:gd name="T7" fmla="*/ 2147483647 h 24"/>
                <a:gd name="T8" fmla="*/ 2147483647 w 20"/>
                <a:gd name="T9" fmla="*/ 2147483647 h 24"/>
                <a:gd name="T10" fmla="*/ 2147483647 w 20"/>
                <a:gd name="T11" fmla="*/ 2147483647 h 24"/>
                <a:gd name="T12" fmla="*/ 2147483647 w 20"/>
                <a:gd name="T13" fmla="*/ 2147483647 h 24"/>
                <a:gd name="T14" fmla="*/ 2147483647 w 20"/>
                <a:gd name="T15" fmla="*/ 2147483647 h 24"/>
                <a:gd name="T16" fmla="*/ 2147483647 w 20"/>
                <a:gd name="T17" fmla="*/ 2147483647 h 24"/>
                <a:gd name="T18" fmla="*/ 2147483647 w 20"/>
                <a:gd name="T19" fmla="*/ 2147483647 h 24"/>
                <a:gd name="T20" fmla="*/ 2147483647 w 20"/>
                <a:gd name="T21" fmla="*/ 0 h 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0" h="24">
                  <a:moveTo>
                    <a:pt x="20" y="0"/>
                  </a:moveTo>
                  <a:lnTo>
                    <a:pt x="0" y="0"/>
                  </a:lnTo>
                  <a:lnTo>
                    <a:pt x="1" y="5"/>
                  </a:lnTo>
                  <a:lnTo>
                    <a:pt x="2" y="9"/>
                  </a:lnTo>
                  <a:lnTo>
                    <a:pt x="4" y="13"/>
                  </a:lnTo>
                  <a:lnTo>
                    <a:pt x="7" y="17"/>
                  </a:lnTo>
                  <a:lnTo>
                    <a:pt x="10" y="20"/>
                  </a:lnTo>
                  <a:lnTo>
                    <a:pt x="14" y="22"/>
                  </a:lnTo>
                  <a:lnTo>
                    <a:pt x="17" y="24"/>
                  </a:lnTo>
                  <a:lnTo>
                    <a:pt x="20" y="24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217" name="Freeform 215"/>
            <p:cNvSpPr>
              <a:spLocks/>
            </p:cNvSpPr>
            <p:nvPr>
              <p:custDataLst>
                <p:tags r:id="rId143"/>
              </p:custDataLst>
            </p:nvPr>
          </p:nvSpPr>
          <p:spPr bwMode="auto">
            <a:xfrm>
              <a:off x="4186295" y="3751492"/>
              <a:ext cx="52667" cy="59037"/>
            </a:xfrm>
            <a:custGeom>
              <a:avLst/>
              <a:gdLst>
                <a:gd name="T0" fmla="*/ 0 w 120"/>
                <a:gd name="T1" fmla="*/ 18 h 56"/>
                <a:gd name="T2" fmla="*/ 4 w 120"/>
                <a:gd name="T3" fmla="*/ 26 h 56"/>
                <a:gd name="T4" fmla="*/ 10 w 120"/>
                <a:gd name="T5" fmla="*/ 33 h 56"/>
                <a:gd name="T6" fmla="*/ 15 w 120"/>
                <a:gd name="T7" fmla="*/ 37 h 56"/>
                <a:gd name="T8" fmla="*/ 21 w 120"/>
                <a:gd name="T9" fmla="*/ 41 h 56"/>
                <a:gd name="T10" fmla="*/ 27 w 120"/>
                <a:gd name="T11" fmla="*/ 44 h 56"/>
                <a:gd name="T12" fmla="*/ 35 w 120"/>
                <a:gd name="T13" fmla="*/ 46 h 56"/>
                <a:gd name="T14" fmla="*/ 43 w 120"/>
                <a:gd name="T15" fmla="*/ 48 h 56"/>
                <a:gd name="T16" fmla="*/ 51 w 120"/>
                <a:gd name="T17" fmla="*/ 49 h 56"/>
                <a:gd name="T18" fmla="*/ 67 w 120"/>
                <a:gd name="T19" fmla="*/ 50 h 56"/>
                <a:gd name="T20" fmla="*/ 85 w 120"/>
                <a:gd name="T21" fmla="*/ 51 h 56"/>
                <a:gd name="T22" fmla="*/ 102 w 120"/>
                <a:gd name="T23" fmla="*/ 52 h 56"/>
                <a:gd name="T24" fmla="*/ 120 w 120"/>
                <a:gd name="T25" fmla="*/ 56 h 56"/>
                <a:gd name="T26" fmla="*/ 120 w 120"/>
                <a:gd name="T27" fmla="*/ 37 h 56"/>
                <a:gd name="T28" fmla="*/ 111 w 120"/>
                <a:gd name="T29" fmla="*/ 34 h 56"/>
                <a:gd name="T30" fmla="*/ 102 w 120"/>
                <a:gd name="T31" fmla="*/ 30 h 56"/>
                <a:gd name="T32" fmla="*/ 94 w 120"/>
                <a:gd name="T33" fmla="*/ 24 h 56"/>
                <a:gd name="T34" fmla="*/ 88 w 120"/>
                <a:gd name="T35" fmla="*/ 18 h 56"/>
                <a:gd name="T36" fmla="*/ 81 w 120"/>
                <a:gd name="T37" fmla="*/ 13 h 56"/>
                <a:gd name="T38" fmla="*/ 75 w 120"/>
                <a:gd name="T39" fmla="*/ 7 h 56"/>
                <a:gd name="T40" fmla="*/ 67 w 120"/>
                <a:gd name="T41" fmla="*/ 3 h 56"/>
                <a:gd name="T42" fmla="*/ 60 w 120"/>
                <a:gd name="T43" fmla="*/ 0 h 56"/>
                <a:gd name="T44" fmla="*/ 55 w 120"/>
                <a:gd name="T45" fmla="*/ 1 h 56"/>
                <a:gd name="T46" fmla="*/ 48 w 120"/>
                <a:gd name="T47" fmla="*/ 3 h 56"/>
                <a:gd name="T48" fmla="*/ 41 w 120"/>
                <a:gd name="T49" fmla="*/ 6 h 56"/>
                <a:gd name="T50" fmla="*/ 33 w 120"/>
                <a:gd name="T51" fmla="*/ 9 h 56"/>
                <a:gd name="T52" fmla="*/ 24 w 120"/>
                <a:gd name="T53" fmla="*/ 13 h 56"/>
                <a:gd name="T54" fmla="*/ 16 w 120"/>
                <a:gd name="T55" fmla="*/ 15 h 56"/>
                <a:gd name="T56" fmla="*/ 8 w 120"/>
                <a:gd name="T57" fmla="*/ 18 h 56"/>
                <a:gd name="T58" fmla="*/ 0 w 120"/>
                <a:gd name="T59" fmla="*/ 18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0" h="56">
                  <a:moveTo>
                    <a:pt x="0" y="18"/>
                  </a:moveTo>
                  <a:lnTo>
                    <a:pt x="4" y="26"/>
                  </a:lnTo>
                  <a:lnTo>
                    <a:pt x="10" y="33"/>
                  </a:lnTo>
                  <a:lnTo>
                    <a:pt x="15" y="37"/>
                  </a:lnTo>
                  <a:lnTo>
                    <a:pt x="21" y="41"/>
                  </a:lnTo>
                  <a:lnTo>
                    <a:pt x="27" y="44"/>
                  </a:lnTo>
                  <a:lnTo>
                    <a:pt x="35" y="46"/>
                  </a:lnTo>
                  <a:lnTo>
                    <a:pt x="43" y="48"/>
                  </a:lnTo>
                  <a:lnTo>
                    <a:pt x="51" y="49"/>
                  </a:lnTo>
                  <a:lnTo>
                    <a:pt x="67" y="50"/>
                  </a:lnTo>
                  <a:lnTo>
                    <a:pt x="85" y="51"/>
                  </a:lnTo>
                  <a:lnTo>
                    <a:pt x="102" y="52"/>
                  </a:lnTo>
                  <a:lnTo>
                    <a:pt x="120" y="56"/>
                  </a:lnTo>
                  <a:lnTo>
                    <a:pt x="120" y="37"/>
                  </a:lnTo>
                  <a:lnTo>
                    <a:pt x="111" y="34"/>
                  </a:lnTo>
                  <a:lnTo>
                    <a:pt x="102" y="30"/>
                  </a:lnTo>
                  <a:lnTo>
                    <a:pt x="94" y="24"/>
                  </a:lnTo>
                  <a:lnTo>
                    <a:pt x="88" y="18"/>
                  </a:lnTo>
                  <a:lnTo>
                    <a:pt x="81" y="13"/>
                  </a:lnTo>
                  <a:lnTo>
                    <a:pt x="75" y="7"/>
                  </a:lnTo>
                  <a:lnTo>
                    <a:pt x="67" y="3"/>
                  </a:lnTo>
                  <a:lnTo>
                    <a:pt x="60" y="0"/>
                  </a:lnTo>
                  <a:lnTo>
                    <a:pt x="55" y="1"/>
                  </a:lnTo>
                  <a:lnTo>
                    <a:pt x="48" y="3"/>
                  </a:lnTo>
                  <a:lnTo>
                    <a:pt x="41" y="6"/>
                  </a:lnTo>
                  <a:lnTo>
                    <a:pt x="33" y="9"/>
                  </a:lnTo>
                  <a:lnTo>
                    <a:pt x="24" y="13"/>
                  </a:lnTo>
                  <a:lnTo>
                    <a:pt x="16" y="15"/>
                  </a:lnTo>
                  <a:lnTo>
                    <a:pt x="8" y="18"/>
                  </a:lnTo>
                  <a:lnTo>
                    <a:pt x="0" y="1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18" name="Freeform 216"/>
            <p:cNvSpPr>
              <a:spLocks/>
            </p:cNvSpPr>
            <p:nvPr>
              <p:custDataLst>
                <p:tags r:id="rId144"/>
              </p:custDataLst>
            </p:nvPr>
          </p:nvSpPr>
          <p:spPr bwMode="auto">
            <a:xfrm>
              <a:off x="4044257" y="3613175"/>
              <a:ext cx="250563" cy="109641"/>
            </a:xfrm>
            <a:custGeom>
              <a:avLst/>
              <a:gdLst>
                <a:gd name="T0" fmla="*/ 127 w 574"/>
                <a:gd name="T1" fmla="*/ 1 h 204"/>
                <a:gd name="T2" fmla="*/ 95 w 574"/>
                <a:gd name="T3" fmla="*/ 6 h 204"/>
                <a:gd name="T4" fmla="*/ 66 w 574"/>
                <a:gd name="T5" fmla="*/ 16 h 204"/>
                <a:gd name="T6" fmla="*/ 43 w 574"/>
                <a:gd name="T7" fmla="*/ 26 h 204"/>
                <a:gd name="T8" fmla="*/ 30 w 574"/>
                <a:gd name="T9" fmla="*/ 35 h 204"/>
                <a:gd name="T10" fmla="*/ 16 w 574"/>
                <a:gd name="T11" fmla="*/ 51 h 204"/>
                <a:gd name="T12" fmla="*/ 4 w 574"/>
                <a:gd name="T13" fmla="*/ 71 h 204"/>
                <a:gd name="T14" fmla="*/ 0 w 574"/>
                <a:gd name="T15" fmla="*/ 82 h 204"/>
                <a:gd name="T16" fmla="*/ 1 w 574"/>
                <a:gd name="T17" fmla="*/ 86 h 204"/>
                <a:gd name="T18" fmla="*/ 13 w 574"/>
                <a:gd name="T19" fmla="*/ 86 h 204"/>
                <a:gd name="T20" fmla="*/ 29 w 574"/>
                <a:gd name="T21" fmla="*/ 83 h 204"/>
                <a:gd name="T22" fmla="*/ 52 w 574"/>
                <a:gd name="T23" fmla="*/ 75 h 204"/>
                <a:gd name="T24" fmla="*/ 80 w 574"/>
                <a:gd name="T25" fmla="*/ 58 h 204"/>
                <a:gd name="T26" fmla="*/ 102 w 574"/>
                <a:gd name="T27" fmla="*/ 46 h 204"/>
                <a:gd name="T28" fmla="*/ 119 w 574"/>
                <a:gd name="T29" fmla="*/ 40 h 204"/>
                <a:gd name="T30" fmla="*/ 175 w 574"/>
                <a:gd name="T31" fmla="*/ 37 h 204"/>
                <a:gd name="T32" fmla="*/ 176 w 574"/>
                <a:gd name="T33" fmla="*/ 48 h 204"/>
                <a:gd name="T34" fmla="*/ 180 w 574"/>
                <a:gd name="T35" fmla="*/ 55 h 204"/>
                <a:gd name="T36" fmla="*/ 184 w 574"/>
                <a:gd name="T37" fmla="*/ 59 h 204"/>
                <a:gd name="T38" fmla="*/ 190 w 574"/>
                <a:gd name="T39" fmla="*/ 61 h 204"/>
                <a:gd name="T40" fmla="*/ 229 w 574"/>
                <a:gd name="T41" fmla="*/ 61 h 204"/>
                <a:gd name="T42" fmla="*/ 269 w 574"/>
                <a:gd name="T43" fmla="*/ 78 h 204"/>
                <a:gd name="T44" fmla="*/ 302 w 574"/>
                <a:gd name="T45" fmla="*/ 95 h 204"/>
                <a:gd name="T46" fmla="*/ 336 w 574"/>
                <a:gd name="T47" fmla="*/ 111 h 204"/>
                <a:gd name="T48" fmla="*/ 375 w 574"/>
                <a:gd name="T49" fmla="*/ 123 h 204"/>
                <a:gd name="T50" fmla="*/ 376 w 574"/>
                <a:gd name="T51" fmla="*/ 134 h 204"/>
                <a:gd name="T52" fmla="*/ 382 w 574"/>
                <a:gd name="T53" fmla="*/ 142 h 204"/>
                <a:gd name="T54" fmla="*/ 396 w 574"/>
                <a:gd name="T55" fmla="*/ 152 h 204"/>
                <a:gd name="T56" fmla="*/ 428 w 574"/>
                <a:gd name="T57" fmla="*/ 166 h 204"/>
                <a:gd name="T58" fmla="*/ 402 w 574"/>
                <a:gd name="T59" fmla="*/ 191 h 204"/>
                <a:gd name="T60" fmla="*/ 407 w 574"/>
                <a:gd name="T61" fmla="*/ 197 h 204"/>
                <a:gd name="T62" fmla="*/ 414 w 574"/>
                <a:gd name="T63" fmla="*/ 201 h 204"/>
                <a:gd name="T64" fmla="*/ 429 w 574"/>
                <a:gd name="T65" fmla="*/ 204 h 204"/>
                <a:gd name="T66" fmla="*/ 461 w 574"/>
                <a:gd name="T67" fmla="*/ 204 h 204"/>
                <a:gd name="T68" fmla="*/ 555 w 574"/>
                <a:gd name="T69" fmla="*/ 189 h 204"/>
                <a:gd name="T70" fmla="*/ 559 w 574"/>
                <a:gd name="T71" fmla="*/ 183 h 204"/>
                <a:gd name="T72" fmla="*/ 565 w 574"/>
                <a:gd name="T73" fmla="*/ 177 h 204"/>
                <a:gd name="T74" fmla="*/ 572 w 574"/>
                <a:gd name="T75" fmla="*/ 173 h 204"/>
                <a:gd name="T76" fmla="*/ 574 w 574"/>
                <a:gd name="T77" fmla="*/ 161 h 204"/>
                <a:gd name="T78" fmla="*/ 561 w 574"/>
                <a:gd name="T79" fmla="*/ 153 h 204"/>
                <a:gd name="T80" fmla="*/ 532 w 574"/>
                <a:gd name="T81" fmla="*/ 148 h 204"/>
                <a:gd name="T82" fmla="*/ 504 w 574"/>
                <a:gd name="T83" fmla="*/ 138 h 204"/>
                <a:gd name="T84" fmla="*/ 475 w 574"/>
                <a:gd name="T85" fmla="*/ 124 h 204"/>
                <a:gd name="T86" fmla="*/ 433 w 574"/>
                <a:gd name="T87" fmla="*/ 100 h 204"/>
                <a:gd name="T88" fmla="*/ 383 w 574"/>
                <a:gd name="T89" fmla="*/ 68 h 204"/>
                <a:gd name="T90" fmla="*/ 358 w 574"/>
                <a:gd name="T91" fmla="*/ 54 h 204"/>
                <a:gd name="T92" fmla="*/ 348 w 574"/>
                <a:gd name="T93" fmla="*/ 52 h 204"/>
                <a:gd name="T94" fmla="*/ 330 w 574"/>
                <a:gd name="T95" fmla="*/ 52 h 204"/>
                <a:gd name="T96" fmla="*/ 312 w 574"/>
                <a:gd name="T97" fmla="*/ 51 h 204"/>
                <a:gd name="T98" fmla="*/ 302 w 574"/>
                <a:gd name="T99" fmla="*/ 49 h 204"/>
                <a:gd name="T100" fmla="*/ 294 w 574"/>
                <a:gd name="T101" fmla="*/ 43 h 204"/>
                <a:gd name="T102" fmla="*/ 290 w 574"/>
                <a:gd name="T103" fmla="*/ 32 h 204"/>
                <a:gd name="T104" fmla="*/ 142 w 574"/>
                <a:gd name="T105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74" h="204">
                  <a:moveTo>
                    <a:pt x="142" y="0"/>
                  </a:moveTo>
                  <a:lnTo>
                    <a:pt x="127" y="1"/>
                  </a:lnTo>
                  <a:lnTo>
                    <a:pt x="111" y="3"/>
                  </a:lnTo>
                  <a:lnTo>
                    <a:pt x="95" y="6"/>
                  </a:lnTo>
                  <a:lnTo>
                    <a:pt x="80" y="11"/>
                  </a:lnTo>
                  <a:lnTo>
                    <a:pt x="66" y="16"/>
                  </a:lnTo>
                  <a:lnTo>
                    <a:pt x="52" y="21"/>
                  </a:lnTo>
                  <a:lnTo>
                    <a:pt x="43" y="26"/>
                  </a:lnTo>
                  <a:lnTo>
                    <a:pt x="36" y="31"/>
                  </a:lnTo>
                  <a:lnTo>
                    <a:pt x="30" y="35"/>
                  </a:lnTo>
                  <a:lnTo>
                    <a:pt x="24" y="42"/>
                  </a:lnTo>
                  <a:lnTo>
                    <a:pt x="16" y="51"/>
                  </a:lnTo>
                  <a:lnTo>
                    <a:pt x="10" y="61"/>
                  </a:lnTo>
                  <a:lnTo>
                    <a:pt x="4" y="71"/>
                  </a:lnTo>
                  <a:lnTo>
                    <a:pt x="1" y="79"/>
                  </a:lnTo>
                  <a:lnTo>
                    <a:pt x="0" y="82"/>
                  </a:lnTo>
                  <a:lnTo>
                    <a:pt x="0" y="85"/>
                  </a:lnTo>
                  <a:lnTo>
                    <a:pt x="1" y="86"/>
                  </a:lnTo>
                  <a:lnTo>
                    <a:pt x="3" y="87"/>
                  </a:lnTo>
                  <a:lnTo>
                    <a:pt x="13" y="86"/>
                  </a:lnTo>
                  <a:lnTo>
                    <a:pt x="22" y="85"/>
                  </a:lnTo>
                  <a:lnTo>
                    <a:pt x="29" y="83"/>
                  </a:lnTo>
                  <a:lnTo>
                    <a:pt x="38" y="81"/>
                  </a:lnTo>
                  <a:lnTo>
                    <a:pt x="52" y="75"/>
                  </a:lnTo>
                  <a:lnTo>
                    <a:pt x="66" y="66"/>
                  </a:lnTo>
                  <a:lnTo>
                    <a:pt x="80" y="58"/>
                  </a:lnTo>
                  <a:lnTo>
                    <a:pt x="94" y="50"/>
                  </a:lnTo>
                  <a:lnTo>
                    <a:pt x="102" y="46"/>
                  </a:lnTo>
                  <a:lnTo>
                    <a:pt x="111" y="43"/>
                  </a:lnTo>
                  <a:lnTo>
                    <a:pt x="119" y="40"/>
                  </a:lnTo>
                  <a:lnTo>
                    <a:pt x="129" y="37"/>
                  </a:lnTo>
                  <a:lnTo>
                    <a:pt x="175" y="37"/>
                  </a:lnTo>
                  <a:lnTo>
                    <a:pt x="175" y="43"/>
                  </a:lnTo>
                  <a:lnTo>
                    <a:pt x="176" y="48"/>
                  </a:lnTo>
                  <a:lnTo>
                    <a:pt x="178" y="52"/>
                  </a:lnTo>
                  <a:lnTo>
                    <a:pt x="180" y="55"/>
                  </a:lnTo>
                  <a:lnTo>
                    <a:pt x="181" y="58"/>
                  </a:lnTo>
                  <a:lnTo>
                    <a:pt x="184" y="59"/>
                  </a:lnTo>
                  <a:lnTo>
                    <a:pt x="186" y="60"/>
                  </a:lnTo>
                  <a:lnTo>
                    <a:pt x="190" y="61"/>
                  </a:lnTo>
                  <a:lnTo>
                    <a:pt x="206" y="60"/>
                  </a:lnTo>
                  <a:lnTo>
                    <a:pt x="229" y="61"/>
                  </a:lnTo>
                  <a:lnTo>
                    <a:pt x="250" y="69"/>
                  </a:lnTo>
                  <a:lnTo>
                    <a:pt x="269" y="78"/>
                  </a:lnTo>
                  <a:lnTo>
                    <a:pt x="285" y="86"/>
                  </a:lnTo>
                  <a:lnTo>
                    <a:pt x="302" y="95"/>
                  </a:lnTo>
                  <a:lnTo>
                    <a:pt x="318" y="103"/>
                  </a:lnTo>
                  <a:lnTo>
                    <a:pt x="336" y="111"/>
                  </a:lnTo>
                  <a:lnTo>
                    <a:pt x="354" y="118"/>
                  </a:lnTo>
                  <a:lnTo>
                    <a:pt x="375" y="123"/>
                  </a:lnTo>
                  <a:lnTo>
                    <a:pt x="375" y="129"/>
                  </a:lnTo>
                  <a:lnTo>
                    <a:pt x="376" y="134"/>
                  </a:lnTo>
                  <a:lnTo>
                    <a:pt x="379" y="138"/>
                  </a:lnTo>
                  <a:lnTo>
                    <a:pt x="382" y="142"/>
                  </a:lnTo>
                  <a:lnTo>
                    <a:pt x="388" y="147"/>
                  </a:lnTo>
                  <a:lnTo>
                    <a:pt x="396" y="152"/>
                  </a:lnTo>
                  <a:lnTo>
                    <a:pt x="415" y="159"/>
                  </a:lnTo>
                  <a:lnTo>
                    <a:pt x="428" y="166"/>
                  </a:lnTo>
                  <a:lnTo>
                    <a:pt x="417" y="176"/>
                  </a:lnTo>
                  <a:lnTo>
                    <a:pt x="402" y="191"/>
                  </a:lnTo>
                  <a:lnTo>
                    <a:pt x="404" y="195"/>
                  </a:lnTo>
                  <a:lnTo>
                    <a:pt x="407" y="197"/>
                  </a:lnTo>
                  <a:lnTo>
                    <a:pt x="410" y="199"/>
                  </a:lnTo>
                  <a:lnTo>
                    <a:pt x="414" y="201"/>
                  </a:lnTo>
                  <a:lnTo>
                    <a:pt x="421" y="203"/>
                  </a:lnTo>
                  <a:lnTo>
                    <a:pt x="429" y="204"/>
                  </a:lnTo>
                  <a:lnTo>
                    <a:pt x="445" y="204"/>
                  </a:lnTo>
                  <a:lnTo>
                    <a:pt x="461" y="204"/>
                  </a:lnTo>
                  <a:lnTo>
                    <a:pt x="554" y="191"/>
                  </a:lnTo>
                  <a:lnTo>
                    <a:pt x="555" y="189"/>
                  </a:lnTo>
                  <a:lnTo>
                    <a:pt x="556" y="186"/>
                  </a:lnTo>
                  <a:lnTo>
                    <a:pt x="559" y="183"/>
                  </a:lnTo>
                  <a:lnTo>
                    <a:pt x="562" y="179"/>
                  </a:lnTo>
                  <a:lnTo>
                    <a:pt x="565" y="177"/>
                  </a:lnTo>
                  <a:lnTo>
                    <a:pt x="568" y="174"/>
                  </a:lnTo>
                  <a:lnTo>
                    <a:pt x="572" y="173"/>
                  </a:lnTo>
                  <a:lnTo>
                    <a:pt x="574" y="172"/>
                  </a:lnTo>
                  <a:lnTo>
                    <a:pt x="574" y="161"/>
                  </a:lnTo>
                  <a:lnTo>
                    <a:pt x="574" y="154"/>
                  </a:lnTo>
                  <a:lnTo>
                    <a:pt x="561" y="153"/>
                  </a:lnTo>
                  <a:lnTo>
                    <a:pt x="546" y="151"/>
                  </a:lnTo>
                  <a:lnTo>
                    <a:pt x="532" y="148"/>
                  </a:lnTo>
                  <a:lnTo>
                    <a:pt x="518" y="143"/>
                  </a:lnTo>
                  <a:lnTo>
                    <a:pt x="504" y="138"/>
                  </a:lnTo>
                  <a:lnTo>
                    <a:pt x="489" y="132"/>
                  </a:lnTo>
                  <a:lnTo>
                    <a:pt x="475" y="124"/>
                  </a:lnTo>
                  <a:lnTo>
                    <a:pt x="461" y="116"/>
                  </a:lnTo>
                  <a:lnTo>
                    <a:pt x="433" y="100"/>
                  </a:lnTo>
                  <a:lnTo>
                    <a:pt x="407" y="84"/>
                  </a:lnTo>
                  <a:lnTo>
                    <a:pt x="383" y="68"/>
                  </a:lnTo>
                  <a:lnTo>
                    <a:pt x="362" y="55"/>
                  </a:lnTo>
                  <a:lnTo>
                    <a:pt x="358" y="54"/>
                  </a:lnTo>
                  <a:lnTo>
                    <a:pt x="353" y="52"/>
                  </a:lnTo>
                  <a:lnTo>
                    <a:pt x="348" y="52"/>
                  </a:lnTo>
                  <a:lnTo>
                    <a:pt x="342" y="52"/>
                  </a:lnTo>
                  <a:lnTo>
                    <a:pt x="330" y="52"/>
                  </a:lnTo>
                  <a:lnTo>
                    <a:pt x="318" y="52"/>
                  </a:lnTo>
                  <a:lnTo>
                    <a:pt x="312" y="51"/>
                  </a:lnTo>
                  <a:lnTo>
                    <a:pt x="306" y="50"/>
                  </a:lnTo>
                  <a:lnTo>
                    <a:pt x="302" y="49"/>
                  </a:lnTo>
                  <a:lnTo>
                    <a:pt x="297" y="46"/>
                  </a:lnTo>
                  <a:lnTo>
                    <a:pt x="294" y="43"/>
                  </a:lnTo>
                  <a:lnTo>
                    <a:pt x="291" y="38"/>
                  </a:lnTo>
                  <a:lnTo>
                    <a:pt x="290" y="32"/>
                  </a:lnTo>
                  <a:lnTo>
                    <a:pt x="288" y="25"/>
                  </a:lnTo>
                  <a:lnTo>
                    <a:pt x="142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19" name="Freeform 217"/>
            <p:cNvSpPr>
              <a:spLocks/>
            </p:cNvSpPr>
            <p:nvPr>
              <p:custDataLst>
                <p:tags r:id="rId145"/>
              </p:custDataLst>
            </p:nvPr>
          </p:nvSpPr>
          <p:spPr bwMode="auto">
            <a:xfrm>
              <a:off x="4349081" y="3716069"/>
              <a:ext cx="89373" cy="70845"/>
            </a:xfrm>
            <a:custGeom>
              <a:avLst/>
              <a:gdLst>
                <a:gd name="T0" fmla="*/ 41 w 207"/>
                <a:gd name="T1" fmla="*/ 129 h 129"/>
                <a:gd name="T2" fmla="*/ 50 w 207"/>
                <a:gd name="T3" fmla="*/ 121 h 129"/>
                <a:gd name="T4" fmla="*/ 60 w 207"/>
                <a:gd name="T5" fmla="*/ 115 h 129"/>
                <a:gd name="T6" fmla="*/ 70 w 207"/>
                <a:gd name="T7" fmla="*/ 110 h 129"/>
                <a:gd name="T8" fmla="*/ 81 w 207"/>
                <a:gd name="T9" fmla="*/ 105 h 129"/>
                <a:gd name="T10" fmla="*/ 105 w 207"/>
                <a:gd name="T11" fmla="*/ 99 h 129"/>
                <a:gd name="T12" fmla="*/ 129 w 207"/>
                <a:gd name="T13" fmla="*/ 92 h 129"/>
                <a:gd name="T14" fmla="*/ 152 w 207"/>
                <a:gd name="T15" fmla="*/ 87 h 129"/>
                <a:gd name="T16" fmla="*/ 173 w 207"/>
                <a:gd name="T17" fmla="*/ 81 h 129"/>
                <a:gd name="T18" fmla="*/ 182 w 207"/>
                <a:gd name="T19" fmla="*/ 77 h 129"/>
                <a:gd name="T20" fmla="*/ 191 w 207"/>
                <a:gd name="T21" fmla="*/ 73 h 129"/>
                <a:gd name="T22" fmla="*/ 200 w 207"/>
                <a:gd name="T23" fmla="*/ 67 h 129"/>
                <a:gd name="T24" fmla="*/ 207 w 207"/>
                <a:gd name="T25" fmla="*/ 61 h 129"/>
                <a:gd name="T26" fmla="*/ 198 w 207"/>
                <a:gd name="T27" fmla="*/ 54 h 129"/>
                <a:gd name="T28" fmla="*/ 188 w 207"/>
                <a:gd name="T29" fmla="*/ 47 h 129"/>
                <a:gd name="T30" fmla="*/ 179 w 207"/>
                <a:gd name="T31" fmla="*/ 42 h 129"/>
                <a:gd name="T32" fmla="*/ 169 w 207"/>
                <a:gd name="T33" fmla="*/ 36 h 129"/>
                <a:gd name="T34" fmla="*/ 150 w 207"/>
                <a:gd name="T35" fmla="*/ 29 h 129"/>
                <a:gd name="T36" fmla="*/ 129 w 207"/>
                <a:gd name="T37" fmla="*/ 23 h 129"/>
                <a:gd name="T38" fmla="*/ 107 w 207"/>
                <a:gd name="T39" fmla="*/ 18 h 129"/>
                <a:gd name="T40" fmla="*/ 85 w 207"/>
                <a:gd name="T41" fmla="*/ 13 h 129"/>
                <a:gd name="T42" fmla="*/ 63 w 207"/>
                <a:gd name="T43" fmla="*/ 7 h 129"/>
                <a:gd name="T44" fmla="*/ 41 w 207"/>
                <a:gd name="T45" fmla="*/ 0 h 129"/>
                <a:gd name="T46" fmla="*/ 0 w 207"/>
                <a:gd name="T47" fmla="*/ 0 h 129"/>
                <a:gd name="T48" fmla="*/ 1 w 207"/>
                <a:gd name="T49" fmla="*/ 6 h 129"/>
                <a:gd name="T50" fmla="*/ 2 w 207"/>
                <a:gd name="T51" fmla="*/ 13 h 129"/>
                <a:gd name="T52" fmla="*/ 4 w 207"/>
                <a:gd name="T53" fmla="*/ 19 h 129"/>
                <a:gd name="T54" fmla="*/ 6 w 207"/>
                <a:gd name="T55" fmla="*/ 25 h 129"/>
                <a:gd name="T56" fmla="*/ 10 w 207"/>
                <a:gd name="T57" fmla="*/ 35 h 129"/>
                <a:gd name="T58" fmla="*/ 13 w 207"/>
                <a:gd name="T59" fmla="*/ 46 h 129"/>
                <a:gd name="T60" fmla="*/ 17 w 207"/>
                <a:gd name="T61" fmla="*/ 54 h 129"/>
                <a:gd name="T62" fmla="*/ 18 w 207"/>
                <a:gd name="T63" fmla="*/ 62 h 129"/>
                <a:gd name="T64" fmla="*/ 17 w 207"/>
                <a:gd name="T65" fmla="*/ 65 h 129"/>
                <a:gd name="T66" fmla="*/ 14 w 207"/>
                <a:gd name="T67" fmla="*/ 68 h 129"/>
                <a:gd name="T68" fmla="*/ 11 w 207"/>
                <a:gd name="T69" fmla="*/ 71 h 129"/>
                <a:gd name="T70" fmla="*/ 7 w 207"/>
                <a:gd name="T71" fmla="*/ 73 h 129"/>
                <a:gd name="T72" fmla="*/ 0 w 207"/>
                <a:gd name="T73" fmla="*/ 104 h 129"/>
                <a:gd name="T74" fmla="*/ 4 w 207"/>
                <a:gd name="T75" fmla="*/ 106 h 129"/>
                <a:gd name="T76" fmla="*/ 13 w 207"/>
                <a:gd name="T77" fmla="*/ 110 h 129"/>
                <a:gd name="T78" fmla="*/ 19 w 207"/>
                <a:gd name="T79" fmla="*/ 113 h 129"/>
                <a:gd name="T80" fmla="*/ 25 w 207"/>
                <a:gd name="T81" fmla="*/ 117 h 129"/>
                <a:gd name="T82" fmla="*/ 33 w 207"/>
                <a:gd name="T83" fmla="*/ 122 h 129"/>
                <a:gd name="T84" fmla="*/ 41 w 207"/>
                <a:gd name="T8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07" h="129">
                  <a:moveTo>
                    <a:pt x="41" y="129"/>
                  </a:moveTo>
                  <a:lnTo>
                    <a:pt x="50" y="121"/>
                  </a:lnTo>
                  <a:lnTo>
                    <a:pt x="60" y="115"/>
                  </a:lnTo>
                  <a:lnTo>
                    <a:pt x="70" y="110"/>
                  </a:lnTo>
                  <a:lnTo>
                    <a:pt x="81" y="105"/>
                  </a:lnTo>
                  <a:lnTo>
                    <a:pt x="105" y="99"/>
                  </a:lnTo>
                  <a:lnTo>
                    <a:pt x="129" y="92"/>
                  </a:lnTo>
                  <a:lnTo>
                    <a:pt x="152" y="87"/>
                  </a:lnTo>
                  <a:lnTo>
                    <a:pt x="173" y="81"/>
                  </a:lnTo>
                  <a:lnTo>
                    <a:pt x="182" y="77"/>
                  </a:lnTo>
                  <a:lnTo>
                    <a:pt x="191" y="73"/>
                  </a:lnTo>
                  <a:lnTo>
                    <a:pt x="200" y="67"/>
                  </a:lnTo>
                  <a:lnTo>
                    <a:pt x="207" y="61"/>
                  </a:lnTo>
                  <a:lnTo>
                    <a:pt x="198" y="54"/>
                  </a:lnTo>
                  <a:lnTo>
                    <a:pt x="188" y="47"/>
                  </a:lnTo>
                  <a:lnTo>
                    <a:pt x="179" y="42"/>
                  </a:lnTo>
                  <a:lnTo>
                    <a:pt x="169" y="36"/>
                  </a:lnTo>
                  <a:lnTo>
                    <a:pt x="150" y="29"/>
                  </a:lnTo>
                  <a:lnTo>
                    <a:pt x="129" y="23"/>
                  </a:lnTo>
                  <a:lnTo>
                    <a:pt x="107" y="18"/>
                  </a:lnTo>
                  <a:lnTo>
                    <a:pt x="85" y="13"/>
                  </a:lnTo>
                  <a:lnTo>
                    <a:pt x="63" y="7"/>
                  </a:lnTo>
                  <a:lnTo>
                    <a:pt x="41" y="0"/>
                  </a:lnTo>
                  <a:lnTo>
                    <a:pt x="0" y="0"/>
                  </a:lnTo>
                  <a:lnTo>
                    <a:pt x="1" y="6"/>
                  </a:lnTo>
                  <a:lnTo>
                    <a:pt x="2" y="13"/>
                  </a:lnTo>
                  <a:lnTo>
                    <a:pt x="4" y="19"/>
                  </a:lnTo>
                  <a:lnTo>
                    <a:pt x="6" y="25"/>
                  </a:lnTo>
                  <a:lnTo>
                    <a:pt x="10" y="35"/>
                  </a:lnTo>
                  <a:lnTo>
                    <a:pt x="13" y="46"/>
                  </a:lnTo>
                  <a:lnTo>
                    <a:pt x="17" y="54"/>
                  </a:lnTo>
                  <a:lnTo>
                    <a:pt x="18" y="62"/>
                  </a:lnTo>
                  <a:lnTo>
                    <a:pt x="17" y="65"/>
                  </a:lnTo>
                  <a:lnTo>
                    <a:pt x="14" y="68"/>
                  </a:lnTo>
                  <a:lnTo>
                    <a:pt x="11" y="71"/>
                  </a:lnTo>
                  <a:lnTo>
                    <a:pt x="7" y="73"/>
                  </a:lnTo>
                  <a:lnTo>
                    <a:pt x="0" y="104"/>
                  </a:lnTo>
                  <a:lnTo>
                    <a:pt x="4" y="106"/>
                  </a:lnTo>
                  <a:lnTo>
                    <a:pt x="13" y="110"/>
                  </a:lnTo>
                  <a:lnTo>
                    <a:pt x="19" y="113"/>
                  </a:lnTo>
                  <a:lnTo>
                    <a:pt x="25" y="117"/>
                  </a:lnTo>
                  <a:lnTo>
                    <a:pt x="33" y="122"/>
                  </a:lnTo>
                  <a:lnTo>
                    <a:pt x="41" y="129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20" name="Freeform 218"/>
            <p:cNvSpPr>
              <a:spLocks/>
            </p:cNvSpPr>
            <p:nvPr>
              <p:custDataLst>
                <p:tags r:id="rId146"/>
              </p:custDataLst>
            </p:nvPr>
          </p:nvSpPr>
          <p:spPr bwMode="auto">
            <a:xfrm>
              <a:off x="3916581" y="3776794"/>
              <a:ext cx="33514" cy="84340"/>
            </a:xfrm>
            <a:custGeom>
              <a:avLst/>
              <a:gdLst>
                <a:gd name="T0" fmla="*/ 72 w 72"/>
                <a:gd name="T1" fmla="*/ 0 h 154"/>
                <a:gd name="T2" fmla="*/ 69 w 72"/>
                <a:gd name="T3" fmla="*/ 4 h 154"/>
                <a:gd name="T4" fmla="*/ 67 w 72"/>
                <a:gd name="T5" fmla="*/ 9 h 154"/>
                <a:gd name="T6" fmla="*/ 66 w 72"/>
                <a:gd name="T7" fmla="*/ 13 h 154"/>
                <a:gd name="T8" fmla="*/ 66 w 72"/>
                <a:gd name="T9" fmla="*/ 18 h 154"/>
                <a:gd name="T10" fmla="*/ 66 w 72"/>
                <a:gd name="T11" fmla="*/ 27 h 154"/>
                <a:gd name="T12" fmla="*/ 66 w 72"/>
                <a:gd name="T13" fmla="*/ 37 h 154"/>
                <a:gd name="T14" fmla="*/ 69 w 72"/>
                <a:gd name="T15" fmla="*/ 43 h 154"/>
                <a:gd name="T16" fmla="*/ 71 w 72"/>
                <a:gd name="T17" fmla="*/ 50 h 154"/>
                <a:gd name="T18" fmla="*/ 71 w 72"/>
                <a:gd name="T19" fmla="*/ 57 h 154"/>
                <a:gd name="T20" fmla="*/ 71 w 72"/>
                <a:gd name="T21" fmla="*/ 65 h 154"/>
                <a:gd name="T22" fmla="*/ 69 w 72"/>
                <a:gd name="T23" fmla="*/ 73 h 154"/>
                <a:gd name="T24" fmla="*/ 67 w 72"/>
                <a:gd name="T25" fmla="*/ 82 h 154"/>
                <a:gd name="T26" fmla="*/ 65 w 72"/>
                <a:gd name="T27" fmla="*/ 91 h 154"/>
                <a:gd name="T28" fmla="*/ 61 w 72"/>
                <a:gd name="T29" fmla="*/ 100 h 154"/>
                <a:gd name="T30" fmla="*/ 53 w 72"/>
                <a:gd name="T31" fmla="*/ 116 h 154"/>
                <a:gd name="T32" fmla="*/ 44 w 72"/>
                <a:gd name="T33" fmla="*/ 131 h 154"/>
                <a:gd name="T34" fmla="*/ 34 w 72"/>
                <a:gd name="T35" fmla="*/ 144 h 154"/>
                <a:gd name="T36" fmla="*/ 26 w 72"/>
                <a:gd name="T37" fmla="*/ 154 h 154"/>
                <a:gd name="T38" fmla="*/ 26 w 72"/>
                <a:gd name="T39" fmla="*/ 141 h 154"/>
                <a:gd name="T40" fmla="*/ 15 w 72"/>
                <a:gd name="T41" fmla="*/ 144 h 154"/>
                <a:gd name="T42" fmla="*/ 0 w 72"/>
                <a:gd name="T43" fmla="*/ 148 h 154"/>
                <a:gd name="T44" fmla="*/ 3 w 72"/>
                <a:gd name="T45" fmla="*/ 129 h 154"/>
                <a:gd name="T46" fmla="*/ 8 w 72"/>
                <a:gd name="T47" fmla="*/ 105 h 154"/>
                <a:gd name="T48" fmla="*/ 9 w 72"/>
                <a:gd name="T49" fmla="*/ 92 h 154"/>
                <a:gd name="T50" fmla="*/ 12 w 72"/>
                <a:gd name="T51" fmla="*/ 77 h 154"/>
                <a:gd name="T52" fmla="*/ 15 w 72"/>
                <a:gd name="T53" fmla="*/ 63 h 154"/>
                <a:gd name="T54" fmla="*/ 20 w 72"/>
                <a:gd name="T55" fmla="*/ 49 h 154"/>
                <a:gd name="T56" fmla="*/ 20 w 72"/>
                <a:gd name="T57" fmla="*/ 0 h 154"/>
                <a:gd name="T58" fmla="*/ 25 w 72"/>
                <a:gd name="T59" fmla="*/ 0 h 154"/>
                <a:gd name="T60" fmla="*/ 38 w 72"/>
                <a:gd name="T61" fmla="*/ 0 h 154"/>
                <a:gd name="T62" fmla="*/ 56 w 72"/>
                <a:gd name="T63" fmla="*/ 0 h 154"/>
                <a:gd name="T64" fmla="*/ 72 w 72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54">
                  <a:moveTo>
                    <a:pt x="72" y="0"/>
                  </a:moveTo>
                  <a:lnTo>
                    <a:pt x="69" y="4"/>
                  </a:lnTo>
                  <a:lnTo>
                    <a:pt x="67" y="9"/>
                  </a:lnTo>
                  <a:lnTo>
                    <a:pt x="66" y="13"/>
                  </a:lnTo>
                  <a:lnTo>
                    <a:pt x="66" y="18"/>
                  </a:lnTo>
                  <a:lnTo>
                    <a:pt x="66" y="27"/>
                  </a:lnTo>
                  <a:lnTo>
                    <a:pt x="66" y="37"/>
                  </a:lnTo>
                  <a:lnTo>
                    <a:pt x="69" y="43"/>
                  </a:lnTo>
                  <a:lnTo>
                    <a:pt x="71" y="50"/>
                  </a:lnTo>
                  <a:lnTo>
                    <a:pt x="71" y="57"/>
                  </a:lnTo>
                  <a:lnTo>
                    <a:pt x="71" y="65"/>
                  </a:lnTo>
                  <a:lnTo>
                    <a:pt x="69" y="73"/>
                  </a:lnTo>
                  <a:lnTo>
                    <a:pt x="67" y="82"/>
                  </a:lnTo>
                  <a:lnTo>
                    <a:pt x="65" y="91"/>
                  </a:lnTo>
                  <a:lnTo>
                    <a:pt x="61" y="100"/>
                  </a:lnTo>
                  <a:lnTo>
                    <a:pt x="53" y="116"/>
                  </a:lnTo>
                  <a:lnTo>
                    <a:pt x="44" y="131"/>
                  </a:lnTo>
                  <a:lnTo>
                    <a:pt x="34" y="144"/>
                  </a:lnTo>
                  <a:lnTo>
                    <a:pt x="26" y="154"/>
                  </a:lnTo>
                  <a:lnTo>
                    <a:pt x="26" y="141"/>
                  </a:lnTo>
                  <a:lnTo>
                    <a:pt x="15" y="144"/>
                  </a:lnTo>
                  <a:lnTo>
                    <a:pt x="0" y="148"/>
                  </a:lnTo>
                  <a:lnTo>
                    <a:pt x="3" y="129"/>
                  </a:lnTo>
                  <a:lnTo>
                    <a:pt x="8" y="105"/>
                  </a:lnTo>
                  <a:lnTo>
                    <a:pt x="9" y="92"/>
                  </a:lnTo>
                  <a:lnTo>
                    <a:pt x="12" y="77"/>
                  </a:lnTo>
                  <a:lnTo>
                    <a:pt x="15" y="63"/>
                  </a:lnTo>
                  <a:lnTo>
                    <a:pt x="20" y="49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8" y="0"/>
                  </a:lnTo>
                  <a:lnTo>
                    <a:pt x="56" y="0"/>
                  </a:lnTo>
                  <a:lnTo>
                    <a:pt x="72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21" name="Freeform 219"/>
            <p:cNvSpPr>
              <a:spLocks/>
            </p:cNvSpPr>
            <p:nvPr>
              <p:custDataLst>
                <p:tags r:id="rId147"/>
              </p:custDataLst>
            </p:nvPr>
          </p:nvSpPr>
          <p:spPr bwMode="auto">
            <a:xfrm>
              <a:off x="3838379" y="3776794"/>
              <a:ext cx="92565" cy="146752"/>
            </a:xfrm>
            <a:custGeom>
              <a:avLst/>
              <a:gdLst>
                <a:gd name="T0" fmla="*/ 8 w 214"/>
                <a:gd name="T1" fmla="*/ 207 h 271"/>
                <a:gd name="T2" fmla="*/ 12 w 214"/>
                <a:gd name="T3" fmla="*/ 181 h 271"/>
                <a:gd name="T4" fmla="*/ 24 w 214"/>
                <a:gd name="T5" fmla="*/ 148 h 271"/>
                <a:gd name="T6" fmla="*/ 35 w 214"/>
                <a:gd name="T7" fmla="*/ 118 h 271"/>
                <a:gd name="T8" fmla="*/ 44 w 214"/>
                <a:gd name="T9" fmla="*/ 112 h 271"/>
                <a:gd name="T10" fmla="*/ 65 w 214"/>
                <a:gd name="T11" fmla="*/ 111 h 271"/>
                <a:gd name="T12" fmla="*/ 89 w 214"/>
                <a:gd name="T13" fmla="*/ 111 h 271"/>
                <a:gd name="T14" fmla="*/ 106 w 214"/>
                <a:gd name="T15" fmla="*/ 110 h 271"/>
                <a:gd name="T16" fmla="*/ 120 w 214"/>
                <a:gd name="T17" fmla="*/ 105 h 271"/>
                <a:gd name="T18" fmla="*/ 130 w 214"/>
                <a:gd name="T19" fmla="*/ 94 h 271"/>
                <a:gd name="T20" fmla="*/ 113 w 214"/>
                <a:gd name="T21" fmla="*/ 73 h 271"/>
                <a:gd name="T22" fmla="*/ 86 w 214"/>
                <a:gd name="T23" fmla="*/ 58 h 271"/>
                <a:gd name="T24" fmla="*/ 77 w 214"/>
                <a:gd name="T25" fmla="*/ 49 h 271"/>
                <a:gd name="T26" fmla="*/ 74 w 214"/>
                <a:gd name="T27" fmla="*/ 41 h 271"/>
                <a:gd name="T28" fmla="*/ 75 w 214"/>
                <a:gd name="T29" fmla="*/ 34 h 271"/>
                <a:gd name="T30" fmla="*/ 82 w 214"/>
                <a:gd name="T31" fmla="*/ 28 h 271"/>
                <a:gd name="T32" fmla="*/ 101 w 214"/>
                <a:gd name="T33" fmla="*/ 19 h 271"/>
                <a:gd name="T34" fmla="*/ 150 w 214"/>
                <a:gd name="T35" fmla="*/ 3 h 271"/>
                <a:gd name="T36" fmla="*/ 180 w 214"/>
                <a:gd name="T37" fmla="*/ 0 h 271"/>
                <a:gd name="T38" fmla="*/ 198 w 214"/>
                <a:gd name="T39" fmla="*/ 0 h 271"/>
                <a:gd name="T40" fmla="*/ 207 w 214"/>
                <a:gd name="T41" fmla="*/ 49 h 271"/>
                <a:gd name="T42" fmla="*/ 199 w 214"/>
                <a:gd name="T43" fmla="*/ 77 h 271"/>
                <a:gd name="T44" fmla="*/ 195 w 214"/>
                <a:gd name="T45" fmla="*/ 105 h 271"/>
                <a:gd name="T46" fmla="*/ 187 w 214"/>
                <a:gd name="T47" fmla="*/ 148 h 271"/>
                <a:gd name="T48" fmla="*/ 213 w 214"/>
                <a:gd name="T49" fmla="*/ 154 h 271"/>
                <a:gd name="T50" fmla="*/ 214 w 214"/>
                <a:gd name="T51" fmla="*/ 166 h 271"/>
                <a:gd name="T52" fmla="*/ 210 w 214"/>
                <a:gd name="T53" fmla="*/ 174 h 271"/>
                <a:gd name="T54" fmla="*/ 207 w 214"/>
                <a:gd name="T55" fmla="*/ 177 h 271"/>
                <a:gd name="T56" fmla="*/ 200 w 214"/>
                <a:gd name="T57" fmla="*/ 178 h 271"/>
                <a:gd name="T58" fmla="*/ 192 w 214"/>
                <a:gd name="T59" fmla="*/ 196 h 271"/>
                <a:gd name="T60" fmla="*/ 181 w 214"/>
                <a:gd name="T61" fmla="*/ 214 h 271"/>
                <a:gd name="T62" fmla="*/ 155 w 214"/>
                <a:gd name="T63" fmla="*/ 243 h 271"/>
                <a:gd name="T64" fmla="*/ 120 w 214"/>
                <a:gd name="T65" fmla="*/ 271 h 271"/>
                <a:gd name="T66" fmla="*/ 87 w 214"/>
                <a:gd name="T67" fmla="*/ 261 h 271"/>
                <a:gd name="T68" fmla="*/ 55 w 214"/>
                <a:gd name="T69" fmla="*/ 248 h 271"/>
                <a:gd name="T70" fmla="*/ 0 w 214"/>
                <a:gd name="T71" fmla="*/ 22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14" h="271">
                  <a:moveTo>
                    <a:pt x="7" y="221"/>
                  </a:moveTo>
                  <a:lnTo>
                    <a:pt x="8" y="207"/>
                  </a:lnTo>
                  <a:lnTo>
                    <a:pt x="9" y="192"/>
                  </a:lnTo>
                  <a:lnTo>
                    <a:pt x="12" y="181"/>
                  </a:lnTo>
                  <a:lnTo>
                    <a:pt x="16" y="170"/>
                  </a:lnTo>
                  <a:lnTo>
                    <a:pt x="24" y="148"/>
                  </a:lnTo>
                  <a:lnTo>
                    <a:pt x="34" y="123"/>
                  </a:lnTo>
                  <a:lnTo>
                    <a:pt x="35" y="118"/>
                  </a:lnTo>
                  <a:lnTo>
                    <a:pt x="40" y="114"/>
                  </a:lnTo>
                  <a:lnTo>
                    <a:pt x="44" y="112"/>
                  </a:lnTo>
                  <a:lnTo>
                    <a:pt x="51" y="111"/>
                  </a:lnTo>
                  <a:lnTo>
                    <a:pt x="65" y="111"/>
                  </a:lnTo>
                  <a:lnTo>
                    <a:pt x="82" y="111"/>
                  </a:lnTo>
                  <a:lnTo>
                    <a:pt x="89" y="111"/>
                  </a:lnTo>
                  <a:lnTo>
                    <a:pt x="98" y="111"/>
                  </a:lnTo>
                  <a:lnTo>
                    <a:pt x="106" y="110"/>
                  </a:lnTo>
                  <a:lnTo>
                    <a:pt x="113" y="108"/>
                  </a:lnTo>
                  <a:lnTo>
                    <a:pt x="120" y="105"/>
                  </a:lnTo>
                  <a:lnTo>
                    <a:pt x="125" y="100"/>
                  </a:lnTo>
                  <a:lnTo>
                    <a:pt x="130" y="94"/>
                  </a:lnTo>
                  <a:lnTo>
                    <a:pt x="133" y="85"/>
                  </a:lnTo>
                  <a:lnTo>
                    <a:pt x="113" y="73"/>
                  </a:lnTo>
                  <a:lnTo>
                    <a:pt x="94" y="63"/>
                  </a:lnTo>
                  <a:lnTo>
                    <a:pt x="86" y="58"/>
                  </a:lnTo>
                  <a:lnTo>
                    <a:pt x="79" y="52"/>
                  </a:lnTo>
                  <a:lnTo>
                    <a:pt x="77" y="49"/>
                  </a:lnTo>
                  <a:lnTo>
                    <a:pt x="75" y="45"/>
                  </a:lnTo>
                  <a:lnTo>
                    <a:pt x="74" y="41"/>
                  </a:lnTo>
                  <a:lnTo>
                    <a:pt x="74" y="37"/>
                  </a:lnTo>
                  <a:lnTo>
                    <a:pt x="75" y="34"/>
                  </a:lnTo>
                  <a:lnTo>
                    <a:pt x="77" y="31"/>
                  </a:lnTo>
                  <a:lnTo>
                    <a:pt x="82" y="28"/>
                  </a:lnTo>
                  <a:lnTo>
                    <a:pt x="87" y="25"/>
                  </a:lnTo>
                  <a:lnTo>
                    <a:pt x="101" y="19"/>
                  </a:lnTo>
                  <a:lnTo>
                    <a:pt x="118" y="13"/>
                  </a:lnTo>
                  <a:lnTo>
                    <a:pt x="150" y="3"/>
                  </a:lnTo>
                  <a:lnTo>
                    <a:pt x="167" y="0"/>
                  </a:lnTo>
                  <a:lnTo>
                    <a:pt x="180" y="0"/>
                  </a:lnTo>
                  <a:lnTo>
                    <a:pt x="190" y="0"/>
                  </a:lnTo>
                  <a:lnTo>
                    <a:pt x="198" y="0"/>
                  </a:lnTo>
                  <a:lnTo>
                    <a:pt x="200" y="0"/>
                  </a:lnTo>
                  <a:lnTo>
                    <a:pt x="207" y="49"/>
                  </a:lnTo>
                  <a:lnTo>
                    <a:pt x="202" y="63"/>
                  </a:lnTo>
                  <a:lnTo>
                    <a:pt x="199" y="77"/>
                  </a:lnTo>
                  <a:lnTo>
                    <a:pt x="196" y="92"/>
                  </a:lnTo>
                  <a:lnTo>
                    <a:pt x="195" y="105"/>
                  </a:lnTo>
                  <a:lnTo>
                    <a:pt x="190" y="129"/>
                  </a:lnTo>
                  <a:lnTo>
                    <a:pt x="187" y="148"/>
                  </a:lnTo>
                  <a:lnTo>
                    <a:pt x="202" y="151"/>
                  </a:lnTo>
                  <a:lnTo>
                    <a:pt x="213" y="154"/>
                  </a:lnTo>
                  <a:lnTo>
                    <a:pt x="214" y="158"/>
                  </a:lnTo>
                  <a:lnTo>
                    <a:pt x="214" y="166"/>
                  </a:lnTo>
                  <a:lnTo>
                    <a:pt x="213" y="170"/>
                  </a:lnTo>
                  <a:lnTo>
                    <a:pt x="210" y="174"/>
                  </a:lnTo>
                  <a:lnTo>
                    <a:pt x="209" y="176"/>
                  </a:lnTo>
                  <a:lnTo>
                    <a:pt x="207" y="177"/>
                  </a:lnTo>
                  <a:lnTo>
                    <a:pt x="203" y="178"/>
                  </a:lnTo>
                  <a:lnTo>
                    <a:pt x="200" y="178"/>
                  </a:lnTo>
                  <a:lnTo>
                    <a:pt x="197" y="187"/>
                  </a:lnTo>
                  <a:lnTo>
                    <a:pt x="192" y="196"/>
                  </a:lnTo>
                  <a:lnTo>
                    <a:pt x="188" y="205"/>
                  </a:lnTo>
                  <a:lnTo>
                    <a:pt x="181" y="214"/>
                  </a:lnTo>
                  <a:lnTo>
                    <a:pt x="169" y="229"/>
                  </a:lnTo>
                  <a:lnTo>
                    <a:pt x="155" y="243"/>
                  </a:lnTo>
                  <a:lnTo>
                    <a:pt x="131" y="263"/>
                  </a:lnTo>
                  <a:lnTo>
                    <a:pt x="120" y="271"/>
                  </a:lnTo>
                  <a:lnTo>
                    <a:pt x="103" y="266"/>
                  </a:lnTo>
                  <a:lnTo>
                    <a:pt x="87" y="261"/>
                  </a:lnTo>
                  <a:lnTo>
                    <a:pt x="71" y="254"/>
                  </a:lnTo>
                  <a:lnTo>
                    <a:pt x="55" y="248"/>
                  </a:lnTo>
                  <a:lnTo>
                    <a:pt x="27" y="235"/>
                  </a:lnTo>
                  <a:lnTo>
                    <a:pt x="0" y="221"/>
                  </a:lnTo>
                  <a:lnTo>
                    <a:pt x="7" y="22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22" name="Freeform 220"/>
            <p:cNvSpPr>
              <a:spLocks/>
            </p:cNvSpPr>
            <p:nvPr>
              <p:custDataLst>
                <p:tags r:id="rId148"/>
              </p:custDataLst>
            </p:nvPr>
          </p:nvSpPr>
          <p:spPr bwMode="auto">
            <a:xfrm>
              <a:off x="3884662" y="3888122"/>
              <a:ext cx="71817" cy="57351"/>
            </a:xfrm>
            <a:custGeom>
              <a:avLst/>
              <a:gdLst>
                <a:gd name="T0" fmla="*/ 60 w 153"/>
                <a:gd name="T1" fmla="*/ 0 h 80"/>
                <a:gd name="T2" fmla="*/ 83 w 153"/>
                <a:gd name="T3" fmla="*/ 14 h 80"/>
                <a:gd name="T4" fmla="*/ 104 w 153"/>
                <a:gd name="T5" fmla="*/ 24 h 80"/>
                <a:gd name="T6" fmla="*/ 115 w 153"/>
                <a:gd name="T7" fmla="*/ 28 h 80"/>
                <a:gd name="T8" fmla="*/ 126 w 153"/>
                <a:gd name="T9" fmla="*/ 31 h 80"/>
                <a:gd name="T10" fmla="*/ 133 w 153"/>
                <a:gd name="T11" fmla="*/ 32 h 80"/>
                <a:gd name="T12" fmla="*/ 139 w 153"/>
                <a:gd name="T13" fmla="*/ 32 h 80"/>
                <a:gd name="T14" fmla="*/ 146 w 153"/>
                <a:gd name="T15" fmla="*/ 31 h 80"/>
                <a:gd name="T16" fmla="*/ 153 w 153"/>
                <a:gd name="T17" fmla="*/ 30 h 80"/>
                <a:gd name="T18" fmla="*/ 153 w 153"/>
                <a:gd name="T19" fmla="*/ 56 h 80"/>
                <a:gd name="T20" fmla="*/ 149 w 153"/>
                <a:gd name="T21" fmla="*/ 60 h 80"/>
                <a:gd name="T22" fmla="*/ 145 w 153"/>
                <a:gd name="T23" fmla="*/ 65 h 80"/>
                <a:gd name="T24" fmla="*/ 138 w 153"/>
                <a:gd name="T25" fmla="*/ 69 h 80"/>
                <a:gd name="T26" fmla="*/ 132 w 153"/>
                <a:gd name="T27" fmla="*/ 72 h 80"/>
                <a:gd name="T28" fmla="*/ 125 w 153"/>
                <a:gd name="T29" fmla="*/ 75 h 80"/>
                <a:gd name="T30" fmla="*/ 119 w 153"/>
                <a:gd name="T31" fmla="*/ 78 h 80"/>
                <a:gd name="T32" fmla="*/ 112 w 153"/>
                <a:gd name="T33" fmla="*/ 79 h 80"/>
                <a:gd name="T34" fmla="*/ 106 w 153"/>
                <a:gd name="T35" fmla="*/ 80 h 80"/>
                <a:gd name="T36" fmla="*/ 90 w 153"/>
                <a:gd name="T37" fmla="*/ 74 h 80"/>
                <a:gd name="T38" fmla="*/ 76 w 153"/>
                <a:gd name="T39" fmla="*/ 71 h 80"/>
                <a:gd name="T40" fmla="*/ 63 w 153"/>
                <a:gd name="T41" fmla="*/ 69 h 80"/>
                <a:gd name="T42" fmla="*/ 50 w 153"/>
                <a:gd name="T43" fmla="*/ 69 h 80"/>
                <a:gd name="T44" fmla="*/ 39 w 153"/>
                <a:gd name="T45" fmla="*/ 68 h 80"/>
                <a:gd name="T46" fmla="*/ 27 w 153"/>
                <a:gd name="T47" fmla="*/ 67 h 80"/>
                <a:gd name="T48" fmla="*/ 14 w 153"/>
                <a:gd name="T49" fmla="*/ 65 h 80"/>
                <a:gd name="T50" fmla="*/ 0 w 153"/>
                <a:gd name="T51" fmla="*/ 62 h 80"/>
                <a:gd name="T52" fmla="*/ 7 w 153"/>
                <a:gd name="T53" fmla="*/ 58 h 80"/>
                <a:gd name="T54" fmla="*/ 23 w 153"/>
                <a:gd name="T55" fmla="*/ 45 h 80"/>
                <a:gd name="T56" fmla="*/ 34 w 153"/>
                <a:gd name="T57" fmla="*/ 37 h 80"/>
                <a:gd name="T58" fmla="*/ 45 w 153"/>
                <a:gd name="T59" fmla="*/ 28 h 80"/>
                <a:gd name="T60" fmla="*/ 56 w 153"/>
                <a:gd name="T61" fmla="*/ 17 h 80"/>
                <a:gd name="T62" fmla="*/ 67 w 153"/>
                <a:gd name="T63" fmla="*/ 6 h 80"/>
                <a:gd name="T64" fmla="*/ 60 w 153"/>
                <a:gd name="T65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3" h="80">
                  <a:moveTo>
                    <a:pt x="60" y="0"/>
                  </a:moveTo>
                  <a:lnTo>
                    <a:pt x="83" y="14"/>
                  </a:lnTo>
                  <a:lnTo>
                    <a:pt x="104" y="24"/>
                  </a:lnTo>
                  <a:lnTo>
                    <a:pt x="115" y="28"/>
                  </a:lnTo>
                  <a:lnTo>
                    <a:pt x="126" y="31"/>
                  </a:lnTo>
                  <a:lnTo>
                    <a:pt x="133" y="32"/>
                  </a:lnTo>
                  <a:lnTo>
                    <a:pt x="139" y="32"/>
                  </a:lnTo>
                  <a:lnTo>
                    <a:pt x="146" y="31"/>
                  </a:lnTo>
                  <a:lnTo>
                    <a:pt x="153" y="30"/>
                  </a:lnTo>
                  <a:lnTo>
                    <a:pt x="153" y="56"/>
                  </a:lnTo>
                  <a:lnTo>
                    <a:pt x="149" y="60"/>
                  </a:lnTo>
                  <a:lnTo>
                    <a:pt x="145" y="65"/>
                  </a:lnTo>
                  <a:lnTo>
                    <a:pt x="138" y="69"/>
                  </a:lnTo>
                  <a:lnTo>
                    <a:pt x="132" y="72"/>
                  </a:lnTo>
                  <a:lnTo>
                    <a:pt x="125" y="75"/>
                  </a:lnTo>
                  <a:lnTo>
                    <a:pt x="119" y="78"/>
                  </a:lnTo>
                  <a:lnTo>
                    <a:pt x="112" y="79"/>
                  </a:lnTo>
                  <a:lnTo>
                    <a:pt x="106" y="80"/>
                  </a:lnTo>
                  <a:lnTo>
                    <a:pt x="90" y="74"/>
                  </a:lnTo>
                  <a:lnTo>
                    <a:pt x="76" y="71"/>
                  </a:lnTo>
                  <a:lnTo>
                    <a:pt x="63" y="69"/>
                  </a:lnTo>
                  <a:lnTo>
                    <a:pt x="50" y="69"/>
                  </a:lnTo>
                  <a:lnTo>
                    <a:pt x="39" y="68"/>
                  </a:lnTo>
                  <a:lnTo>
                    <a:pt x="27" y="67"/>
                  </a:lnTo>
                  <a:lnTo>
                    <a:pt x="14" y="65"/>
                  </a:lnTo>
                  <a:lnTo>
                    <a:pt x="0" y="62"/>
                  </a:lnTo>
                  <a:lnTo>
                    <a:pt x="7" y="58"/>
                  </a:lnTo>
                  <a:lnTo>
                    <a:pt x="23" y="45"/>
                  </a:lnTo>
                  <a:lnTo>
                    <a:pt x="34" y="37"/>
                  </a:lnTo>
                  <a:lnTo>
                    <a:pt x="45" y="28"/>
                  </a:lnTo>
                  <a:lnTo>
                    <a:pt x="56" y="17"/>
                  </a:lnTo>
                  <a:lnTo>
                    <a:pt x="67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23" name="Freeform 221"/>
            <p:cNvSpPr>
              <a:spLocks/>
            </p:cNvSpPr>
            <p:nvPr>
              <p:custDataLst>
                <p:tags r:id="rId149"/>
              </p:custDataLst>
            </p:nvPr>
          </p:nvSpPr>
          <p:spPr bwMode="auto">
            <a:xfrm>
              <a:off x="3916581" y="3849326"/>
              <a:ext cx="143635" cy="87713"/>
            </a:xfrm>
            <a:custGeom>
              <a:avLst/>
              <a:gdLst>
                <a:gd name="T0" fmla="*/ 0 w 332"/>
                <a:gd name="T1" fmla="*/ 77 h 169"/>
                <a:gd name="T2" fmla="*/ 44 w 332"/>
                <a:gd name="T3" fmla="*/ 101 h 169"/>
                <a:gd name="T4" fmla="*/ 66 w 332"/>
                <a:gd name="T5" fmla="*/ 108 h 169"/>
                <a:gd name="T6" fmla="*/ 79 w 332"/>
                <a:gd name="T7" fmla="*/ 109 h 169"/>
                <a:gd name="T8" fmla="*/ 93 w 332"/>
                <a:gd name="T9" fmla="*/ 107 h 169"/>
                <a:gd name="T10" fmla="*/ 90 w 332"/>
                <a:gd name="T11" fmla="*/ 144 h 169"/>
                <a:gd name="T12" fmla="*/ 95 w 332"/>
                <a:gd name="T13" fmla="*/ 154 h 169"/>
                <a:gd name="T14" fmla="*/ 99 w 332"/>
                <a:gd name="T15" fmla="*/ 163 h 169"/>
                <a:gd name="T16" fmla="*/ 107 w 332"/>
                <a:gd name="T17" fmla="*/ 168 h 169"/>
                <a:gd name="T18" fmla="*/ 117 w 332"/>
                <a:gd name="T19" fmla="*/ 169 h 169"/>
                <a:gd name="T20" fmla="*/ 123 w 332"/>
                <a:gd name="T21" fmla="*/ 166 h 169"/>
                <a:gd name="T22" fmla="*/ 132 w 332"/>
                <a:gd name="T23" fmla="*/ 157 h 169"/>
                <a:gd name="T24" fmla="*/ 146 w 332"/>
                <a:gd name="T25" fmla="*/ 136 h 169"/>
                <a:gd name="T26" fmla="*/ 174 w 332"/>
                <a:gd name="T27" fmla="*/ 115 h 169"/>
                <a:gd name="T28" fmla="*/ 214 w 332"/>
                <a:gd name="T29" fmla="*/ 96 h 169"/>
                <a:gd name="T30" fmla="*/ 256 w 332"/>
                <a:gd name="T31" fmla="*/ 80 h 169"/>
                <a:gd name="T32" fmla="*/ 304 w 332"/>
                <a:gd name="T33" fmla="*/ 65 h 169"/>
                <a:gd name="T34" fmla="*/ 332 w 332"/>
                <a:gd name="T35" fmla="*/ 46 h 169"/>
                <a:gd name="T36" fmla="*/ 332 w 332"/>
                <a:gd name="T37" fmla="*/ 22 h 169"/>
                <a:gd name="T38" fmla="*/ 320 w 332"/>
                <a:gd name="T39" fmla="*/ 2 h 169"/>
                <a:gd name="T40" fmla="*/ 283 w 332"/>
                <a:gd name="T41" fmla="*/ 1 h 169"/>
                <a:gd name="T42" fmla="*/ 234 w 332"/>
                <a:gd name="T43" fmla="*/ 0 h 169"/>
                <a:gd name="T44" fmla="*/ 180 w 332"/>
                <a:gd name="T45" fmla="*/ 1 h 169"/>
                <a:gd name="T46" fmla="*/ 131 w 332"/>
                <a:gd name="T47" fmla="*/ 4 h 169"/>
                <a:gd name="T48" fmla="*/ 90 w 332"/>
                <a:gd name="T49" fmla="*/ 10 h 169"/>
                <a:gd name="T50" fmla="*/ 59 w 332"/>
                <a:gd name="T51" fmla="*/ 19 h 169"/>
                <a:gd name="T52" fmla="*/ 42 w 332"/>
                <a:gd name="T53" fmla="*/ 22 h 169"/>
                <a:gd name="T54" fmla="*/ 35 w 332"/>
                <a:gd name="T55" fmla="*/ 23 h 169"/>
                <a:gd name="T56" fmla="*/ 34 w 332"/>
                <a:gd name="T57" fmla="*/ 26 h 169"/>
                <a:gd name="T58" fmla="*/ 33 w 332"/>
                <a:gd name="T59" fmla="*/ 38 h 169"/>
                <a:gd name="T60" fmla="*/ 29 w 332"/>
                <a:gd name="T61" fmla="*/ 44 h 169"/>
                <a:gd name="T62" fmla="*/ 23 w 332"/>
                <a:gd name="T63" fmla="*/ 46 h 169"/>
                <a:gd name="T64" fmla="*/ 19 w 332"/>
                <a:gd name="T65" fmla="*/ 55 h 169"/>
                <a:gd name="T66" fmla="*/ 11 w 332"/>
                <a:gd name="T67" fmla="*/ 72 h 169"/>
                <a:gd name="T68" fmla="*/ 7 w 332"/>
                <a:gd name="T69" fmla="*/ 83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2" h="169">
                  <a:moveTo>
                    <a:pt x="7" y="83"/>
                  </a:moveTo>
                  <a:lnTo>
                    <a:pt x="0" y="77"/>
                  </a:lnTo>
                  <a:lnTo>
                    <a:pt x="23" y="91"/>
                  </a:lnTo>
                  <a:lnTo>
                    <a:pt x="44" y="101"/>
                  </a:lnTo>
                  <a:lnTo>
                    <a:pt x="55" y="105"/>
                  </a:lnTo>
                  <a:lnTo>
                    <a:pt x="66" y="108"/>
                  </a:lnTo>
                  <a:lnTo>
                    <a:pt x="73" y="109"/>
                  </a:lnTo>
                  <a:lnTo>
                    <a:pt x="79" y="109"/>
                  </a:lnTo>
                  <a:lnTo>
                    <a:pt x="86" y="108"/>
                  </a:lnTo>
                  <a:lnTo>
                    <a:pt x="93" y="107"/>
                  </a:lnTo>
                  <a:lnTo>
                    <a:pt x="86" y="139"/>
                  </a:lnTo>
                  <a:lnTo>
                    <a:pt x="90" y="144"/>
                  </a:lnTo>
                  <a:lnTo>
                    <a:pt x="94" y="149"/>
                  </a:lnTo>
                  <a:lnTo>
                    <a:pt x="95" y="154"/>
                  </a:lnTo>
                  <a:lnTo>
                    <a:pt x="97" y="158"/>
                  </a:lnTo>
                  <a:lnTo>
                    <a:pt x="99" y="163"/>
                  </a:lnTo>
                  <a:lnTo>
                    <a:pt x="102" y="166"/>
                  </a:lnTo>
                  <a:lnTo>
                    <a:pt x="107" y="168"/>
                  </a:lnTo>
                  <a:lnTo>
                    <a:pt x="113" y="169"/>
                  </a:lnTo>
                  <a:lnTo>
                    <a:pt x="117" y="169"/>
                  </a:lnTo>
                  <a:lnTo>
                    <a:pt x="120" y="167"/>
                  </a:lnTo>
                  <a:lnTo>
                    <a:pt x="123" y="166"/>
                  </a:lnTo>
                  <a:lnTo>
                    <a:pt x="127" y="163"/>
                  </a:lnTo>
                  <a:lnTo>
                    <a:pt x="132" y="157"/>
                  </a:lnTo>
                  <a:lnTo>
                    <a:pt x="138" y="150"/>
                  </a:lnTo>
                  <a:lnTo>
                    <a:pt x="146" y="136"/>
                  </a:lnTo>
                  <a:lnTo>
                    <a:pt x="153" y="127"/>
                  </a:lnTo>
                  <a:lnTo>
                    <a:pt x="174" y="115"/>
                  </a:lnTo>
                  <a:lnTo>
                    <a:pt x="195" y="105"/>
                  </a:lnTo>
                  <a:lnTo>
                    <a:pt x="214" y="96"/>
                  </a:lnTo>
                  <a:lnTo>
                    <a:pt x="235" y="88"/>
                  </a:lnTo>
                  <a:lnTo>
                    <a:pt x="256" y="80"/>
                  </a:lnTo>
                  <a:lnTo>
                    <a:pt x="279" y="73"/>
                  </a:lnTo>
                  <a:lnTo>
                    <a:pt x="304" y="65"/>
                  </a:lnTo>
                  <a:lnTo>
                    <a:pt x="332" y="58"/>
                  </a:lnTo>
                  <a:lnTo>
                    <a:pt x="332" y="46"/>
                  </a:lnTo>
                  <a:lnTo>
                    <a:pt x="332" y="35"/>
                  </a:lnTo>
                  <a:lnTo>
                    <a:pt x="332" y="22"/>
                  </a:lnTo>
                  <a:lnTo>
                    <a:pt x="332" y="3"/>
                  </a:lnTo>
                  <a:lnTo>
                    <a:pt x="320" y="2"/>
                  </a:lnTo>
                  <a:lnTo>
                    <a:pt x="303" y="2"/>
                  </a:lnTo>
                  <a:lnTo>
                    <a:pt x="283" y="1"/>
                  </a:lnTo>
                  <a:lnTo>
                    <a:pt x="259" y="0"/>
                  </a:lnTo>
                  <a:lnTo>
                    <a:pt x="234" y="0"/>
                  </a:lnTo>
                  <a:lnTo>
                    <a:pt x="208" y="0"/>
                  </a:lnTo>
                  <a:lnTo>
                    <a:pt x="180" y="1"/>
                  </a:lnTo>
                  <a:lnTo>
                    <a:pt x="153" y="3"/>
                  </a:lnTo>
                  <a:lnTo>
                    <a:pt x="131" y="4"/>
                  </a:lnTo>
                  <a:lnTo>
                    <a:pt x="110" y="6"/>
                  </a:lnTo>
                  <a:lnTo>
                    <a:pt x="90" y="10"/>
                  </a:lnTo>
                  <a:lnTo>
                    <a:pt x="73" y="15"/>
                  </a:lnTo>
                  <a:lnTo>
                    <a:pt x="59" y="19"/>
                  </a:lnTo>
                  <a:lnTo>
                    <a:pt x="46" y="22"/>
                  </a:lnTo>
                  <a:lnTo>
                    <a:pt x="42" y="22"/>
                  </a:lnTo>
                  <a:lnTo>
                    <a:pt x="38" y="23"/>
                  </a:lnTo>
                  <a:lnTo>
                    <a:pt x="35" y="23"/>
                  </a:lnTo>
                  <a:lnTo>
                    <a:pt x="33" y="22"/>
                  </a:lnTo>
                  <a:lnTo>
                    <a:pt x="34" y="26"/>
                  </a:lnTo>
                  <a:lnTo>
                    <a:pt x="34" y="34"/>
                  </a:lnTo>
                  <a:lnTo>
                    <a:pt x="33" y="38"/>
                  </a:lnTo>
                  <a:lnTo>
                    <a:pt x="30" y="42"/>
                  </a:lnTo>
                  <a:lnTo>
                    <a:pt x="29" y="44"/>
                  </a:lnTo>
                  <a:lnTo>
                    <a:pt x="27" y="45"/>
                  </a:lnTo>
                  <a:lnTo>
                    <a:pt x="23" y="46"/>
                  </a:lnTo>
                  <a:lnTo>
                    <a:pt x="20" y="46"/>
                  </a:lnTo>
                  <a:lnTo>
                    <a:pt x="19" y="55"/>
                  </a:lnTo>
                  <a:lnTo>
                    <a:pt x="16" y="63"/>
                  </a:lnTo>
                  <a:lnTo>
                    <a:pt x="11" y="72"/>
                  </a:lnTo>
                  <a:lnTo>
                    <a:pt x="7" y="77"/>
                  </a:lnTo>
                  <a:lnTo>
                    <a:pt x="7" y="83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24" name="Freeform 222"/>
            <p:cNvSpPr>
              <a:spLocks/>
            </p:cNvSpPr>
            <p:nvPr>
              <p:custDataLst>
                <p:tags r:id="rId150"/>
              </p:custDataLst>
            </p:nvPr>
          </p:nvSpPr>
          <p:spPr bwMode="auto">
            <a:xfrm>
              <a:off x="3934136" y="3879689"/>
              <a:ext cx="126080" cy="123136"/>
            </a:xfrm>
            <a:custGeom>
              <a:avLst/>
              <a:gdLst>
                <a:gd name="T0" fmla="*/ 44 w 286"/>
                <a:gd name="T1" fmla="*/ 86 h 235"/>
                <a:gd name="T2" fmla="*/ 49 w 286"/>
                <a:gd name="T3" fmla="*/ 96 h 235"/>
                <a:gd name="T4" fmla="*/ 53 w 286"/>
                <a:gd name="T5" fmla="*/ 105 h 235"/>
                <a:gd name="T6" fmla="*/ 61 w 286"/>
                <a:gd name="T7" fmla="*/ 110 h 235"/>
                <a:gd name="T8" fmla="*/ 71 w 286"/>
                <a:gd name="T9" fmla="*/ 111 h 235"/>
                <a:gd name="T10" fmla="*/ 77 w 286"/>
                <a:gd name="T11" fmla="*/ 108 h 235"/>
                <a:gd name="T12" fmla="*/ 86 w 286"/>
                <a:gd name="T13" fmla="*/ 99 h 235"/>
                <a:gd name="T14" fmla="*/ 100 w 286"/>
                <a:gd name="T15" fmla="*/ 78 h 235"/>
                <a:gd name="T16" fmla="*/ 128 w 286"/>
                <a:gd name="T17" fmla="*/ 57 h 235"/>
                <a:gd name="T18" fmla="*/ 168 w 286"/>
                <a:gd name="T19" fmla="*/ 38 h 235"/>
                <a:gd name="T20" fmla="*/ 210 w 286"/>
                <a:gd name="T21" fmla="*/ 22 h 235"/>
                <a:gd name="T22" fmla="*/ 258 w 286"/>
                <a:gd name="T23" fmla="*/ 7 h 235"/>
                <a:gd name="T24" fmla="*/ 286 w 286"/>
                <a:gd name="T25" fmla="*/ 11 h 235"/>
                <a:gd name="T26" fmla="*/ 282 w 286"/>
                <a:gd name="T27" fmla="*/ 32 h 235"/>
                <a:gd name="T28" fmla="*/ 272 w 286"/>
                <a:gd name="T29" fmla="*/ 70 h 235"/>
                <a:gd name="T30" fmla="*/ 254 w 286"/>
                <a:gd name="T31" fmla="*/ 128 h 235"/>
                <a:gd name="T32" fmla="*/ 244 w 286"/>
                <a:gd name="T33" fmla="*/ 174 h 235"/>
                <a:gd name="T34" fmla="*/ 240 w 286"/>
                <a:gd name="T35" fmla="*/ 206 h 235"/>
                <a:gd name="T36" fmla="*/ 146 w 286"/>
                <a:gd name="T37" fmla="*/ 216 h 235"/>
                <a:gd name="T38" fmla="*/ 138 w 286"/>
                <a:gd name="T39" fmla="*/ 218 h 235"/>
                <a:gd name="T40" fmla="*/ 132 w 286"/>
                <a:gd name="T41" fmla="*/ 223 h 235"/>
                <a:gd name="T42" fmla="*/ 127 w 286"/>
                <a:gd name="T43" fmla="*/ 235 h 235"/>
                <a:gd name="T44" fmla="*/ 109 w 286"/>
                <a:gd name="T45" fmla="*/ 217 h 235"/>
                <a:gd name="T46" fmla="*/ 94 w 286"/>
                <a:gd name="T47" fmla="*/ 199 h 235"/>
                <a:gd name="T48" fmla="*/ 69 w 286"/>
                <a:gd name="T49" fmla="*/ 160 h 235"/>
                <a:gd name="T50" fmla="*/ 55 w 286"/>
                <a:gd name="T51" fmla="*/ 142 h 235"/>
                <a:gd name="T52" fmla="*/ 41 w 286"/>
                <a:gd name="T53" fmla="*/ 125 h 235"/>
                <a:gd name="T54" fmla="*/ 22 w 286"/>
                <a:gd name="T55" fmla="*/ 110 h 235"/>
                <a:gd name="T56" fmla="*/ 0 w 286"/>
                <a:gd name="T57" fmla="*/ 99 h 235"/>
                <a:gd name="T58" fmla="*/ 13 w 286"/>
                <a:gd name="T59" fmla="*/ 97 h 235"/>
                <a:gd name="T60" fmla="*/ 26 w 286"/>
                <a:gd name="T61" fmla="*/ 91 h 235"/>
                <a:gd name="T62" fmla="*/ 39 w 286"/>
                <a:gd name="T63" fmla="*/ 84 h 235"/>
                <a:gd name="T64" fmla="*/ 47 w 286"/>
                <a:gd name="T65" fmla="*/ 7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35">
                  <a:moveTo>
                    <a:pt x="40" y="81"/>
                  </a:moveTo>
                  <a:lnTo>
                    <a:pt x="44" y="86"/>
                  </a:lnTo>
                  <a:lnTo>
                    <a:pt x="48" y="91"/>
                  </a:lnTo>
                  <a:lnTo>
                    <a:pt x="49" y="96"/>
                  </a:lnTo>
                  <a:lnTo>
                    <a:pt x="51" y="100"/>
                  </a:lnTo>
                  <a:lnTo>
                    <a:pt x="53" y="105"/>
                  </a:lnTo>
                  <a:lnTo>
                    <a:pt x="56" y="108"/>
                  </a:lnTo>
                  <a:lnTo>
                    <a:pt x="61" y="110"/>
                  </a:lnTo>
                  <a:lnTo>
                    <a:pt x="67" y="111"/>
                  </a:lnTo>
                  <a:lnTo>
                    <a:pt x="71" y="111"/>
                  </a:lnTo>
                  <a:lnTo>
                    <a:pt x="74" y="109"/>
                  </a:lnTo>
                  <a:lnTo>
                    <a:pt x="77" y="108"/>
                  </a:lnTo>
                  <a:lnTo>
                    <a:pt x="81" y="105"/>
                  </a:lnTo>
                  <a:lnTo>
                    <a:pt x="86" y="99"/>
                  </a:lnTo>
                  <a:lnTo>
                    <a:pt x="92" y="92"/>
                  </a:lnTo>
                  <a:lnTo>
                    <a:pt x="100" y="78"/>
                  </a:lnTo>
                  <a:lnTo>
                    <a:pt x="107" y="69"/>
                  </a:lnTo>
                  <a:lnTo>
                    <a:pt x="128" y="57"/>
                  </a:lnTo>
                  <a:lnTo>
                    <a:pt x="149" y="47"/>
                  </a:lnTo>
                  <a:lnTo>
                    <a:pt x="168" y="38"/>
                  </a:lnTo>
                  <a:lnTo>
                    <a:pt x="189" y="30"/>
                  </a:lnTo>
                  <a:lnTo>
                    <a:pt x="210" y="22"/>
                  </a:lnTo>
                  <a:lnTo>
                    <a:pt x="233" y="15"/>
                  </a:lnTo>
                  <a:lnTo>
                    <a:pt x="258" y="7"/>
                  </a:lnTo>
                  <a:lnTo>
                    <a:pt x="286" y="0"/>
                  </a:lnTo>
                  <a:lnTo>
                    <a:pt x="286" y="11"/>
                  </a:lnTo>
                  <a:lnTo>
                    <a:pt x="284" y="21"/>
                  </a:lnTo>
                  <a:lnTo>
                    <a:pt x="282" y="32"/>
                  </a:lnTo>
                  <a:lnTo>
                    <a:pt x="279" y="44"/>
                  </a:lnTo>
                  <a:lnTo>
                    <a:pt x="272" y="70"/>
                  </a:lnTo>
                  <a:lnTo>
                    <a:pt x="263" y="97"/>
                  </a:lnTo>
                  <a:lnTo>
                    <a:pt x="254" y="128"/>
                  </a:lnTo>
                  <a:lnTo>
                    <a:pt x="246" y="158"/>
                  </a:lnTo>
                  <a:lnTo>
                    <a:pt x="244" y="174"/>
                  </a:lnTo>
                  <a:lnTo>
                    <a:pt x="242" y="190"/>
                  </a:lnTo>
                  <a:lnTo>
                    <a:pt x="240" y="206"/>
                  </a:lnTo>
                  <a:lnTo>
                    <a:pt x="240" y="222"/>
                  </a:lnTo>
                  <a:lnTo>
                    <a:pt x="146" y="216"/>
                  </a:lnTo>
                  <a:lnTo>
                    <a:pt x="142" y="216"/>
                  </a:lnTo>
                  <a:lnTo>
                    <a:pt x="138" y="218"/>
                  </a:lnTo>
                  <a:lnTo>
                    <a:pt x="134" y="220"/>
                  </a:lnTo>
                  <a:lnTo>
                    <a:pt x="132" y="223"/>
                  </a:lnTo>
                  <a:lnTo>
                    <a:pt x="128" y="229"/>
                  </a:lnTo>
                  <a:lnTo>
                    <a:pt x="127" y="235"/>
                  </a:lnTo>
                  <a:lnTo>
                    <a:pt x="117" y="226"/>
                  </a:lnTo>
                  <a:lnTo>
                    <a:pt x="109" y="217"/>
                  </a:lnTo>
                  <a:lnTo>
                    <a:pt x="101" y="208"/>
                  </a:lnTo>
                  <a:lnTo>
                    <a:pt x="94" y="199"/>
                  </a:lnTo>
                  <a:lnTo>
                    <a:pt x="81" y="180"/>
                  </a:lnTo>
                  <a:lnTo>
                    <a:pt x="69" y="160"/>
                  </a:lnTo>
                  <a:lnTo>
                    <a:pt x="62" y="150"/>
                  </a:lnTo>
                  <a:lnTo>
                    <a:pt x="55" y="142"/>
                  </a:lnTo>
                  <a:lnTo>
                    <a:pt x="49" y="133"/>
                  </a:lnTo>
                  <a:lnTo>
                    <a:pt x="41" y="125"/>
                  </a:lnTo>
                  <a:lnTo>
                    <a:pt x="32" y="117"/>
                  </a:lnTo>
                  <a:lnTo>
                    <a:pt x="22" y="110"/>
                  </a:lnTo>
                  <a:lnTo>
                    <a:pt x="13" y="104"/>
                  </a:lnTo>
                  <a:lnTo>
                    <a:pt x="0" y="99"/>
                  </a:lnTo>
                  <a:lnTo>
                    <a:pt x="6" y="98"/>
                  </a:lnTo>
                  <a:lnTo>
                    <a:pt x="13" y="97"/>
                  </a:lnTo>
                  <a:lnTo>
                    <a:pt x="19" y="94"/>
                  </a:lnTo>
                  <a:lnTo>
                    <a:pt x="26" y="91"/>
                  </a:lnTo>
                  <a:lnTo>
                    <a:pt x="32" y="88"/>
                  </a:lnTo>
                  <a:lnTo>
                    <a:pt x="39" y="84"/>
                  </a:lnTo>
                  <a:lnTo>
                    <a:pt x="43" y="79"/>
                  </a:lnTo>
                  <a:lnTo>
                    <a:pt x="47" y="75"/>
                  </a:lnTo>
                  <a:lnTo>
                    <a:pt x="40" y="81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66" name="Freeform 223"/>
            <p:cNvSpPr>
              <a:spLocks/>
            </p:cNvSpPr>
            <p:nvPr>
              <p:custDataLst>
                <p:tags r:id="rId151"/>
              </p:custDataLst>
            </p:nvPr>
          </p:nvSpPr>
          <p:spPr bwMode="auto">
            <a:xfrm>
              <a:off x="3985257" y="3993002"/>
              <a:ext cx="84137" cy="100012"/>
            </a:xfrm>
            <a:custGeom>
              <a:avLst/>
              <a:gdLst>
                <a:gd name="T0" fmla="*/ 2147483647 w 205"/>
                <a:gd name="T1" fmla="*/ 2147483647 h 191"/>
                <a:gd name="T2" fmla="*/ 2147483647 w 205"/>
                <a:gd name="T3" fmla="*/ 2147483647 h 191"/>
                <a:gd name="T4" fmla="*/ 2147483647 w 205"/>
                <a:gd name="T5" fmla="*/ 2147483647 h 191"/>
                <a:gd name="T6" fmla="*/ 2147483647 w 205"/>
                <a:gd name="T7" fmla="*/ 2147483647 h 191"/>
                <a:gd name="T8" fmla="*/ 2147483647 w 205"/>
                <a:gd name="T9" fmla="*/ 2147483647 h 191"/>
                <a:gd name="T10" fmla="*/ 2147483647 w 205"/>
                <a:gd name="T11" fmla="*/ 2147483647 h 191"/>
                <a:gd name="T12" fmla="*/ 2147483647 w 205"/>
                <a:gd name="T13" fmla="*/ 2147483647 h 191"/>
                <a:gd name="T14" fmla="*/ 2147483647 w 205"/>
                <a:gd name="T15" fmla="*/ 2147483647 h 191"/>
                <a:gd name="T16" fmla="*/ 2147483647 w 205"/>
                <a:gd name="T17" fmla="*/ 2147483647 h 191"/>
                <a:gd name="T18" fmla="*/ 2147483647 w 205"/>
                <a:gd name="T19" fmla="*/ 2147483647 h 191"/>
                <a:gd name="T20" fmla="*/ 2147483647 w 205"/>
                <a:gd name="T21" fmla="*/ 2147483647 h 191"/>
                <a:gd name="T22" fmla="*/ 2147483647 w 205"/>
                <a:gd name="T23" fmla="*/ 2147483647 h 191"/>
                <a:gd name="T24" fmla="*/ 2147483647 w 205"/>
                <a:gd name="T25" fmla="*/ 2147483647 h 191"/>
                <a:gd name="T26" fmla="*/ 2147483647 w 205"/>
                <a:gd name="T27" fmla="*/ 2147483647 h 191"/>
                <a:gd name="T28" fmla="*/ 2147483647 w 205"/>
                <a:gd name="T29" fmla="*/ 2147483647 h 191"/>
                <a:gd name="T30" fmla="*/ 2147483647 w 205"/>
                <a:gd name="T31" fmla="*/ 2147483647 h 191"/>
                <a:gd name="T32" fmla="*/ 2147483647 w 205"/>
                <a:gd name="T33" fmla="*/ 2147483647 h 191"/>
                <a:gd name="T34" fmla="*/ 2147483647 w 205"/>
                <a:gd name="T35" fmla="*/ 2147483647 h 191"/>
                <a:gd name="T36" fmla="*/ 2147483647 w 205"/>
                <a:gd name="T37" fmla="*/ 2147483647 h 191"/>
                <a:gd name="T38" fmla="*/ 2147483647 w 205"/>
                <a:gd name="T39" fmla="*/ 2147483647 h 191"/>
                <a:gd name="T40" fmla="*/ 2147483647 w 205"/>
                <a:gd name="T41" fmla="*/ 2147483647 h 191"/>
                <a:gd name="T42" fmla="*/ 2147483647 w 205"/>
                <a:gd name="T43" fmla="*/ 2147483647 h 191"/>
                <a:gd name="T44" fmla="*/ 2147483647 w 205"/>
                <a:gd name="T45" fmla="*/ 2147483647 h 191"/>
                <a:gd name="T46" fmla="*/ 0 w 205"/>
                <a:gd name="T47" fmla="*/ 2147483647 h 191"/>
                <a:gd name="T48" fmla="*/ 0 w 205"/>
                <a:gd name="T49" fmla="*/ 2147483647 h 191"/>
                <a:gd name="T50" fmla="*/ 2147483647 w 205"/>
                <a:gd name="T51" fmla="*/ 2147483647 h 191"/>
                <a:gd name="T52" fmla="*/ 2147483647 w 205"/>
                <a:gd name="T53" fmla="*/ 2147483647 h 191"/>
                <a:gd name="T54" fmla="*/ 2147483647 w 205"/>
                <a:gd name="T55" fmla="*/ 2147483647 h 191"/>
                <a:gd name="T56" fmla="*/ 2147483647 w 205"/>
                <a:gd name="T57" fmla="*/ 2147483647 h 191"/>
                <a:gd name="T58" fmla="*/ 2147483647 w 205"/>
                <a:gd name="T59" fmla="*/ 0 h 191"/>
                <a:gd name="T60" fmla="*/ 2147483647 w 205"/>
                <a:gd name="T61" fmla="*/ 2147483647 h 191"/>
                <a:gd name="T62" fmla="*/ 2147483647 w 205"/>
                <a:gd name="T63" fmla="*/ 2147483647 h 191"/>
                <a:gd name="T64" fmla="*/ 2147483647 w 205"/>
                <a:gd name="T65" fmla="*/ 2147483647 h 191"/>
                <a:gd name="T66" fmla="*/ 2147483647 w 205"/>
                <a:gd name="T67" fmla="*/ 2147483647 h 191"/>
                <a:gd name="T68" fmla="*/ 2147483647 w 205"/>
                <a:gd name="T69" fmla="*/ 2147483647 h 191"/>
                <a:gd name="T70" fmla="*/ 2147483647 w 205"/>
                <a:gd name="T71" fmla="*/ 2147483647 h 191"/>
                <a:gd name="T72" fmla="*/ 2147483647 w 205"/>
                <a:gd name="T73" fmla="*/ 2147483647 h 191"/>
                <a:gd name="T74" fmla="*/ 2147483647 w 205"/>
                <a:gd name="T75" fmla="*/ 2147483647 h 191"/>
                <a:gd name="T76" fmla="*/ 2147483647 w 205"/>
                <a:gd name="T77" fmla="*/ 2147483647 h 191"/>
                <a:gd name="T78" fmla="*/ 2147483647 w 205"/>
                <a:gd name="T79" fmla="*/ 2147483647 h 191"/>
                <a:gd name="T80" fmla="*/ 2147483647 w 205"/>
                <a:gd name="T81" fmla="*/ 2147483647 h 19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5" h="191">
                  <a:moveTo>
                    <a:pt x="205" y="185"/>
                  </a:moveTo>
                  <a:lnTo>
                    <a:pt x="188" y="185"/>
                  </a:lnTo>
                  <a:lnTo>
                    <a:pt x="181" y="185"/>
                  </a:lnTo>
                  <a:lnTo>
                    <a:pt x="175" y="185"/>
                  </a:lnTo>
                  <a:lnTo>
                    <a:pt x="165" y="185"/>
                  </a:lnTo>
                  <a:lnTo>
                    <a:pt x="158" y="185"/>
                  </a:lnTo>
                  <a:lnTo>
                    <a:pt x="151" y="182"/>
                  </a:lnTo>
                  <a:lnTo>
                    <a:pt x="144" y="180"/>
                  </a:lnTo>
                  <a:lnTo>
                    <a:pt x="140" y="177"/>
                  </a:lnTo>
                  <a:lnTo>
                    <a:pt x="136" y="173"/>
                  </a:lnTo>
                  <a:lnTo>
                    <a:pt x="132" y="168"/>
                  </a:lnTo>
                  <a:lnTo>
                    <a:pt x="129" y="163"/>
                  </a:lnTo>
                  <a:lnTo>
                    <a:pt x="127" y="158"/>
                  </a:lnTo>
                  <a:lnTo>
                    <a:pt x="120" y="147"/>
                  </a:lnTo>
                  <a:lnTo>
                    <a:pt x="114" y="136"/>
                  </a:lnTo>
                  <a:lnTo>
                    <a:pt x="110" y="131"/>
                  </a:lnTo>
                  <a:lnTo>
                    <a:pt x="105" y="125"/>
                  </a:lnTo>
                  <a:lnTo>
                    <a:pt x="99" y="121"/>
                  </a:lnTo>
                  <a:lnTo>
                    <a:pt x="93" y="117"/>
                  </a:lnTo>
                  <a:lnTo>
                    <a:pt x="93" y="126"/>
                  </a:lnTo>
                  <a:lnTo>
                    <a:pt x="93" y="136"/>
                  </a:lnTo>
                  <a:lnTo>
                    <a:pt x="90" y="135"/>
                  </a:lnTo>
                  <a:lnTo>
                    <a:pt x="86" y="133"/>
                  </a:lnTo>
                  <a:lnTo>
                    <a:pt x="84" y="130"/>
                  </a:lnTo>
                  <a:lnTo>
                    <a:pt x="80" y="124"/>
                  </a:lnTo>
                  <a:lnTo>
                    <a:pt x="72" y="113"/>
                  </a:lnTo>
                  <a:lnTo>
                    <a:pt x="64" y="100"/>
                  </a:lnTo>
                  <a:lnTo>
                    <a:pt x="56" y="87"/>
                  </a:lnTo>
                  <a:lnTo>
                    <a:pt x="46" y="74"/>
                  </a:lnTo>
                  <a:lnTo>
                    <a:pt x="41" y="67"/>
                  </a:lnTo>
                  <a:lnTo>
                    <a:pt x="36" y="62"/>
                  </a:lnTo>
                  <a:lnTo>
                    <a:pt x="31" y="58"/>
                  </a:lnTo>
                  <a:lnTo>
                    <a:pt x="26" y="55"/>
                  </a:lnTo>
                  <a:lnTo>
                    <a:pt x="26" y="60"/>
                  </a:lnTo>
                  <a:lnTo>
                    <a:pt x="27" y="64"/>
                  </a:lnTo>
                  <a:lnTo>
                    <a:pt x="29" y="69"/>
                  </a:lnTo>
                  <a:lnTo>
                    <a:pt x="31" y="74"/>
                  </a:lnTo>
                  <a:lnTo>
                    <a:pt x="34" y="78"/>
                  </a:lnTo>
                  <a:lnTo>
                    <a:pt x="37" y="81"/>
                  </a:lnTo>
                  <a:lnTo>
                    <a:pt x="41" y="84"/>
                  </a:lnTo>
                  <a:lnTo>
                    <a:pt x="46" y="87"/>
                  </a:lnTo>
                  <a:lnTo>
                    <a:pt x="46" y="105"/>
                  </a:lnTo>
                  <a:lnTo>
                    <a:pt x="19" y="105"/>
                  </a:lnTo>
                  <a:lnTo>
                    <a:pt x="13" y="98"/>
                  </a:lnTo>
                  <a:lnTo>
                    <a:pt x="8" y="91"/>
                  </a:lnTo>
                  <a:lnTo>
                    <a:pt x="4" y="84"/>
                  </a:lnTo>
                  <a:lnTo>
                    <a:pt x="2" y="77"/>
                  </a:lnTo>
                  <a:lnTo>
                    <a:pt x="0" y="60"/>
                  </a:lnTo>
                  <a:lnTo>
                    <a:pt x="0" y="43"/>
                  </a:lnTo>
                  <a:lnTo>
                    <a:pt x="0" y="38"/>
                  </a:lnTo>
                  <a:lnTo>
                    <a:pt x="1" y="31"/>
                  </a:lnTo>
                  <a:lnTo>
                    <a:pt x="3" y="28"/>
                  </a:lnTo>
                  <a:lnTo>
                    <a:pt x="5" y="25"/>
                  </a:lnTo>
                  <a:lnTo>
                    <a:pt x="8" y="22"/>
                  </a:lnTo>
                  <a:lnTo>
                    <a:pt x="13" y="19"/>
                  </a:lnTo>
                  <a:lnTo>
                    <a:pt x="14" y="13"/>
                  </a:lnTo>
                  <a:lnTo>
                    <a:pt x="18" y="7"/>
                  </a:lnTo>
                  <a:lnTo>
                    <a:pt x="20" y="4"/>
                  </a:lnTo>
                  <a:lnTo>
                    <a:pt x="24" y="2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126" y="6"/>
                  </a:lnTo>
                  <a:lnTo>
                    <a:pt x="126" y="13"/>
                  </a:lnTo>
                  <a:lnTo>
                    <a:pt x="127" y="21"/>
                  </a:lnTo>
                  <a:lnTo>
                    <a:pt x="128" y="29"/>
                  </a:lnTo>
                  <a:lnTo>
                    <a:pt x="130" y="37"/>
                  </a:lnTo>
                  <a:lnTo>
                    <a:pt x="136" y="53"/>
                  </a:lnTo>
                  <a:lnTo>
                    <a:pt x="143" y="70"/>
                  </a:lnTo>
                  <a:lnTo>
                    <a:pt x="153" y="87"/>
                  </a:lnTo>
                  <a:lnTo>
                    <a:pt x="165" y="102"/>
                  </a:lnTo>
                  <a:lnTo>
                    <a:pt x="171" y="110"/>
                  </a:lnTo>
                  <a:lnTo>
                    <a:pt x="177" y="117"/>
                  </a:lnTo>
                  <a:lnTo>
                    <a:pt x="185" y="123"/>
                  </a:lnTo>
                  <a:lnTo>
                    <a:pt x="192" y="130"/>
                  </a:lnTo>
                  <a:lnTo>
                    <a:pt x="191" y="137"/>
                  </a:lnTo>
                  <a:lnTo>
                    <a:pt x="189" y="143"/>
                  </a:lnTo>
                  <a:lnTo>
                    <a:pt x="189" y="149"/>
                  </a:lnTo>
                  <a:lnTo>
                    <a:pt x="189" y="156"/>
                  </a:lnTo>
                  <a:lnTo>
                    <a:pt x="192" y="171"/>
                  </a:lnTo>
                  <a:lnTo>
                    <a:pt x="192" y="191"/>
                  </a:lnTo>
                  <a:lnTo>
                    <a:pt x="192" y="185"/>
                  </a:lnTo>
                  <a:lnTo>
                    <a:pt x="205" y="185"/>
                  </a:lnTo>
                </a:path>
              </a:pathLst>
            </a:custGeom>
            <a:solidFill>
              <a:srgbClr val="19194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67" name="Freeform 224"/>
            <p:cNvSpPr>
              <a:spLocks/>
            </p:cNvSpPr>
            <p:nvPr>
              <p:custDataLst>
                <p:tags r:id="rId152"/>
              </p:custDataLst>
            </p:nvPr>
          </p:nvSpPr>
          <p:spPr bwMode="auto">
            <a:xfrm>
              <a:off x="4066219" y="4046977"/>
              <a:ext cx="142875" cy="79375"/>
            </a:xfrm>
            <a:custGeom>
              <a:avLst/>
              <a:gdLst>
                <a:gd name="T0" fmla="*/ 2147483647 w 329"/>
                <a:gd name="T1" fmla="*/ 2147483647 h 154"/>
                <a:gd name="T2" fmla="*/ 0 w 329"/>
                <a:gd name="T3" fmla="*/ 2147483647 h 154"/>
                <a:gd name="T4" fmla="*/ 2147483647 w 329"/>
                <a:gd name="T5" fmla="*/ 2147483647 h 154"/>
                <a:gd name="T6" fmla="*/ 2147483647 w 329"/>
                <a:gd name="T7" fmla="*/ 2147483647 h 154"/>
                <a:gd name="T8" fmla="*/ 2147483647 w 329"/>
                <a:gd name="T9" fmla="*/ 2147483647 h 154"/>
                <a:gd name="T10" fmla="*/ 2147483647 w 329"/>
                <a:gd name="T11" fmla="*/ 2147483647 h 154"/>
                <a:gd name="T12" fmla="*/ 2147483647 w 329"/>
                <a:gd name="T13" fmla="*/ 2147483647 h 154"/>
                <a:gd name="T14" fmla="*/ 2147483647 w 329"/>
                <a:gd name="T15" fmla="*/ 2147483647 h 154"/>
                <a:gd name="T16" fmla="*/ 2147483647 w 329"/>
                <a:gd name="T17" fmla="*/ 2147483647 h 154"/>
                <a:gd name="T18" fmla="*/ 2147483647 w 329"/>
                <a:gd name="T19" fmla="*/ 2147483647 h 154"/>
                <a:gd name="T20" fmla="*/ 2147483647 w 329"/>
                <a:gd name="T21" fmla="*/ 2147483647 h 154"/>
                <a:gd name="T22" fmla="*/ 2147483647 w 329"/>
                <a:gd name="T23" fmla="*/ 0 h 154"/>
                <a:gd name="T24" fmla="*/ 2147483647 w 329"/>
                <a:gd name="T25" fmla="*/ 0 h 154"/>
                <a:gd name="T26" fmla="*/ 2147483647 w 329"/>
                <a:gd name="T27" fmla="*/ 2147483647 h 154"/>
                <a:gd name="T28" fmla="*/ 2147483647 w 329"/>
                <a:gd name="T29" fmla="*/ 2147483647 h 154"/>
                <a:gd name="T30" fmla="*/ 2147483647 w 329"/>
                <a:gd name="T31" fmla="*/ 2147483647 h 154"/>
                <a:gd name="T32" fmla="*/ 2147483647 w 329"/>
                <a:gd name="T33" fmla="*/ 2147483647 h 154"/>
                <a:gd name="T34" fmla="*/ 2147483647 w 329"/>
                <a:gd name="T35" fmla="*/ 2147483647 h 154"/>
                <a:gd name="T36" fmla="*/ 2147483647 w 329"/>
                <a:gd name="T37" fmla="*/ 2147483647 h 154"/>
                <a:gd name="T38" fmla="*/ 2147483647 w 329"/>
                <a:gd name="T39" fmla="*/ 2147483647 h 154"/>
                <a:gd name="T40" fmla="*/ 2147483647 w 329"/>
                <a:gd name="T41" fmla="*/ 2147483647 h 154"/>
                <a:gd name="T42" fmla="*/ 2147483647 w 329"/>
                <a:gd name="T43" fmla="*/ 2147483647 h 154"/>
                <a:gd name="T44" fmla="*/ 2147483647 w 329"/>
                <a:gd name="T45" fmla="*/ 2147483647 h 154"/>
                <a:gd name="T46" fmla="*/ 2147483647 w 329"/>
                <a:gd name="T47" fmla="*/ 2147483647 h 154"/>
                <a:gd name="T48" fmla="*/ 2147483647 w 329"/>
                <a:gd name="T49" fmla="*/ 2147483647 h 154"/>
                <a:gd name="T50" fmla="*/ 2147483647 w 329"/>
                <a:gd name="T51" fmla="*/ 2147483647 h 154"/>
                <a:gd name="T52" fmla="*/ 2147483647 w 329"/>
                <a:gd name="T53" fmla="*/ 2147483647 h 154"/>
                <a:gd name="T54" fmla="*/ 2147483647 w 329"/>
                <a:gd name="T55" fmla="*/ 2147483647 h 154"/>
                <a:gd name="T56" fmla="*/ 2147483647 w 329"/>
                <a:gd name="T57" fmla="*/ 2147483647 h 154"/>
                <a:gd name="T58" fmla="*/ 2147483647 w 329"/>
                <a:gd name="T59" fmla="*/ 2147483647 h 154"/>
                <a:gd name="T60" fmla="*/ 2147483647 w 329"/>
                <a:gd name="T61" fmla="*/ 2147483647 h 154"/>
                <a:gd name="T62" fmla="*/ 2147483647 w 329"/>
                <a:gd name="T63" fmla="*/ 2147483647 h 154"/>
                <a:gd name="T64" fmla="*/ 2147483647 w 329"/>
                <a:gd name="T65" fmla="*/ 2147483647 h 154"/>
                <a:gd name="T66" fmla="*/ 2147483647 w 329"/>
                <a:gd name="T67" fmla="*/ 2147483647 h 154"/>
                <a:gd name="T68" fmla="*/ 2147483647 w 329"/>
                <a:gd name="T69" fmla="*/ 2147483647 h 154"/>
                <a:gd name="T70" fmla="*/ 2147483647 w 329"/>
                <a:gd name="T71" fmla="*/ 2147483647 h 154"/>
                <a:gd name="T72" fmla="*/ 2147483647 w 329"/>
                <a:gd name="T73" fmla="*/ 2147483647 h 154"/>
                <a:gd name="T74" fmla="*/ 2147483647 w 329"/>
                <a:gd name="T75" fmla="*/ 2147483647 h 154"/>
                <a:gd name="T76" fmla="*/ 2147483647 w 329"/>
                <a:gd name="T77" fmla="*/ 2147483647 h 154"/>
                <a:gd name="T78" fmla="*/ 2147483647 w 329"/>
                <a:gd name="T79" fmla="*/ 2147483647 h 154"/>
                <a:gd name="T80" fmla="*/ 2147483647 w 329"/>
                <a:gd name="T81" fmla="*/ 2147483647 h 154"/>
                <a:gd name="T82" fmla="*/ 2147483647 w 329"/>
                <a:gd name="T83" fmla="*/ 2147483647 h 154"/>
                <a:gd name="T84" fmla="*/ 2147483647 w 329"/>
                <a:gd name="T85" fmla="*/ 2147483647 h 154"/>
                <a:gd name="T86" fmla="*/ 2147483647 w 329"/>
                <a:gd name="T87" fmla="*/ 2147483647 h 154"/>
                <a:gd name="T88" fmla="*/ 2147483647 w 329"/>
                <a:gd name="T89" fmla="*/ 2147483647 h 154"/>
                <a:gd name="T90" fmla="*/ 2147483647 w 329"/>
                <a:gd name="T91" fmla="*/ 2147483647 h 154"/>
                <a:gd name="T92" fmla="*/ 2147483647 w 329"/>
                <a:gd name="T93" fmla="*/ 2147483647 h 154"/>
                <a:gd name="T94" fmla="*/ 2147483647 w 329"/>
                <a:gd name="T95" fmla="*/ 2147483647 h 154"/>
                <a:gd name="T96" fmla="*/ 2147483647 w 329"/>
                <a:gd name="T97" fmla="*/ 2147483647 h 15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29" h="154">
                  <a:moveTo>
                    <a:pt x="3" y="73"/>
                  </a:moveTo>
                  <a:lnTo>
                    <a:pt x="3" y="58"/>
                  </a:lnTo>
                  <a:lnTo>
                    <a:pt x="0" y="47"/>
                  </a:lnTo>
                  <a:lnTo>
                    <a:pt x="0" y="42"/>
                  </a:lnTo>
                  <a:lnTo>
                    <a:pt x="0" y="37"/>
                  </a:lnTo>
                  <a:lnTo>
                    <a:pt x="2" y="31"/>
                  </a:lnTo>
                  <a:lnTo>
                    <a:pt x="3" y="25"/>
                  </a:lnTo>
                  <a:lnTo>
                    <a:pt x="17" y="33"/>
                  </a:lnTo>
                  <a:lnTo>
                    <a:pt x="30" y="39"/>
                  </a:lnTo>
                  <a:lnTo>
                    <a:pt x="36" y="41"/>
                  </a:lnTo>
                  <a:lnTo>
                    <a:pt x="42" y="42"/>
                  </a:lnTo>
                  <a:lnTo>
                    <a:pt x="49" y="43"/>
                  </a:lnTo>
                  <a:lnTo>
                    <a:pt x="56" y="43"/>
                  </a:lnTo>
                  <a:lnTo>
                    <a:pt x="67" y="43"/>
                  </a:lnTo>
                  <a:lnTo>
                    <a:pt x="77" y="41"/>
                  </a:lnTo>
                  <a:lnTo>
                    <a:pt x="86" y="39"/>
                  </a:lnTo>
                  <a:lnTo>
                    <a:pt x="95" y="36"/>
                  </a:lnTo>
                  <a:lnTo>
                    <a:pt x="110" y="30"/>
                  </a:lnTo>
                  <a:lnTo>
                    <a:pt x="126" y="21"/>
                  </a:lnTo>
                  <a:lnTo>
                    <a:pt x="140" y="13"/>
                  </a:lnTo>
                  <a:lnTo>
                    <a:pt x="154" y="6"/>
                  </a:lnTo>
                  <a:lnTo>
                    <a:pt x="162" y="4"/>
                  </a:lnTo>
                  <a:lnTo>
                    <a:pt x="171" y="2"/>
                  </a:lnTo>
                  <a:lnTo>
                    <a:pt x="179" y="0"/>
                  </a:lnTo>
                  <a:lnTo>
                    <a:pt x="189" y="0"/>
                  </a:lnTo>
                  <a:lnTo>
                    <a:pt x="203" y="0"/>
                  </a:lnTo>
                  <a:lnTo>
                    <a:pt x="214" y="3"/>
                  </a:lnTo>
                  <a:lnTo>
                    <a:pt x="224" y="6"/>
                  </a:lnTo>
                  <a:lnTo>
                    <a:pt x="234" y="10"/>
                  </a:lnTo>
                  <a:lnTo>
                    <a:pt x="243" y="15"/>
                  </a:lnTo>
                  <a:lnTo>
                    <a:pt x="251" y="21"/>
                  </a:lnTo>
                  <a:lnTo>
                    <a:pt x="259" y="28"/>
                  </a:lnTo>
                  <a:lnTo>
                    <a:pt x="266" y="34"/>
                  </a:lnTo>
                  <a:lnTo>
                    <a:pt x="280" y="46"/>
                  </a:lnTo>
                  <a:lnTo>
                    <a:pt x="295" y="57"/>
                  </a:lnTo>
                  <a:lnTo>
                    <a:pt x="302" y="61"/>
                  </a:lnTo>
                  <a:lnTo>
                    <a:pt x="310" y="64"/>
                  </a:lnTo>
                  <a:lnTo>
                    <a:pt x="319" y="67"/>
                  </a:lnTo>
                  <a:lnTo>
                    <a:pt x="329" y="67"/>
                  </a:lnTo>
                  <a:lnTo>
                    <a:pt x="313" y="82"/>
                  </a:lnTo>
                  <a:lnTo>
                    <a:pt x="301" y="94"/>
                  </a:lnTo>
                  <a:lnTo>
                    <a:pt x="293" y="106"/>
                  </a:lnTo>
                  <a:lnTo>
                    <a:pt x="286" y="117"/>
                  </a:lnTo>
                  <a:lnTo>
                    <a:pt x="277" y="138"/>
                  </a:lnTo>
                  <a:lnTo>
                    <a:pt x="268" y="154"/>
                  </a:lnTo>
                  <a:lnTo>
                    <a:pt x="265" y="153"/>
                  </a:lnTo>
                  <a:lnTo>
                    <a:pt x="260" y="150"/>
                  </a:lnTo>
                  <a:lnTo>
                    <a:pt x="253" y="146"/>
                  </a:lnTo>
                  <a:lnTo>
                    <a:pt x="246" y="141"/>
                  </a:lnTo>
                  <a:lnTo>
                    <a:pt x="240" y="136"/>
                  </a:lnTo>
                  <a:lnTo>
                    <a:pt x="234" y="130"/>
                  </a:lnTo>
                  <a:lnTo>
                    <a:pt x="230" y="126"/>
                  </a:lnTo>
                  <a:lnTo>
                    <a:pt x="229" y="123"/>
                  </a:lnTo>
                  <a:lnTo>
                    <a:pt x="230" y="114"/>
                  </a:lnTo>
                  <a:lnTo>
                    <a:pt x="232" y="107"/>
                  </a:lnTo>
                  <a:lnTo>
                    <a:pt x="235" y="100"/>
                  </a:lnTo>
                  <a:lnTo>
                    <a:pt x="240" y="95"/>
                  </a:lnTo>
                  <a:lnTo>
                    <a:pt x="249" y="86"/>
                  </a:lnTo>
                  <a:lnTo>
                    <a:pt x="255" y="80"/>
                  </a:lnTo>
                  <a:lnTo>
                    <a:pt x="233" y="68"/>
                  </a:lnTo>
                  <a:lnTo>
                    <a:pt x="215" y="60"/>
                  </a:lnTo>
                  <a:lnTo>
                    <a:pt x="207" y="55"/>
                  </a:lnTo>
                  <a:lnTo>
                    <a:pt x="200" y="49"/>
                  </a:lnTo>
                  <a:lnTo>
                    <a:pt x="195" y="41"/>
                  </a:lnTo>
                  <a:lnTo>
                    <a:pt x="189" y="31"/>
                  </a:lnTo>
                  <a:lnTo>
                    <a:pt x="179" y="34"/>
                  </a:lnTo>
                  <a:lnTo>
                    <a:pt x="171" y="37"/>
                  </a:lnTo>
                  <a:lnTo>
                    <a:pt x="163" y="41"/>
                  </a:lnTo>
                  <a:lnTo>
                    <a:pt x="156" y="45"/>
                  </a:lnTo>
                  <a:lnTo>
                    <a:pt x="150" y="50"/>
                  </a:lnTo>
                  <a:lnTo>
                    <a:pt x="144" y="55"/>
                  </a:lnTo>
                  <a:lnTo>
                    <a:pt x="140" y="61"/>
                  </a:lnTo>
                  <a:lnTo>
                    <a:pt x="136" y="67"/>
                  </a:lnTo>
                  <a:lnTo>
                    <a:pt x="132" y="74"/>
                  </a:lnTo>
                  <a:lnTo>
                    <a:pt x="130" y="81"/>
                  </a:lnTo>
                  <a:lnTo>
                    <a:pt x="128" y="88"/>
                  </a:lnTo>
                  <a:lnTo>
                    <a:pt x="126" y="95"/>
                  </a:lnTo>
                  <a:lnTo>
                    <a:pt x="123" y="109"/>
                  </a:lnTo>
                  <a:lnTo>
                    <a:pt x="122" y="123"/>
                  </a:lnTo>
                  <a:lnTo>
                    <a:pt x="122" y="125"/>
                  </a:lnTo>
                  <a:lnTo>
                    <a:pt x="120" y="127"/>
                  </a:lnTo>
                  <a:lnTo>
                    <a:pt x="118" y="129"/>
                  </a:lnTo>
                  <a:lnTo>
                    <a:pt x="115" y="131"/>
                  </a:lnTo>
                  <a:lnTo>
                    <a:pt x="108" y="135"/>
                  </a:lnTo>
                  <a:lnTo>
                    <a:pt x="103" y="136"/>
                  </a:lnTo>
                  <a:lnTo>
                    <a:pt x="96" y="135"/>
                  </a:lnTo>
                  <a:lnTo>
                    <a:pt x="89" y="132"/>
                  </a:lnTo>
                  <a:lnTo>
                    <a:pt x="83" y="129"/>
                  </a:lnTo>
                  <a:lnTo>
                    <a:pt x="77" y="125"/>
                  </a:lnTo>
                  <a:lnTo>
                    <a:pt x="66" y="116"/>
                  </a:lnTo>
                  <a:lnTo>
                    <a:pt x="58" y="105"/>
                  </a:lnTo>
                  <a:lnTo>
                    <a:pt x="48" y="94"/>
                  </a:lnTo>
                  <a:lnTo>
                    <a:pt x="38" y="84"/>
                  </a:lnTo>
                  <a:lnTo>
                    <a:pt x="33" y="80"/>
                  </a:lnTo>
                  <a:lnTo>
                    <a:pt x="28" y="76"/>
                  </a:lnTo>
                  <a:lnTo>
                    <a:pt x="22" y="74"/>
                  </a:lnTo>
                  <a:lnTo>
                    <a:pt x="16" y="73"/>
                  </a:lnTo>
                  <a:lnTo>
                    <a:pt x="3" y="73"/>
                  </a:lnTo>
                </a:path>
              </a:pathLst>
            </a:custGeom>
            <a:solidFill>
              <a:srgbClr val="19194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227" name="Freeform 225"/>
            <p:cNvSpPr>
              <a:spLocks/>
            </p:cNvSpPr>
            <p:nvPr>
              <p:custDataLst>
                <p:tags r:id="rId153"/>
              </p:custDataLst>
            </p:nvPr>
          </p:nvSpPr>
          <p:spPr bwMode="auto">
            <a:xfrm>
              <a:off x="4746472" y="5301658"/>
              <a:ext cx="134059" cy="155185"/>
            </a:xfrm>
            <a:custGeom>
              <a:avLst/>
              <a:gdLst>
                <a:gd name="T0" fmla="*/ 297 w 306"/>
                <a:gd name="T1" fmla="*/ 181 h 293"/>
                <a:gd name="T2" fmla="*/ 296 w 306"/>
                <a:gd name="T3" fmla="*/ 185 h 293"/>
                <a:gd name="T4" fmla="*/ 291 w 306"/>
                <a:gd name="T5" fmla="*/ 194 h 293"/>
                <a:gd name="T6" fmla="*/ 282 w 306"/>
                <a:gd name="T7" fmla="*/ 199 h 293"/>
                <a:gd name="T8" fmla="*/ 272 w 306"/>
                <a:gd name="T9" fmla="*/ 201 h 293"/>
                <a:gd name="T10" fmla="*/ 263 w 306"/>
                <a:gd name="T11" fmla="*/ 207 h 293"/>
                <a:gd name="T12" fmla="*/ 253 w 306"/>
                <a:gd name="T13" fmla="*/ 229 h 293"/>
                <a:gd name="T14" fmla="*/ 242 w 306"/>
                <a:gd name="T15" fmla="*/ 254 h 293"/>
                <a:gd name="T16" fmla="*/ 231 w 306"/>
                <a:gd name="T17" fmla="*/ 267 h 293"/>
                <a:gd name="T18" fmla="*/ 221 w 306"/>
                <a:gd name="T19" fmla="*/ 273 h 293"/>
                <a:gd name="T20" fmla="*/ 200 w 306"/>
                <a:gd name="T21" fmla="*/ 281 h 293"/>
                <a:gd name="T22" fmla="*/ 164 w 306"/>
                <a:gd name="T23" fmla="*/ 290 h 293"/>
                <a:gd name="T24" fmla="*/ 139 w 306"/>
                <a:gd name="T25" fmla="*/ 293 h 293"/>
                <a:gd name="T26" fmla="*/ 123 w 306"/>
                <a:gd name="T27" fmla="*/ 293 h 293"/>
                <a:gd name="T28" fmla="*/ 106 w 306"/>
                <a:gd name="T29" fmla="*/ 290 h 293"/>
                <a:gd name="T30" fmla="*/ 92 w 306"/>
                <a:gd name="T31" fmla="*/ 286 h 293"/>
                <a:gd name="T32" fmla="*/ 80 w 306"/>
                <a:gd name="T33" fmla="*/ 278 h 293"/>
                <a:gd name="T34" fmla="*/ 71 w 306"/>
                <a:gd name="T35" fmla="*/ 268 h 293"/>
                <a:gd name="T36" fmla="*/ 1 w 306"/>
                <a:gd name="T37" fmla="*/ 236 h 293"/>
                <a:gd name="T38" fmla="*/ 0 w 306"/>
                <a:gd name="T39" fmla="*/ 88 h 293"/>
                <a:gd name="T40" fmla="*/ 1 w 306"/>
                <a:gd name="T41" fmla="*/ 49 h 293"/>
                <a:gd name="T42" fmla="*/ 4 w 306"/>
                <a:gd name="T43" fmla="*/ 35 h 293"/>
                <a:gd name="T44" fmla="*/ 11 w 306"/>
                <a:gd name="T45" fmla="*/ 21 h 293"/>
                <a:gd name="T46" fmla="*/ 20 w 306"/>
                <a:gd name="T47" fmla="*/ 8 h 293"/>
                <a:gd name="T48" fmla="*/ 41 w 306"/>
                <a:gd name="T49" fmla="*/ 2 h 293"/>
                <a:gd name="T50" fmla="*/ 53 w 306"/>
                <a:gd name="T51" fmla="*/ 0 h 293"/>
                <a:gd name="T52" fmla="*/ 72 w 306"/>
                <a:gd name="T53" fmla="*/ 6 h 293"/>
                <a:gd name="T54" fmla="*/ 80 w 306"/>
                <a:gd name="T55" fmla="*/ 7 h 293"/>
                <a:gd name="T56" fmla="*/ 84 w 306"/>
                <a:gd name="T57" fmla="*/ 4 h 293"/>
                <a:gd name="T58" fmla="*/ 87 w 306"/>
                <a:gd name="T59" fmla="*/ 5 h 293"/>
                <a:gd name="T60" fmla="*/ 90 w 306"/>
                <a:gd name="T61" fmla="*/ 11 h 293"/>
                <a:gd name="T62" fmla="*/ 99 w 306"/>
                <a:gd name="T63" fmla="*/ 19 h 293"/>
                <a:gd name="T64" fmla="*/ 121 w 306"/>
                <a:gd name="T65" fmla="*/ 31 h 293"/>
                <a:gd name="T66" fmla="*/ 148 w 306"/>
                <a:gd name="T67" fmla="*/ 41 h 293"/>
                <a:gd name="T68" fmla="*/ 182 w 306"/>
                <a:gd name="T69" fmla="*/ 59 h 293"/>
                <a:gd name="T70" fmla="*/ 210 w 306"/>
                <a:gd name="T71" fmla="*/ 79 h 293"/>
                <a:gd name="T72" fmla="*/ 241 w 306"/>
                <a:gd name="T73" fmla="*/ 102 h 293"/>
                <a:gd name="T74" fmla="*/ 261 w 306"/>
                <a:gd name="T75" fmla="*/ 117 h 293"/>
                <a:gd name="T76" fmla="*/ 266 w 306"/>
                <a:gd name="T77" fmla="*/ 124 h 293"/>
                <a:gd name="T78" fmla="*/ 280 w 306"/>
                <a:gd name="T79" fmla="*/ 135 h 293"/>
                <a:gd name="T80" fmla="*/ 299 w 306"/>
                <a:gd name="T81" fmla="*/ 151 h 293"/>
                <a:gd name="T82" fmla="*/ 306 w 306"/>
                <a:gd name="T83" fmla="*/ 161 h 293"/>
                <a:gd name="T84" fmla="*/ 304 w 306"/>
                <a:gd name="T85" fmla="*/ 166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06" h="293">
                  <a:moveTo>
                    <a:pt x="300" y="169"/>
                  </a:moveTo>
                  <a:lnTo>
                    <a:pt x="297" y="181"/>
                  </a:lnTo>
                  <a:lnTo>
                    <a:pt x="297" y="185"/>
                  </a:lnTo>
                  <a:lnTo>
                    <a:pt x="296" y="185"/>
                  </a:lnTo>
                  <a:lnTo>
                    <a:pt x="294" y="187"/>
                  </a:lnTo>
                  <a:lnTo>
                    <a:pt x="291" y="194"/>
                  </a:lnTo>
                  <a:lnTo>
                    <a:pt x="286" y="197"/>
                  </a:lnTo>
                  <a:lnTo>
                    <a:pt x="282" y="199"/>
                  </a:lnTo>
                  <a:lnTo>
                    <a:pt x="276" y="200"/>
                  </a:lnTo>
                  <a:lnTo>
                    <a:pt x="272" y="201"/>
                  </a:lnTo>
                  <a:lnTo>
                    <a:pt x="267" y="203"/>
                  </a:lnTo>
                  <a:lnTo>
                    <a:pt x="263" y="207"/>
                  </a:lnTo>
                  <a:lnTo>
                    <a:pt x="260" y="212"/>
                  </a:lnTo>
                  <a:lnTo>
                    <a:pt x="253" y="229"/>
                  </a:lnTo>
                  <a:lnTo>
                    <a:pt x="248" y="242"/>
                  </a:lnTo>
                  <a:lnTo>
                    <a:pt x="242" y="254"/>
                  </a:lnTo>
                  <a:lnTo>
                    <a:pt x="236" y="263"/>
                  </a:lnTo>
                  <a:lnTo>
                    <a:pt x="231" y="267"/>
                  </a:lnTo>
                  <a:lnTo>
                    <a:pt x="227" y="270"/>
                  </a:lnTo>
                  <a:lnTo>
                    <a:pt x="221" y="273"/>
                  </a:lnTo>
                  <a:lnTo>
                    <a:pt x="215" y="276"/>
                  </a:lnTo>
                  <a:lnTo>
                    <a:pt x="200" y="281"/>
                  </a:lnTo>
                  <a:lnTo>
                    <a:pt x="181" y="286"/>
                  </a:lnTo>
                  <a:lnTo>
                    <a:pt x="164" y="290"/>
                  </a:lnTo>
                  <a:lnTo>
                    <a:pt x="148" y="292"/>
                  </a:lnTo>
                  <a:lnTo>
                    <a:pt x="139" y="293"/>
                  </a:lnTo>
                  <a:lnTo>
                    <a:pt x="130" y="293"/>
                  </a:lnTo>
                  <a:lnTo>
                    <a:pt x="123" y="293"/>
                  </a:lnTo>
                  <a:lnTo>
                    <a:pt x="114" y="292"/>
                  </a:lnTo>
                  <a:lnTo>
                    <a:pt x="106" y="290"/>
                  </a:lnTo>
                  <a:lnTo>
                    <a:pt x="98" y="288"/>
                  </a:lnTo>
                  <a:lnTo>
                    <a:pt x="92" y="286"/>
                  </a:lnTo>
                  <a:lnTo>
                    <a:pt x="85" y="282"/>
                  </a:lnTo>
                  <a:lnTo>
                    <a:pt x="80" y="278"/>
                  </a:lnTo>
                  <a:lnTo>
                    <a:pt x="74" y="274"/>
                  </a:lnTo>
                  <a:lnTo>
                    <a:pt x="71" y="268"/>
                  </a:lnTo>
                  <a:lnTo>
                    <a:pt x="68" y="262"/>
                  </a:lnTo>
                  <a:lnTo>
                    <a:pt x="1" y="236"/>
                  </a:lnTo>
                  <a:lnTo>
                    <a:pt x="1" y="119"/>
                  </a:lnTo>
                  <a:lnTo>
                    <a:pt x="0" y="88"/>
                  </a:lnTo>
                  <a:lnTo>
                    <a:pt x="0" y="56"/>
                  </a:lnTo>
                  <a:lnTo>
                    <a:pt x="1" y="49"/>
                  </a:lnTo>
                  <a:lnTo>
                    <a:pt x="2" y="42"/>
                  </a:lnTo>
                  <a:lnTo>
                    <a:pt x="4" y="35"/>
                  </a:lnTo>
                  <a:lnTo>
                    <a:pt x="6" y="28"/>
                  </a:lnTo>
                  <a:lnTo>
                    <a:pt x="11" y="21"/>
                  </a:lnTo>
                  <a:lnTo>
                    <a:pt x="15" y="14"/>
                  </a:lnTo>
                  <a:lnTo>
                    <a:pt x="20" y="8"/>
                  </a:lnTo>
                  <a:lnTo>
                    <a:pt x="28" y="2"/>
                  </a:lnTo>
                  <a:lnTo>
                    <a:pt x="41" y="2"/>
                  </a:lnTo>
                  <a:lnTo>
                    <a:pt x="48" y="0"/>
                  </a:lnTo>
                  <a:lnTo>
                    <a:pt x="53" y="0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6" y="7"/>
                  </a:lnTo>
                  <a:lnTo>
                    <a:pt x="80" y="7"/>
                  </a:lnTo>
                  <a:lnTo>
                    <a:pt x="82" y="6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7" y="5"/>
                  </a:lnTo>
                  <a:lnTo>
                    <a:pt x="87" y="9"/>
                  </a:lnTo>
                  <a:lnTo>
                    <a:pt x="90" y="11"/>
                  </a:lnTo>
                  <a:lnTo>
                    <a:pt x="94" y="15"/>
                  </a:lnTo>
                  <a:lnTo>
                    <a:pt x="99" y="19"/>
                  </a:lnTo>
                  <a:lnTo>
                    <a:pt x="107" y="23"/>
                  </a:lnTo>
                  <a:lnTo>
                    <a:pt x="121" y="31"/>
                  </a:lnTo>
                  <a:lnTo>
                    <a:pt x="127" y="34"/>
                  </a:lnTo>
                  <a:lnTo>
                    <a:pt x="148" y="41"/>
                  </a:lnTo>
                  <a:lnTo>
                    <a:pt x="165" y="49"/>
                  </a:lnTo>
                  <a:lnTo>
                    <a:pt x="182" y="59"/>
                  </a:lnTo>
                  <a:lnTo>
                    <a:pt x="196" y="69"/>
                  </a:lnTo>
                  <a:lnTo>
                    <a:pt x="210" y="79"/>
                  </a:lnTo>
                  <a:lnTo>
                    <a:pt x="226" y="91"/>
                  </a:lnTo>
                  <a:lnTo>
                    <a:pt x="241" y="102"/>
                  </a:lnTo>
                  <a:lnTo>
                    <a:pt x="260" y="113"/>
                  </a:lnTo>
                  <a:lnTo>
                    <a:pt x="261" y="117"/>
                  </a:lnTo>
                  <a:lnTo>
                    <a:pt x="263" y="120"/>
                  </a:lnTo>
                  <a:lnTo>
                    <a:pt x="266" y="124"/>
                  </a:lnTo>
                  <a:lnTo>
                    <a:pt x="270" y="128"/>
                  </a:lnTo>
                  <a:lnTo>
                    <a:pt x="280" y="135"/>
                  </a:lnTo>
                  <a:lnTo>
                    <a:pt x="291" y="144"/>
                  </a:lnTo>
                  <a:lnTo>
                    <a:pt x="299" y="151"/>
                  </a:lnTo>
                  <a:lnTo>
                    <a:pt x="305" y="158"/>
                  </a:lnTo>
                  <a:lnTo>
                    <a:pt x="306" y="161"/>
                  </a:lnTo>
                  <a:lnTo>
                    <a:pt x="306" y="164"/>
                  </a:lnTo>
                  <a:lnTo>
                    <a:pt x="304" y="166"/>
                  </a:lnTo>
                  <a:lnTo>
                    <a:pt x="300" y="1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69" name="Freeform 226"/>
            <p:cNvSpPr>
              <a:spLocks/>
            </p:cNvSpPr>
            <p:nvPr>
              <p:custDataLst>
                <p:tags r:id="rId154"/>
              </p:custDataLst>
            </p:nvPr>
          </p:nvSpPr>
          <p:spPr bwMode="auto">
            <a:xfrm>
              <a:off x="6293482" y="1918139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70" name="Freeform 227"/>
            <p:cNvSpPr>
              <a:spLocks/>
            </p:cNvSpPr>
            <p:nvPr>
              <p:custDataLst>
                <p:tags r:id="rId155"/>
              </p:custDataLst>
            </p:nvPr>
          </p:nvSpPr>
          <p:spPr bwMode="auto">
            <a:xfrm>
              <a:off x="6220457" y="2148327"/>
              <a:ext cx="449262" cy="361950"/>
            </a:xfrm>
            <a:custGeom>
              <a:avLst/>
              <a:gdLst>
                <a:gd name="T0" fmla="*/ 2147483647 w 1037"/>
                <a:gd name="T1" fmla="*/ 2147483647 h 690"/>
                <a:gd name="T2" fmla="*/ 2147483647 w 1037"/>
                <a:gd name="T3" fmla="*/ 2147483647 h 690"/>
                <a:gd name="T4" fmla="*/ 2147483647 w 1037"/>
                <a:gd name="T5" fmla="*/ 2147483647 h 690"/>
                <a:gd name="T6" fmla="*/ 2147483647 w 1037"/>
                <a:gd name="T7" fmla="*/ 2147483647 h 690"/>
                <a:gd name="T8" fmla="*/ 2147483647 w 1037"/>
                <a:gd name="T9" fmla="*/ 2147483647 h 690"/>
                <a:gd name="T10" fmla="*/ 2147483647 w 1037"/>
                <a:gd name="T11" fmla="*/ 2147483647 h 690"/>
                <a:gd name="T12" fmla="*/ 2147483647 w 1037"/>
                <a:gd name="T13" fmla="*/ 2147483647 h 690"/>
                <a:gd name="T14" fmla="*/ 2147483647 w 1037"/>
                <a:gd name="T15" fmla="*/ 2147483647 h 690"/>
                <a:gd name="T16" fmla="*/ 2147483647 w 1037"/>
                <a:gd name="T17" fmla="*/ 2147483647 h 690"/>
                <a:gd name="T18" fmla="*/ 0 w 1037"/>
                <a:gd name="T19" fmla="*/ 2147483647 h 690"/>
                <a:gd name="T20" fmla="*/ 2147483647 w 1037"/>
                <a:gd name="T21" fmla="*/ 2147483647 h 690"/>
                <a:gd name="T22" fmla="*/ 2147483647 w 1037"/>
                <a:gd name="T23" fmla="*/ 2147483647 h 690"/>
                <a:gd name="T24" fmla="*/ 2147483647 w 1037"/>
                <a:gd name="T25" fmla="*/ 2147483647 h 690"/>
                <a:gd name="T26" fmla="*/ 2147483647 w 1037"/>
                <a:gd name="T27" fmla="*/ 2147483647 h 690"/>
                <a:gd name="T28" fmla="*/ 2147483647 w 1037"/>
                <a:gd name="T29" fmla="*/ 2147483647 h 690"/>
                <a:gd name="T30" fmla="*/ 2147483647 w 1037"/>
                <a:gd name="T31" fmla="*/ 2147483647 h 690"/>
                <a:gd name="T32" fmla="*/ 2147483647 w 1037"/>
                <a:gd name="T33" fmla="*/ 2147483647 h 690"/>
                <a:gd name="T34" fmla="*/ 2147483647 w 1037"/>
                <a:gd name="T35" fmla="*/ 2147483647 h 690"/>
                <a:gd name="T36" fmla="*/ 2147483647 w 1037"/>
                <a:gd name="T37" fmla="*/ 2147483647 h 690"/>
                <a:gd name="T38" fmla="*/ 2147483647 w 1037"/>
                <a:gd name="T39" fmla="*/ 2147483647 h 690"/>
                <a:gd name="T40" fmla="*/ 2147483647 w 1037"/>
                <a:gd name="T41" fmla="*/ 2147483647 h 690"/>
                <a:gd name="T42" fmla="*/ 2147483647 w 1037"/>
                <a:gd name="T43" fmla="*/ 2147483647 h 690"/>
                <a:gd name="T44" fmla="*/ 2147483647 w 1037"/>
                <a:gd name="T45" fmla="*/ 2147483647 h 690"/>
                <a:gd name="T46" fmla="*/ 2147483647 w 1037"/>
                <a:gd name="T47" fmla="*/ 2147483647 h 690"/>
                <a:gd name="T48" fmla="*/ 2147483647 w 1037"/>
                <a:gd name="T49" fmla="*/ 2147483647 h 690"/>
                <a:gd name="T50" fmla="*/ 2147483647 w 1037"/>
                <a:gd name="T51" fmla="*/ 2147483647 h 690"/>
                <a:gd name="T52" fmla="*/ 2147483647 w 1037"/>
                <a:gd name="T53" fmla="*/ 2147483647 h 690"/>
                <a:gd name="T54" fmla="*/ 2147483647 w 1037"/>
                <a:gd name="T55" fmla="*/ 2147483647 h 690"/>
                <a:gd name="T56" fmla="*/ 2147483647 w 1037"/>
                <a:gd name="T57" fmla="*/ 2147483647 h 690"/>
                <a:gd name="T58" fmla="*/ 2147483647 w 1037"/>
                <a:gd name="T59" fmla="*/ 2147483647 h 690"/>
                <a:gd name="T60" fmla="*/ 2147483647 w 1037"/>
                <a:gd name="T61" fmla="*/ 2147483647 h 690"/>
                <a:gd name="T62" fmla="*/ 2147483647 w 1037"/>
                <a:gd name="T63" fmla="*/ 2147483647 h 690"/>
                <a:gd name="T64" fmla="*/ 2147483647 w 1037"/>
                <a:gd name="T65" fmla="*/ 2147483647 h 690"/>
                <a:gd name="T66" fmla="*/ 2147483647 w 1037"/>
                <a:gd name="T67" fmla="*/ 2147483647 h 690"/>
                <a:gd name="T68" fmla="*/ 2147483647 w 1037"/>
                <a:gd name="T69" fmla="*/ 2147483647 h 690"/>
                <a:gd name="T70" fmla="*/ 2147483647 w 1037"/>
                <a:gd name="T71" fmla="*/ 2147483647 h 690"/>
                <a:gd name="T72" fmla="*/ 2147483647 w 1037"/>
                <a:gd name="T73" fmla="*/ 2147483647 h 690"/>
                <a:gd name="T74" fmla="*/ 2147483647 w 1037"/>
                <a:gd name="T75" fmla="*/ 2147483647 h 690"/>
                <a:gd name="T76" fmla="*/ 2147483647 w 1037"/>
                <a:gd name="T77" fmla="*/ 2147483647 h 690"/>
                <a:gd name="T78" fmla="*/ 2147483647 w 1037"/>
                <a:gd name="T79" fmla="*/ 2147483647 h 690"/>
                <a:gd name="T80" fmla="*/ 2147483647 w 1037"/>
                <a:gd name="T81" fmla="*/ 2147483647 h 690"/>
                <a:gd name="T82" fmla="*/ 2147483647 w 1037"/>
                <a:gd name="T83" fmla="*/ 2147483647 h 690"/>
                <a:gd name="T84" fmla="*/ 2147483647 w 1037"/>
                <a:gd name="T85" fmla="*/ 2147483647 h 690"/>
                <a:gd name="T86" fmla="*/ 2147483647 w 1037"/>
                <a:gd name="T87" fmla="*/ 2147483647 h 690"/>
                <a:gd name="T88" fmla="*/ 2147483647 w 1037"/>
                <a:gd name="T89" fmla="*/ 2147483647 h 690"/>
                <a:gd name="T90" fmla="*/ 2147483647 w 1037"/>
                <a:gd name="T91" fmla="*/ 2147483647 h 690"/>
                <a:gd name="T92" fmla="*/ 2147483647 w 1037"/>
                <a:gd name="T93" fmla="*/ 2147483647 h 690"/>
                <a:gd name="T94" fmla="*/ 2147483647 w 1037"/>
                <a:gd name="T95" fmla="*/ 2147483647 h 690"/>
                <a:gd name="T96" fmla="*/ 2147483647 w 1037"/>
                <a:gd name="T97" fmla="*/ 2147483647 h 690"/>
                <a:gd name="T98" fmla="*/ 2147483647 w 1037"/>
                <a:gd name="T99" fmla="*/ 2147483647 h 690"/>
                <a:gd name="T100" fmla="*/ 2147483647 w 1037"/>
                <a:gd name="T101" fmla="*/ 2147483647 h 690"/>
                <a:gd name="T102" fmla="*/ 2147483647 w 1037"/>
                <a:gd name="T103" fmla="*/ 2147483647 h 690"/>
                <a:gd name="T104" fmla="*/ 2147483647 w 1037"/>
                <a:gd name="T105" fmla="*/ 2147483647 h 690"/>
                <a:gd name="T106" fmla="*/ 2147483647 w 1037"/>
                <a:gd name="T107" fmla="*/ 2147483647 h 690"/>
                <a:gd name="T108" fmla="*/ 2147483647 w 1037"/>
                <a:gd name="T109" fmla="*/ 2147483647 h 690"/>
                <a:gd name="T110" fmla="*/ 2147483647 w 1037"/>
                <a:gd name="T111" fmla="*/ 2147483647 h 690"/>
                <a:gd name="T112" fmla="*/ 2147483647 w 1037"/>
                <a:gd name="T113" fmla="*/ 2147483647 h 690"/>
                <a:gd name="T114" fmla="*/ 2147483647 w 1037"/>
                <a:gd name="T115" fmla="*/ 2147483647 h 690"/>
                <a:gd name="T116" fmla="*/ 2147483647 w 1037"/>
                <a:gd name="T117" fmla="*/ 2147483647 h 690"/>
                <a:gd name="T118" fmla="*/ 2147483647 w 1037"/>
                <a:gd name="T119" fmla="*/ 2147483647 h 69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037" h="690">
                  <a:moveTo>
                    <a:pt x="286" y="647"/>
                  </a:moveTo>
                  <a:lnTo>
                    <a:pt x="273" y="631"/>
                  </a:lnTo>
                  <a:lnTo>
                    <a:pt x="262" y="621"/>
                  </a:lnTo>
                  <a:lnTo>
                    <a:pt x="253" y="612"/>
                  </a:lnTo>
                  <a:lnTo>
                    <a:pt x="246" y="604"/>
                  </a:lnTo>
                  <a:lnTo>
                    <a:pt x="243" y="613"/>
                  </a:lnTo>
                  <a:lnTo>
                    <a:pt x="240" y="622"/>
                  </a:lnTo>
                  <a:lnTo>
                    <a:pt x="239" y="627"/>
                  </a:lnTo>
                  <a:lnTo>
                    <a:pt x="235" y="632"/>
                  </a:lnTo>
                  <a:lnTo>
                    <a:pt x="231" y="638"/>
                  </a:lnTo>
                  <a:lnTo>
                    <a:pt x="224" y="644"/>
                  </a:lnTo>
                  <a:lnTo>
                    <a:pt x="208" y="655"/>
                  </a:lnTo>
                  <a:lnTo>
                    <a:pt x="190" y="665"/>
                  </a:lnTo>
                  <a:lnTo>
                    <a:pt x="155" y="683"/>
                  </a:lnTo>
                  <a:lnTo>
                    <a:pt x="140" y="690"/>
                  </a:lnTo>
                  <a:lnTo>
                    <a:pt x="107" y="690"/>
                  </a:lnTo>
                  <a:lnTo>
                    <a:pt x="86" y="683"/>
                  </a:lnTo>
                  <a:lnTo>
                    <a:pt x="60" y="672"/>
                  </a:lnTo>
                  <a:lnTo>
                    <a:pt x="48" y="666"/>
                  </a:lnTo>
                  <a:lnTo>
                    <a:pt x="37" y="658"/>
                  </a:lnTo>
                  <a:lnTo>
                    <a:pt x="32" y="654"/>
                  </a:lnTo>
                  <a:lnTo>
                    <a:pt x="30" y="650"/>
                  </a:lnTo>
                  <a:lnTo>
                    <a:pt x="28" y="646"/>
                  </a:lnTo>
                  <a:lnTo>
                    <a:pt x="27" y="641"/>
                  </a:lnTo>
                  <a:lnTo>
                    <a:pt x="40" y="641"/>
                  </a:lnTo>
                  <a:lnTo>
                    <a:pt x="50" y="640"/>
                  </a:lnTo>
                  <a:lnTo>
                    <a:pt x="58" y="639"/>
                  </a:lnTo>
                  <a:lnTo>
                    <a:pt x="67" y="634"/>
                  </a:lnTo>
                  <a:lnTo>
                    <a:pt x="59" y="627"/>
                  </a:lnTo>
                  <a:lnTo>
                    <a:pt x="49" y="620"/>
                  </a:lnTo>
                  <a:lnTo>
                    <a:pt x="38" y="613"/>
                  </a:lnTo>
                  <a:lnTo>
                    <a:pt x="27" y="606"/>
                  </a:lnTo>
                  <a:lnTo>
                    <a:pt x="8" y="596"/>
                  </a:lnTo>
                  <a:lnTo>
                    <a:pt x="0" y="592"/>
                  </a:lnTo>
                  <a:lnTo>
                    <a:pt x="18" y="596"/>
                  </a:lnTo>
                  <a:lnTo>
                    <a:pt x="32" y="599"/>
                  </a:lnTo>
                  <a:lnTo>
                    <a:pt x="38" y="600"/>
                  </a:lnTo>
                  <a:lnTo>
                    <a:pt x="43" y="600"/>
                  </a:lnTo>
                  <a:lnTo>
                    <a:pt x="49" y="600"/>
                  </a:lnTo>
                  <a:lnTo>
                    <a:pt x="54" y="598"/>
                  </a:lnTo>
                  <a:lnTo>
                    <a:pt x="49" y="597"/>
                  </a:lnTo>
                  <a:lnTo>
                    <a:pt x="44" y="595"/>
                  </a:lnTo>
                  <a:lnTo>
                    <a:pt x="40" y="591"/>
                  </a:lnTo>
                  <a:lnTo>
                    <a:pt x="36" y="587"/>
                  </a:lnTo>
                  <a:lnTo>
                    <a:pt x="32" y="583"/>
                  </a:lnTo>
                  <a:lnTo>
                    <a:pt x="29" y="576"/>
                  </a:lnTo>
                  <a:lnTo>
                    <a:pt x="28" y="571"/>
                  </a:lnTo>
                  <a:lnTo>
                    <a:pt x="27" y="567"/>
                  </a:lnTo>
                  <a:lnTo>
                    <a:pt x="67" y="567"/>
                  </a:lnTo>
                  <a:lnTo>
                    <a:pt x="56" y="566"/>
                  </a:lnTo>
                  <a:lnTo>
                    <a:pt x="45" y="564"/>
                  </a:lnTo>
                  <a:lnTo>
                    <a:pt x="35" y="562"/>
                  </a:lnTo>
                  <a:lnTo>
                    <a:pt x="25" y="558"/>
                  </a:lnTo>
                  <a:lnTo>
                    <a:pt x="16" y="554"/>
                  </a:lnTo>
                  <a:lnTo>
                    <a:pt x="10" y="549"/>
                  </a:lnTo>
                  <a:lnTo>
                    <a:pt x="8" y="546"/>
                  </a:lnTo>
                  <a:lnTo>
                    <a:pt x="7" y="543"/>
                  </a:lnTo>
                  <a:lnTo>
                    <a:pt x="7" y="540"/>
                  </a:lnTo>
                  <a:lnTo>
                    <a:pt x="7" y="536"/>
                  </a:lnTo>
                  <a:lnTo>
                    <a:pt x="0" y="523"/>
                  </a:lnTo>
                  <a:lnTo>
                    <a:pt x="29" y="523"/>
                  </a:lnTo>
                  <a:lnTo>
                    <a:pt x="54" y="523"/>
                  </a:lnTo>
                  <a:lnTo>
                    <a:pt x="74" y="523"/>
                  </a:lnTo>
                  <a:lnTo>
                    <a:pt x="87" y="523"/>
                  </a:lnTo>
                  <a:lnTo>
                    <a:pt x="72" y="519"/>
                  </a:lnTo>
                  <a:lnTo>
                    <a:pt x="39" y="511"/>
                  </a:lnTo>
                  <a:lnTo>
                    <a:pt x="22" y="507"/>
                  </a:lnTo>
                  <a:lnTo>
                    <a:pt x="8" y="503"/>
                  </a:lnTo>
                  <a:lnTo>
                    <a:pt x="0" y="500"/>
                  </a:lnTo>
                  <a:lnTo>
                    <a:pt x="0" y="499"/>
                  </a:lnTo>
                  <a:lnTo>
                    <a:pt x="2" y="485"/>
                  </a:lnTo>
                  <a:lnTo>
                    <a:pt x="3" y="476"/>
                  </a:lnTo>
                  <a:lnTo>
                    <a:pt x="4" y="472"/>
                  </a:lnTo>
                  <a:lnTo>
                    <a:pt x="4" y="467"/>
                  </a:lnTo>
                  <a:lnTo>
                    <a:pt x="3" y="462"/>
                  </a:lnTo>
                  <a:lnTo>
                    <a:pt x="0" y="456"/>
                  </a:lnTo>
                  <a:lnTo>
                    <a:pt x="20" y="456"/>
                  </a:lnTo>
                  <a:lnTo>
                    <a:pt x="21" y="460"/>
                  </a:lnTo>
                  <a:lnTo>
                    <a:pt x="24" y="463"/>
                  </a:lnTo>
                  <a:lnTo>
                    <a:pt x="25" y="464"/>
                  </a:lnTo>
                  <a:lnTo>
                    <a:pt x="26" y="464"/>
                  </a:lnTo>
                  <a:lnTo>
                    <a:pt x="27" y="463"/>
                  </a:lnTo>
                  <a:lnTo>
                    <a:pt x="27" y="462"/>
                  </a:lnTo>
                  <a:lnTo>
                    <a:pt x="37" y="461"/>
                  </a:lnTo>
                  <a:lnTo>
                    <a:pt x="51" y="459"/>
                  </a:lnTo>
                  <a:lnTo>
                    <a:pt x="67" y="457"/>
                  </a:lnTo>
                  <a:lnTo>
                    <a:pt x="81" y="456"/>
                  </a:lnTo>
                  <a:lnTo>
                    <a:pt x="78" y="455"/>
                  </a:lnTo>
                  <a:lnTo>
                    <a:pt x="77" y="454"/>
                  </a:lnTo>
                  <a:lnTo>
                    <a:pt x="77" y="452"/>
                  </a:lnTo>
                  <a:lnTo>
                    <a:pt x="77" y="449"/>
                  </a:lnTo>
                  <a:lnTo>
                    <a:pt x="80" y="443"/>
                  </a:lnTo>
                  <a:lnTo>
                    <a:pt x="81" y="437"/>
                  </a:lnTo>
                  <a:lnTo>
                    <a:pt x="91" y="437"/>
                  </a:lnTo>
                  <a:lnTo>
                    <a:pt x="100" y="437"/>
                  </a:lnTo>
                  <a:lnTo>
                    <a:pt x="99" y="433"/>
                  </a:lnTo>
                  <a:lnTo>
                    <a:pt x="96" y="428"/>
                  </a:lnTo>
                  <a:lnTo>
                    <a:pt x="92" y="424"/>
                  </a:lnTo>
                  <a:lnTo>
                    <a:pt x="87" y="419"/>
                  </a:lnTo>
                  <a:lnTo>
                    <a:pt x="97" y="416"/>
                  </a:lnTo>
                  <a:lnTo>
                    <a:pt x="107" y="413"/>
                  </a:lnTo>
                  <a:lnTo>
                    <a:pt x="117" y="412"/>
                  </a:lnTo>
                  <a:lnTo>
                    <a:pt x="127" y="412"/>
                  </a:lnTo>
                  <a:lnTo>
                    <a:pt x="129" y="412"/>
                  </a:lnTo>
                  <a:lnTo>
                    <a:pt x="130" y="409"/>
                  </a:lnTo>
                  <a:lnTo>
                    <a:pt x="130" y="406"/>
                  </a:lnTo>
                  <a:lnTo>
                    <a:pt x="129" y="402"/>
                  </a:lnTo>
                  <a:lnTo>
                    <a:pt x="128" y="394"/>
                  </a:lnTo>
                  <a:lnTo>
                    <a:pt x="127" y="388"/>
                  </a:lnTo>
                  <a:lnTo>
                    <a:pt x="147" y="388"/>
                  </a:lnTo>
                  <a:lnTo>
                    <a:pt x="133" y="382"/>
                  </a:lnTo>
                  <a:lnTo>
                    <a:pt x="220" y="382"/>
                  </a:lnTo>
                  <a:lnTo>
                    <a:pt x="207" y="376"/>
                  </a:lnTo>
                  <a:lnTo>
                    <a:pt x="213" y="373"/>
                  </a:lnTo>
                  <a:lnTo>
                    <a:pt x="218" y="370"/>
                  </a:lnTo>
                  <a:lnTo>
                    <a:pt x="221" y="367"/>
                  </a:lnTo>
                  <a:lnTo>
                    <a:pt x="224" y="362"/>
                  </a:lnTo>
                  <a:lnTo>
                    <a:pt x="227" y="351"/>
                  </a:lnTo>
                  <a:lnTo>
                    <a:pt x="227" y="339"/>
                  </a:lnTo>
                  <a:lnTo>
                    <a:pt x="243" y="339"/>
                  </a:lnTo>
                  <a:lnTo>
                    <a:pt x="255" y="339"/>
                  </a:lnTo>
                  <a:lnTo>
                    <a:pt x="266" y="339"/>
                  </a:lnTo>
                  <a:lnTo>
                    <a:pt x="279" y="339"/>
                  </a:lnTo>
                  <a:lnTo>
                    <a:pt x="279" y="333"/>
                  </a:lnTo>
                  <a:lnTo>
                    <a:pt x="282" y="327"/>
                  </a:lnTo>
                  <a:lnTo>
                    <a:pt x="283" y="325"/>
                  </a:lnTo>
                  <a:lnTo>
                    <a:pt x="285" y="323"/>
                  </a:lnTo>
                  <a:lnTo>
                    <a:pt x="288" y="321"/>
                  </a:lnTo>
                  <a:lnTo>
                    <a:pt x="293" y="321"/>
                  </a:lnTo>
                  <a:lnTo>
                    <a:pt x="286" y="318"/>
                  </a:lnTo>
                  <a:lnTo>
                    <a:pt x="279" y="314"/>
                  </a:lnTo>
                  <a:lnTo>
                    <a:pt x="280" y="312"/>
                  </a:lnTo>
                  <a:lnTo>
                    <a:pt x="282" y="310"/>
                  </a:lnTo>
                  <a:lnTo>
                    <a:pt x="284" y="308"/>
                  </a:lnTo>
                  <a:lnTo>
                    <a:pt x="287" y="305"/>
                  </a:lnTo>
                  <a:lnTo>
                    <a:pt x="294" y="300"/>
                  </a:lnTo>
                  <a:lnTo>
                    <a:pt x="299" y="295"/>
                  </a:lnTo>
                  <a:lnTo>
                    <a:pt x="298" y="292"/>
                  </a:lnTo>
                  <a:lnTo>
                    <a:pt x="297" y="288"/>
                  </a:lnTo>
                  <a:lnTo>
                    <a:pt x="298" y="285"/>
                  </a:lnTo>
                  <a:lnTo>
                    <a:pt x="299" y="281"/>
                  </a:lnTo>
                  <a:lnTo>
                    <a:pt x="305" y="274"/>
                  </a:lnTo>
                  <a:lnTo>
                    <a:pt x="311" y="267"/>
                  </a:lnTo>
                  <a:lnTo>
                    <a:pt x="325" y="254"/>
                  </a:lnTo>
                  <a:lnTo>
                    <a:pt x="333" y="246"/>
                  </a:lnTo>
                  <a:lnTo>
                    <a:pt x="333" y="244"/>
                  </a:lnTo>
                  <a:lnTo>
                    <a:pt x="335" y="243"/>
                  </a:lnTo>
                  <a:lnTo>
                    <a:pt x="338" y="243"/>
                  </a:lnTo>
                  <a:lnTo>
                    <a:pt x="340" y="244"/>
                  </a:lnTo>
                  <a:lnTo>
                    <a:pt x="344" y="245"/>
                  </a:lnTo>
                  <a:lnTo>
                    <a:pt x="346" y="246"/>
                  </a:lnTo>
                  <a:lnTo>
                    <a:pt x="344" y="239"/>
                  </a:lnTo>
                  <a:lnTo>
                    <a:pt x="343" y="233"/>
                  </a:lnTo>
                  <a:lnTo>
                    <a:pt x="343" y="226"/>
                  </a:lnTo>
                  <a:lnTo>
                    <a:pt x="344" y="220"/>
                  </a:lnTo>
                  <a:lnTo>
                    <a:pt x="345" y="210"/>
                  </a:lnTo>
                  <a:lnTo>
                    <a:pt x="346" y="204"/>
                  </a:lnTo>
                  <a:lnTo>
                    <a:pt x="370" y="204"/>
                  </a:lnTo>
                  <a:lnTo>
                    <a:pt x="385" y="203"/>
                  </a:lnTo>
                  <a:lnTo>
                    <a:pt x="388" y="202"/>
                  </a:lnTo>
                  <a:lnTo>
                    <a:pt x="390" y="200"/>
                  </a:lnTo>
                  <a:lnTo>
                    <a:pt x="392" y="198"/>
                  </a:lnTo>
                  <a:lnTo>
                    <a:pt x="394" y="196"/>
                  </a:lnTo>
                  <a:lnTo>
                    <a:pt x="397" y="188"/>
                  </a:lnTo>
                  <a:lnTo>
                    <a:pt x="399" y="178"/>
                  </a:lnTo>
                  <a:lnTo>
                    <a:pt x="395" y="173"/>
                  </a:lnTo>
                  <a:lnTo>
                    <a:pt x="390" y="166"/>
                  </a:lnTo>
                  <a:lnTo>
                    <a:pt x="387" y="157"/>
                  </a:lnTo>
                  <a:lnTo>
                    <a:pt x="386" y="148"/>
                  </a:lnTo>
                  <a:lnTo>
                    <a:pt x="384" y="148"/>
                  </a:lnTo>
                  <a:lnTo>
                    <a:pt x="379" y="147"/>
                  </a:lnTo>
                  <a:lnTo>
                    <a:pt x="377" y="147"/>
                  </a:lnTo>
                  <a:lnTo>
                    <a:pt x="375" y="146"/>
                  </a:lnTo>
                  <a:lnTo>
                    <a:pt x="373" y="144"/>
                  </a:lnTo>
                  <a:lnTo>
                    <a:pt x="373" y="142"/>
                  </a:lnTo>
                  <a:lnTo>
                    <a:pt x="363" y="150"/>
                  </a:lnTo>
                  <a:lnTo>
                    <a:pt x="353" y="156"/>
                  </a:lnTo>
                  <a:lnTo>
                    <a:pt x="347" y="158"/>
                  </a:lnTo>
                  <a:lnTo>
                    <a:pt x="343" y="159"/>
                  </a:lnTo>
                  <a:lnTo>
                    <a:pt x="338" y="160"/>
                  </a:lnTo>
                  <a:lnTo>
                    <a:pt x="333" y="160"/>
                  </a:lnTo>
                  <a:lnTo>
                    <a:pt x="334" y="154"/>
                  </a:lnTo>
                  <a:lnTo>
                    <a:pt x="338" y="148"/>
                  </a:lnTo>
                  <a:lnTo>
                    <a:pt x="341" y="143"/>
                  </a:lnTo>
                  <a:lnTo>
                    <a:pt x="345" y="138"/>
                  </a:lnTo>
                  <a:lnTo>
                    <a:pt x="355" y="128"/>
                  </a:lnTo>
                  <a:lnTo>
                    <a:pt x="367" y="120"/>
                  </a:lnTo>
                  <a:lnTo>
                    <a:pt x="378" y="112"/>
                  </a:lnTo>
                  <a:lnTo>
                    <a:pt x="390" y="103"/>
                  </a:lnTo>
                  <a:lnTo>
                    <a:pt x="395" y="98"/>
                  </a:lnTo>
                  <a:lnTo>
                    <a:pt x="399" y="93"/>
                  </a:lnTo>
                  <a:lnTo>
                    <a:pt x="403" y="87"/>
                  </a:lnTo>
                  <a:lnTo>
                    <a:pt x="406" y="80"/>
                  </a:lnTo>
                  <a:lnTo>
                    <a:pt x="407" y="83"/>
                  </a:lnTo>
                  <a:lnTo>
                    <a:pt x="409" y="88"/>
                  </a:lnTo>
                  <a:lnTo>
                    <a:pt x="411" y="96"/>
                  </a:lnTo>
                  <a:lnTo>
                    <a:pt x="412" y="105"/>
                  </a:lnTo>
                  <a:lnTo>
                    <a:pt x="414" y="107"/>
                  </a:lnTo>
                  <a:lnTo>
                    <a:pt x="420" y="111"/>
                  </a:lnTo>
                  <a:lnTo>
                    <a:pt x="426" y="115"/>
                  </a:lnTo>
                  <a:lnTo>
                    <a:pt x="432" y="117"/>
                  </a:lnTo>
                  <a:lnTo>
                    <a:pt x="450" y="116"/>
                  </a:lnTo>
                  <a:lnTo>
                    <a:pt x="463" y="114"/>
                  </a:lnTo>
                  <a:lnTo>
                    <a:pt x="473" y="112"/>
                  </a:lnTo>
                  <a:lnTo>
                    <a:pt x="479" y="111"/>
                  </a:lnTo>
                  <a:lnTo>
                    <a:pt x="474" y="106"/>
                  </a:lnTo>
                  <a:lnTo>
                    <a:pt x="469" y="101"/>
                  </a:lnTo>
                  <a:lnTo>
                    <a:pt x="468" y="98"/>
                  </a:lnTo>
                  <a:lnTo>
                    <a:pt x="467" y="95"/>
                  </a:lnTo>
                  <a:lnTo>
                    <a:pt x="466" y="91"/>
                  </a:lnTo>
                  <a:lnTo>
                    <a:pt x="466" y="87"/>
                  </a:lnTo>
                  <a:lnTo>
                    <a:pt x="485" y="83"/>
                  </a:lnTo>
                  <a:lnTo>
                    <a:pt x="510" y="78"/>
                  </a:lnTo>
                  <a:lnTo>
                    <a:pt x="523" y="75"/>
                  </a:lnTo>
                  <a:lnTo>
                    <a:pt x="536" y="72"/>
                  </a:lnTo>
                  <a:lnTo>
                    <a:pt x="548" y="67"/>
                  </a:lnTo>
                  <a:lnTo>
                    <a:pt x="558" y="61"/>
                  </a:lnTo>
                  <a:lnTo>
                    <a:pt x="565" y="57"/>
                  </a:lnTo>
                  <a:lnTo>
                    <a:pt x="573" y="53"/>
                  </a:lnTo>
                  <a:lnTo>
                    <a:pt x="579" y="50"/>
                  </a:lnTo>
                  <a:lnTo>
                    <a:pt x="586" y="49"/>
                  </a:lnTo>
                  <a:lnTo>
                    <a:pt x="587" y="55"/>
                  </a:lnTo>
                  <a:lnTo>
                    <a:pt x="589" y="61"/>
                  </a:lnTo>
                  <a:lnTo>
                    <a:pt x="591" y="63"/>
                  </a:lnTo>
                  <a:lnTo>
                    <a:pt x="593" y="65"/>
                  </a:lnTo>
                  <a:lnTo>
                    <a:pt x="596" y="67"/>
                  </a:lnTo>
                  <a:lnTo>
                    <a:pt x="599" y="67"/>
                  </a:lnTo>
                  <a:lnTo>
                    <a:pt x="609" y="66"/>
                  </a:lnTo>
                  <a:lnTo>
                    <a:pt x="624" y="61"/>
                  </a:lnTo>
                  <a:lnTo>
                    <a:pt x="638" y="57"/>
                  </a:lnTo>
                  <a:lnTo>
                    <a:pt x="645" y="55"/>
                  </a:lnTo>
                  <a:lnTo>
                    <a:pt x="643" y="53"/>
                  </a:lnTo>
                  <a:lnTo>
                    <a:pt x="641" y="51"/>
                  </a:lnTo>
                  <a:lnTo>
                    <a:pt x="638" y="48"/>
                  </a:lnTo>
                  <a:lnTo>
                    <a:pt x="638" y="46"/>
                  </a:lnTo>
                  <a:lnTo>
                    <a:pt x="638" y="42"/>
                  </a:lnTo>
                  <a:lnTo>
                    <a:pt x="641" y="37"/>
                  </a:lnTo>
                  <a:lnTo>
                    <a:pt x="645" y="33"/>
                  </a:lnTo>
                  <a:lnTo>
                    <a:pt x="650" y="28"/>
                  </a:lnTo>
                  <a:lnTo>
                    <a:pt x="657" y="24"/>
                  </a:lnTo>
                  <a:lnTo>
                    <a:pt x="665" y="20"/>
                  </a:lnTo>
                  <a:lnTo>
                    <a:pt x="674" y="17"/>
                  </a:lnTo>
                  <a:lnTo>
                    <a:pt x="682" y="15"/>
                  </a:lnTo>
                  <a:lnTo>
                    <a:pt x="691" y="14"/>
                  </a:lnTo>
                  <a:lnTo>
                    <a:pt x="699" y="13"/>
                  </a:lnTo>
                  <a:lnTo>
                    <a:pt x="708" y="13"/>
                  </a:lnTo>
                  <a:lnTo>
                    <a:pt x="714" y="13"/>
                  </a:lnTo>
                  <a:lnTo>
                    <a:pt x="721" y="15"/>
                  </a:lnTo>
                  <a:lnTo>
                    <a:pt x="725" y="18"/>
                  </a:lnTo>
                  <a:lnTo>
                    <a:pt x="717" y="20"/>
                  </a:lnTo>
                  <a:lnTo>
                    <a:pt x="709" y="26"/>
                  </a:lnTo>
                  <a:lnTo>
                    <a:pt x="705" y="29"/>
                  </a:lnTo>
                  <a:lnTo>
                    <a:pt x="701" y="32"/>
                  </a:lnTo>
                  <a:lnTo>
                    <a:pt x="699" y="35"/>
                  </a:lnTo>
                  <a:lnTo>
                    <a:pt x="699" y="37"/>
                  </a:lnTo>
                  <a:lnTo>
                    <a:pt x="702" y="39"/>
                  </a:lnTo>
                  <a:lnTo>
                    <a:pt x="705" y="40"/>
                  </a:lnTo>
                  <a:lnTo>
                    <a:pt x="709" y="41"/>
                  </a:lnTo>
                  <a:lnTo>
                    <a:pt x="712" y="40"/>
                  </a:lnTo>
                  <a:lnTo>
                    <a:pt x="719" y="39"/>
                  </a:lnTo>
                  <a:lnTo>
                    <a:pt x="725" y="36"/>
                  </a:lnTo>
                  <a:lnTo>
                    <a:pt x="733" y="32"/>
                  </a:lnTo>
                  <a:lnTo>
                    <a:pt x="741" y="29"/>
                  </a:lnTo>
                  <a:lnTo>
                    <a:pt x="748" y="26"/>
                  </a:lnTo>
                  <a:lnTo>
                    <a:pt x="758" y="24"/>
                  </a:lnTo>
                  <a:lnTo>
                    <a:pt x="758" y="12"/>
                  </a:lnTo>
                  <a:lnTo>
                    <a:pt x="758" y="0"/>
                  </a:lnTo>
                  <a:lnTo>
                    <a:pt x="777" y="0"/>
                  </a:lnTo>
                  <a:lnTo>
                    <a:pt x="793" y="1"/>
                  </a:lnTo>
                  <a:lnTo>
                    <a:pt x="800" y="1"/>
                  </a:lnTo>
                  <a:lnTo>
                    <a:pt x="806" y="2"/>
                  </a:lnTo>
                  <a:lnTo>
                    <a:pt x="813" y="4"/>
                  </a:lnTo>
                  <a:lnTo>
                    <a:pt x="817" y="6"/>
                  </a:lnTo>
                  <a:lnTo>
                    <a:pt x="812" y="11"/>
                  </a:lnTo>
                  <a:lnTo>
                    <a:pt x="805" y="18"/>
                  </a:lnTo>
                  <a:lnTo>
                    <a:pt x="800" y="26"/>
                  </a:lnTo>
                  <a:lnTo>
                    <a:pt x="798" y="31"/>
                  </a:lnTo>
                  <a:lnTo>
                    <a:pt x="815" y="22"/>
                  </a:lnTo>
                  <a:lnTo>
                    <a:pt x="828" y="15"/>
                  </a:lnTo>
                  <a:lnTo>
                    <a:pt x="844" y="8"/>
                  </a:lnTo>
                  <a:lnTo>
                    <a:pt x="865" y="0"/>
                  </a:lnTo>
                  <a:lnTo>
                    <a:pt x="865" y="4"/>
                  </a:lnTo>
                  <a:lnTo>
                    <a:pt x="864" y="9"/>
                  </a:lnTo>
                  <a:lnTo>
                    <a:pt x="861" y="14"/>
                  </a:lnTo>
                  <a:lnTo>
                    <a:pt x="858" y="18"/>
                  </a:lnTo>
                  <a:lnTo>
                    <a:pt x="860" y="14"/>
                  </a:lnTo>
                  <a:lnTo>
                    <a:pt x="862" y="11"/>
                  </a:lnTo>
                  <a:lnTo>
                    <a:pt x="866" y="9"/>
                  </a:lnTo>
                  <a:lnTo>
                    <a:pt x="869" y="7"/>
                  </a:lnTo>
                  <a:lnTo>
                    <a:pt x="876" y="6"/>
                  </a:lnTo>
                  <a:lnTo>
                    <a:pt x="884" y="6"/>
                  </a:lnTo>
                  <a:lnTo>
                    <a:pt x="892" y="6"/>
                  </a:lnTo>
                  <a:lnTo>
                    <a:pt x="907" y="6"/>
                  </a:lnTo>
                  <a:lnTo>
                    <a:pt x="924" y="6"/>
                  </a:lnTo>
                  <a:lnTo>
                    <a:pt x="930" y="6"/>
                  </a:lnTo>
                  <a:lnTo>
                    <a:pt x="947" y="12"/>
                  </a:lnTo>
                  <a:lnTo>
                    <a:pt x="979" y="22"/>
                  </a:lnTo>
                  <a:lnTo>
                    <a:pt x="996" y="28"/>
                  </a:lnTo>
                  <a:lnTo>
                    <a:pt x="1013" y="33"/>
                  </a:lnTo>
                  <a:lnTo>
                    <a:pt x="1027" y="38"/>
                  </a:lnTo>
                  <a:lnTo>
                    <a:pt x="1037" y="43"/>
                  </a:lnTo>
                  <a:lnTo>
                    <a:pt x="1031" y="52"/>
                  </a:lnTo>
                  <a:lnTo>
                    <a:pt x="1025" y="61"/>
                  </a:lnTo>
                  <a:lnTo>
                    <a:pt x="1022" y="66"/>
                  </a:lnTo>
                  <a:lnTo>
                    <a:pt x="1019" y="70"/>
                  </a:lnTo>
                  <a:lnTo>
                    <a:pt x="1017" y="75"/>
                  </a:lnTo>
                  <a:lnTo>
                    <a:pt x="1017" y="80"/>
                  </a:lnTo>
                  <a:lnTo>
                    <a:pt x="1005" y="79"/>
                  </a:lnTo>
                  <a:lnTo>
                    <a:pt x="993" y="76"/>
                  </a:lnTo>
                  <a:lnTo>
                    <a:pt x="982" y="72"/>
                  </a:lnTo>
                  <a:lnTo>
                    <a:pt x="971" y="67"/>
                  </a:lnTo>
                  <a:lnTo>
                    <a:pt x="961" y="63"/>
                  </a:lnTo>
                  <a:lnTo>
                    <a:pt x="951" y="59"/>
                  </a:lnTo>
                  <a:lnTo>
                    <a:pt x="940" y="56"/>
                  </a:lnTo>
                  <a:lnTo>
                    <a:pt x="930" y="55"/>
                  </a:lnTo>
                  <a:lnTo>
                    <a:pt x="919" y="55"/>
                  </a:lnTo>
                  <a:lnTo>
                    <a:pt x="906" y="55"/>
                  </a:lnTo>
                  <a:lnTo>
                    <a:pt x="892" y="55"/>
                  </a:lnTo>
                  <a:lnTo>
                    <a:pt x="878" y="55"/>
                  </a:lnTo>
                  <a:lnTo>
                    <a:pt x="877" y="62"/>
                  </a:lnTo>
                  <a:lnTo>
                    <a:pt x="876" y="68"/>
                  </a:lnTo>
                  <a:lnTo>
                    <a:pt x="873" y="74"/>
                  </a:lnTo>
                  <a:lnTo>
                    <a:pt x="871" y="80"/>
                  </a:lnTo>
                  <a:lnTo>
                    <a:pt x="869" y="88"/>
                  </a:lnTo>
                  <a:lnTo>
                    <a:pt x="867" y="95"/>
                  </a:lnTo>
                  <a:lnTo>
                    <a:pt x="865" y="102"/>
                  </a:lnTo>
                  <a:lnTo>
                    <a:pt x="865" y="111"/>
                  </a:lnTo>
                  <a:lnTo>
                    <a:pt x="854" y="114"/>
                  </a:lnTo>
                  <a:lnTo>
                    <a:pt x="848" y="116"/>
                  </a:lnTo>
                  <a:lnTo>
                    <a:pt x="844" y="116"/>
                  </a:lnTo>
                  <a:lnTo>
                    <a:pt x="842" y="115"/>
                  </a:lnTo>
                  <a:lnTo>
                    <a:pt x="838" y="114"/>
                  </a:lnTo>
                  <a:lnTo>
                    <a:pt x="835" y="113"/>
                  </a:lnTo>
                  <a:lnTo>
                    <a:pt x="828" y="111"/>
                  </a:lnTo>
                  <a:lnTo>
                    <a:pt x="817" y="111"/>
                  </a:lnTo>
                  <a:lnTo>
                    <a:pt x="811" y="111"/>
                  </a:lnTo>
                  <a:lnTo>
                    <a:pt x="804" y="112"/>
                  </a:lnTo>
                  <a:lnTo>
                    <a:pt x="798" y="113"/>
                  </a:lnTo>
                  <a:lnTo>
                    <a:pt x="790" y="115"/>
                  </a:lnTo>
                  <a:lnTo>
                    <a:pt x="776" y="121"/>
                  </a:lnTo>
                  <a:lnTo>
                    <a:pt x="758" y="129"/>
                  </a:lnTo>
                  <a:lnTo>
                    <a:pt x="750" y="129"/>
                  </a:lnTo>
                  <a:lnTo>
                    <a:pt x="745" y="128"/>
                  </a:lnTo>
                  <a:lnTo>
                    <a:pt x="738" y="126"/>
                  </a:lnTo>
                  <a:lnTo>
                    <a:pt x="734" y="124"/>
                  </a:lnTo>
                  <a:lnTo>
                    <a:pt x="724" y="119"/>
                  </a:lnTo>
                  <a:lnTo>
                    <a:pt x="716" y="112"/>
                  </a:lnTo>
                  <a:lnTo>
                    <a:pt x="709" y="105"/>
                  </a:lnTo>
                  <a:lnTo>
                    <a:pt x="702" y="98"/>
                  </a:lnTo>
                  <a:lnTo>
                    <a:pt x="694" y="92"/>
                  </a:lnTo>
                  <a:lnTo>
                    <a:pt x="685" y="87"/>
                  </a:lnTo>
                  <a:lnTo>
                    <a:pt x="677" y="92"/>
                  </a:lnTo>
                  <a:lnTo>
                    <a:pt x="669" y="96"/>
                  </a:lnTo>
                  <a:lnTo>
                    <a:pt x="661" y="100"/>
                  </a:lnTo>
                  <a:lnTo>
                    <a:pt x="654" y="103"/>
                  </a:lnTo>
                  <a:lnTo>
                    <a:pt x="637" y="109"/>
                  </a:lnTo>
                  <a:lnTo>
                    <a:pt x="620" y="112"/>
                  </a:lnTo>
                  <a:lnTo>
                    <a:pt x="602" y="116"/>
                  </a:lnTo>
                  <a:lnTo>
                    <a:pt x="584" y="119"/>
                  </a:lnTo>
                  <a:lnTo>
                    <a:pt x="565" y="123"/>
                  </a:lnTo>
                  <a:lnTo>
                    <a:pt x="545" y="129"/>
                  </a:lnTo>
                  <a:lnTo>
                    <a:pt x="542" y="130"/>
                  </a:lnTo>
                  <a:lnTo>
                    <a:pt x="537" y="131"/>
                  </a:lnTo>
                  <a:lnTo>
                    <a:pt x="534" y="134"/>
                  </a:lnTo>
                  <a:lnTo>
                    <a:pt x="530" y="138"/>
                  </a:lnTo>
                  <a:lnTo>
                    <a:pt x="521" y="147"/>
                  </a:lnTo>
                  <a:lnTo>
                    <a:pt x="513" y="158"/>
                  </a:lnTo>
                  <a:lnTo>
                    <a:pt x="506" y="170"/>
                  </a:lnTo>
                  <a:lnTo>
                    <a:pt x="498" y="184"/>
                  </a:lnTo>
                  <a:lnTo>
                    <a:pt x="491" y="198"/>
                  </a:lnTo>
                  <a:lnTo>
                    <a:pt x="486" y="210"/>
                  </a:lnTo>
                  <a:lnTo>
                    <a:pt x="482" y="217"/>
                  </a:lnTo>
                  <a:lnTo>
                    <a:pt x="478" y="225"/>
                  </a:lnTo>
                  <a:lnTo>
                    <a:pt x="473" y="232"/>
                  </a:lnTo>
                  <a:lnTo>
                    <a:pt x="466" y="239"/>
                  </a:lnTo>
                  <a:lnTo>
                    <a:pt x="453" y="255"/>
                  </a:lnTo>
                  <a:lnTo>
                    <a:pt x="437" y="270"/>
                  </a:lnTo>
                  <a:lnTo>
                    <a:pt x="430" y="279"/>
                  </a:lnTo>
                  <a:lnTo>
                    <a:pt x="423" y="288"/>
                  </a:lnTo>
                  <a:lnTo>
                    <a:pt x="417" y="298"/>
                  </a:lnTo>
                  <a:lnTo>
                    <a:pt x="411" y="309"/>
                  </a:lnTo>
                  <a:lnTo>
                    <a:pt x="406" y="321"/>
                  </a:lnTo>
                  <a:lnTo>
                    <a:pt x="402" y="334"/>
                  </a:lnTo>
                  <a:lnTo>
                    <a:pt x="400" y="348"/>
                  </a:lnTo>
                  <a:lnTo>
                    <a:pt x="399" y="364"/>
                  </a:lnTo>
                  <a:lnTo>
                    <a:pt x="396" y="362"/>
                  </a:lnTo>
                  <a:lnTo>
                    <a:pt x="392" y="361"/>
                  </a:lnTo>
                  <a:lnTo>
                    <a:pt x="387" y="361"/>
                  </a:lnTo>
                  <a:lnTo>
                    <a:pt x="381" y="362"/>
                  </a:lnTo>
                  <a:lnTo>
                    <a:pt x="367" y="363"/>
                  </a:lnTo>
                  <a:lnTo>
                    <a:pt x="353" y="364"/>
                  </a:lnTo>
                  <a:lnTo>
                    <a:pt x="333" y="425"/>
                  </a:lnTo>
                  <a:lnTo>
                    <a:pt x="333" y="441"/>
                  </a:lnTo>
                  <a:lnTo>
                    <a:pt x="336" y="464"/>
                  </a:lnTo>
                  <a:lnTo>
                    <a:pt x="340" y="477"/>
                  </a:lnTo>
                  <a:lnTo>
                    <a:pt x="344" y="487"/>
                  </a:lnTo>
                  <a:lnTo>
                    <a:pt x="347" y="491"/>
                  </a:lnTo>
                  <a:lnTo>
                    <a:pt x="351" y="495"/>
                  </a:lnTo>
                  <a:lnTo>
                    <a:pt x="355" y="497"/>
                  </a:lnTo>
                  <a:lnTo>
                    <a:pt x="360" y="499"/>
                  </a:lnTo>
                  <a:lnTo>
                    <a:pt x="358" y="515"/>
                  </a:lnTo>
                  <a:lnTo>
                    <a:pt x="357" y="528"/>
                  </a:lnTo>
                  <a:lnTo>
                    <a:pt x="356" y="537"/>
                  </a:lnTo>
                  <a:lnTo>
                    <a:pt x="354" y="544"/>
                  </a:lnTo>
                  <a:lnTo>
                    <a:pt x="354" y="551"/>
                  </a:lnTo>
                  <a:lnTo>
                    <a:pt x="354" y="558"/>
                  </a:lnTo>
                  <a:lnTo>
                    <a:pt x="355" y="567"/>
                  </a:lnTo>
                  <a:lnTo>
                    <a:pt x="360" y="579"/>
                  </a:lnTo>
                  <a:lnTo>
                    <a:pt x="352" y="585"/>
                  </a:lnTo>
                  <a:lnTo>
                    <a:pt x="346" y="591"/>
                  </a:lnTo>
                  <a:lnTo>
                    <a:pt x="340" y="598"/>
                  </a:lnTo>
                  <a:lnTo>
                    <a:pt x="335" y="606"/>
                  </a:lnTo>
                  <a:lnTo>
                    <a:pt x="331" y="615"/>
                  </a:lnTo>
                  <a:lnTo>
                    <a:pt x="329" y="625"/>
                  </a:lnTo>
                  <a:lnTo>
                    <a:pt x="327" y="635"/>
                  </a:lnTo>
                  <a:lnTo>
                    <a:pt x="327" y="647"/>
                  </a:lnTo>
                  <a:lnTo>
                    <a:pt x="318" y="646"/>
                  </a:lnTo>
                  <a:lnTo>
                    <a:pt x="306" y="645"/>
                  </a:lnTo>
                  <a:lnTo>
                    <a:pt x="300" y="645"/>
                  </a:lnTo>
                  <a:lnTo>
                    <a:pt x="295" y="645"/>
                  </a:lnTo>
                  <a:lnTo>
                    <a:pt x="289" y="646"/>
                  </a:lnTo>
                  <a:lnTo>
                    <a:pt x="286" y="647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71" name="Freeform 228"/>
            <p:cNvSpPr>
              <a:spLocks/>
            </p:cNvSpPr>
            <p:nvPr>
              <p:custDataLst>
                <p:tags r:id="rId156"/>
              </p:custDataLst>
            </p:nvPr>
          </p:nvSpPr>
          <p:spPr bwMode="auto">
            <a:xfrm>
              <a:off x="6560182" y="2989702"/>
              <a:ext cx="49212" cy="90487"/>
            </a:xfrm>
            <a:custGeom>
              <a:avLst/>
              <a:gdLst>
                <a:gd name="T0" fmla="*/ 2147483647 w 120"/>
                <a:gd name="T1" fmla="*/ 2147483647 h 173"/>
                <a:gd name="T2" fmla="*/ 2147483647 w 120"/>
                <a:gd name="T3" fmla="*/ 2147483647 h 173"/>
                <a:gd name="T4" fmla="*/ 2147483647 w 120"/>
                <a:gd name="T5" fmla="*/ 2147483647 h 173"/>
                <a:gd name="T6" fmla="*/ 2147483647 w 120"/>
                <a:gd name="T7" fmla="*/ 2147483647 h 173"/>
                <a:gd name="T8" fmla="*/ 2147483647 w 120"/>
                <a:gd name="T9" fmla="*/ 2147483647 h 173"/>
                <a:gd name="T10" fmla="*/ 2147483647 w 120"/>
                <a:gd name="T11" fmla="*/ 2147483647 h 173"/>
                <a:gd name="T12" fmla="*/ 2147483647 w 120"/>
                <a:gd name="T13" fmla="*/ 2147483647 h 173"/>
                <a:gd name="T14" fmla="*/ 2147483647 w 120"/>
                <a:gd name="T15" fmla="*/ 2147483647 h 173"/>
                <a:gd name="T16" fmla="*/ 2147483647 w 120"/>
                <a:gd name="T17" fmla="*/ 0 h 173"/>
                <a:gd name="T18" fmla="*/ 2147483647 w 120"/>
                <a:gd name="T19" fmla="*/ 0 h 173"/>
                <a:gd name="T20" fmla="*/ 2147483647 w 120"/>
                <a:gd name="T21" fmla="*/ 2147483647 h 173"/>
                <a:gd name="T22" fmla="*/ 2147483647 w 120"/>
                <a:gd name="T23" fmla="*/ 2147483647 h 173"/>
                <a:gd name="T24" fmla="*/ 2147483647 w 120"/>
                <a:gd name="T25" fmla="*/ 2147483647 h 173"/>
                <a:gd name="T26" fmla="*/ 2147483647 w 120"/>
                <a:gd name="T27" fmla="*/ 2147483647 h 173"/>
                <a:gd name="T28" fmla="*/ 2147483647 w 120"/>
                <a:gd name="T29" fmla="*/ 2147483647 h 173"/>
                <a:gd name="T30" fmla="*/ 2147483647 w 120"/>
                <a:gd name="T31" fmla="*/ 2147483647 h 173"/>
                <a:gd name="T32" fmla="*/ 2147483647 w 120"/>
                <a:gd name="T33" fmla="*/ 2147483647 h 173"/>
                <a:gd name="T34" fmla="*/ 2147483647 w 120"/>
                <a:gd name="T35" fmla="*/ 2147483647 h 173"/>
                <a:gd name="T36" fmla="*/ 2147483647 w 120"/>
                <a:gd name="T37" fmla="*/ 2147483647 h 173"/>
                <a:gd name="T38" fmla="*/ 2147483647 w 120"/>
                <a:gd name="T39" fmla="*/ 2147483647 h 173"/>
                <a:gd name="T40" fmla="*/ 2147483647 w 120"/>
                <a:gd name="T41" fmla="*/ 2147483647 h 173"/>
                <a:gd name="T42" fmla="*/ 2147483647 w 120"/>
                <a:gd name="T43" fmla="*/ 2147483647 h 173"/>
                <a:gd name="T44" fmla="*/ 0 w 120"/>
                <a:gd name="T45" fmla="*/ 2147483647 h 173"/>
                <a:gd name="T46" fmla="*/ 2147483647 w 120"/>
                <a:gd name="T47" fmla="*/ 2147483647 h 173"/>
                <a:gd name="T48" fmla="*/ 2147483647 w 120"/>
                <a:gd name="T49" fmla="*/ 2147483647 h 173"/>
                <a:gd name="T50" fmla="*/ 2147483647 w 120"/>
                <a:gd name="T51" fmla="*/ 2147483647 h 173"/>
                <a:gd name="T52" fmla="*/ 2147483647 w 120"/>
                <a:gd name="T53" fmla="*/ 2147483647 h 173"/>
                <a:gd name="T54" fmla="*/ 2147483647 w 120"/>
                <a:gd name="T55" fmla="*/ 2147483647 h 173"/>
                <a:gd name="T56" fmla="*/ 2147483647 w 120"/>
                <a:gd name="T57" fmla="*/ 2147483647 h 173"/>
                <a:gd name="T58" fmla="*/ 2147483647 w 120"/>
                <a:gd name="T59" fmla="*/ 2147483647 h 173"/>
                <a:gd name="T60" fmla="*/ 2147483647 w 120"/>
                <a:gd name="T61" fmla="*/ 2147483647 h 173"/>
                <a:gd name="T62" fmla="*/ 2147483647 w 120"/>
                <a:gd name="T63" fmla="*/ 2147483647 h 173"/>
                <a:gd name="T64" fmla="*/ 2147483647 w 120"/>
                <a:gd name="T65" fmla="*/ 2147483647 h 173"/>
                <a:gd name="T66" fmla="*/ 2147483647 w 120"/>
                <a:gd name="T67" fmla="*/ 2147483647 h 173"/>
                <a:gd name="T68" fmla="*/ 2147483647 w 120"/>
                <a:gd name="T69" fmla="*/ 2147483647 h 173"/>
                <a:gd name="T70" fmla="*/ 2147483647 w 120"/>
                <a:gd name="T71" fmla="*/ 2147483647 h 173"/>
                <a:gd name="T72" fmla="*/ 2147483647 w 120"/>
                <a:gd name="T73" fmla="*/ 2147483647 h 173"/>
                <a:gd name="T74" fmla="*/ 2147483647 w 120"/>
                <a:gd name="T75" fmla="*/ 2147483647 h 173"/>
                <a:gd name="T76" fmla="*/ 2147483647 w 120"/>
                <a:gd name="T77" fmla="*/ 2147483647 h 173"/>
                <a:gd name="T78" fmla="*/ 2147483647 w 120"/>
                <a:gd name="T79" fmla="*/ 2147483647 h 173"/>
                <a:gd name="T80" fmla="*/ 2147483647 w 120"/>
                <a:gd name="T81" fmla="*/ 2147483647 h 173"/>
                <a:gd name="T82" fmla="*/ 2147483647 w 120"/>
                <a:gd name="T83" fmla="*/ 2147483647 h 173"/>
                <a:gd name="T84" fmla="*/ 2147483647 w 120"/>
                <a:gd name="T85" fmla="*/ 2147483647 h 173"/>
                <a:gd name="T86" fmla="*/ 2147483647 w 120"/>
                <a:gd name="T87" fmla="*/ 2147483647 h 173"/>
                <a:gd name="T88" fmla="*/ 2147483647 w 120"/>
                <a:gd name="T89" fmla="*/ 2147483647 h 17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120" h="173">
                  <a:moveTo>
                    <a:pt x="120" y="99"/>
                  </a:moveTo>
                  <a:lnTo>
                    <a:pt x="92" y="60"/>
                  </a:lnTo>
                  <a:lnTo>
                    <a:pt x="70" y="28"/>
                  </a:lnTo>
                  <a:lnTo>
                    <a:pt x="60" y="16"/>
                  </a:lnTo>
                  <a:lnTo>
                    <a:pt x="53" y="8"/>
                  </a:lnTo>
                  <a:lnTo>
                    <a:pt x="48" y="4"/>
                  </a:lnTo>
                  <a:lnTo>
                    <a:pt x="45" y="2"/>
                  </a:lnTo>
                  <a:lnTo>
                    <a:pt x="43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5"/>
                  </a:lnTo>
                  <a:lnTo>
                    <a:pt x="19" y="8"/>
                  </a:lnTo>
                  <a:lnTo>
                    <a:pt x="16" y="12"/>
                  </a:lnTo>
                  <a:lnTo>
                    <a:pt x="15" y="15"/>
                  </a:lnTo>
                  <a:lnTo>
                    <a:pt x="15" y="20"/>
                  </a:lnTo>
                  <a:lnTo>
                    <a:pt x="14" y="30"/>
                  </a:lnTo>
                  <a:lnTo>
                    <a:pt x="12" y="42"/>
                  </a:lnTo>
                  <a:lnTo>
                    <a:pt x="10" y="48"/>
                  </a:lnTo>
                  <a:lnTo>
                    <a:pt x="8" y="54"/>
                  </a:lnTo>
                  <a:lnTo>
                    <a:pt x="4" y="61"/>
                  </a:lnTo>
                  <a:lnTo>
                    <a:pt x="0" y="68"/>
                  </a:lnTo>
                  <a:lnTo>
                    <a:pt x="5" y="82"/>
                  </a:lnTo>
                  <a:lnTo>
                    <a:pt x="10" y="99"/>
                  </a:lnTo>
                  <a:lnTo>
                    <a:pt x="15" y="115"/>
                  </a:lnTo>
                  <a:lnTo>
                    <a:pt x="20" y="129"/>
                  </a:lnTo>
                  <a:lnTo>
                    <a:pt x="24" y="134"/>
                  </a:lnTo>
                  <a:lnTo>
                    <a:pt x="30" y="139"/>
                  </a:lnTo>
                  <a:lnTo>
                    <a:pt x="37" y="145"/>
                  </a:lnTo>
                  <a:lnTo>
                    <a:pt x="46" y="151"/>
                  </a:lnTo>
                  <a:lnTo>
                    <a:pt x="54" y="157"/>
                  </a:lnTo>
                  <a:lnTo>
                    <a:pt x="60" y="163"/>
                  </a:lnTo>
                  <a:lnTo>
                    <a:pt x="62" y="165"/>
                  </a:lnTo>
                  <a:lnTo>
                    <a:pt x="65" y="168"/>
                  </a:lnTo>
                  <a:lnTo>
                    <a:pt x="66" y="170"/>
                  </a:lnTo>
                  <a:lnTo>
                    <a:pt x="67" y="173"/>
                  </a:lnTo>
                  <a:lnTo>
                    <a:pt x="76" y="167"/>
                  </a:lnTo>
                  <a:lnTo>
                    <a:pt x="86" y="160"/>
                  </a:lnTo>
                  <a:lnTo>
                    <a:pt x="93" y="152"/>
                  </a:lnTo>
                  <a:lnTo>
                    <a:pt x="101" y="142"/>
                  </a:lnTo>
                  <a:lnTo>
                    <a:pt x="106" y="132"/>
                  </a:lnTo>
                  <a:lnTo>
                    <a:pt x="112" y="121"/>
                  </a:lnTo>
                  <a:lnTo>
                    <a:pt x="116" y="110"/>
                  </a:lnTo>
                  <a:lnTo>
                    <a:pt x="120" y="9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72" name="Freeform 229"/>
            <p:cNvSpPr>
              <a:spLocks/>
            </p:cNvSpPr>
            <p:nvPr>
              <p:custDataLst>
                <p:tags r:id="rId157"/>
              </p:custDataLst>
            </p:nvPr>
          </p:nvSpPr>
          <p:spPr bwMode="auto">
            <a:xfrm>
              <a:off x="6268082" y="2829364"/>
              <a:ext cx="84137" cy="58738"/>
            </a:xfrm>
            <a:custGeom>
              <a:avLst/>
              <a:gdLst>
                <a:gd name="T0" fmla="*/ 2147483647 w 200"/>
                <a:gd name="T1" fmla="*/ 2147483647 h 98"/>
                <a:gd name="T2" fmla="*/ 2147483647 w 200"/>
                <a:gd name="T3" fmla="*/ 2147483647 h 98"/>
                <a:gd name="T4" fmla="*/ 2147483647 w 200"/>
                <a:gd name="T5" fmla="*/ 2147483647 h 98"/>
                <a:gd name="T6" fmla="*/ 2147483647 w 200"/>
                <a:gd name="T7" fmla="*/ 2147483647 h 98"/>
                <a:gd name="T8" fmla="*/ 2147483647 w 200"/>
                <a:gd name="T9" fmla="*/ 2147483647 h 98"/>
                <a:gd name="T10" fmla="*/ 2147483647 w 200"/>
                <a:gd name="T11" fmla="*/ 2147483647 h 98"/>
                <a:gd name="T12" fmla="*/ 2147483647 w 200"/>
                <a:gd name="T13" fmla="*/ 2147483647 h 98"/>
                <a:gd name="T14" fmla="*/ 2147483647 w 200"/>
                <a:gd name="T15" fmla="*/ 2147483647 h 98"/>
                <a:gd name="T16" fmla="*/ 2147483647 w 200"/>
                <a:gd name="T17" fmla="*/ 2147483647 h 98"/>
                <a:gd name="T18" fmla="*/ 2147483647 w 200"/>
                <a:gd name="T19" fmla="*/ 2147483647 h 98"/>
                <a:gd name="T20" fmla="*/ 2147483647 w 200"/>
                <a:gd name="T21" fmla="*/ 2147483647 h 98"/>
                <a:gd name="T22" fmla="*/ 2147483647 w 200"/>
                <a:gd name="T23" fmla="*/ 2147483647 h 98"/>
                <a:gd name="T24" fmla="*/ 2147483647 w 200"/>
                <a:gd name="T25" fmla="*/ 2147483647 h 98"/>
                <a:gd name="T26" fmla="*/ 2147483647 w 200"/>
                <a:gd name="T27" fmla="*/ 2147483647 h 98"/>
                <a:gd name="T28" fmla="*/ 2147483647 w 200"/>
                <a:gd name="T29" fmla="*/ 2147483647 h 98"/>
                <a:gd name="T30" fmla="*/ 2147483647 w 200"/>
                <a:gd name="T31" fmla="*/ 2147483647 h 98"/>
                <a:gd name="T32" fmla="*/ 2147483647 w 200"/>
                <a:gd name="T33" fmla="*/ 2147483647 h 98"/>
                <a:gd name="T34" fmla="*/ 2147483647 w 200"/>
                <a:gd name="T35" fmla="*/ 2147483647 h 98"/>
                <a:gd name="T36" fmla="*/ 2147483647 w 200"/>
                <a:gd name="T37" fmla="*/ 2147483647 h 98"/>
                <a:gd name="T38" fmla="*/ 2147483647 w 200"/>
                <a:gd name="T39" fmla="*/ 2147483647 h 98"/>
                <a:gd name="T40" fmla="*/ 2147483647 w 200"/>
                <a:gd name="T41" fmla="*/ 2147483647 h 98"/>
                <a:gd name="T42" fmla="*/ 2147483647 w 200"/>
                <a:gd name="T43" fmla="*/ 2147483647 h 98"/>
                <a:gd name="T44" fmla="*/ 2147483647 w 200"/>
                <a:gd name="T45" fmla="*/ 2147483647 h 98"/>
                <a:gd name="T46" fmla="*/ 2147483647 w 200"/>
                <a:gd name="T47" fmla="*/ 2147483647 h 98"/>
                <a:gd name="T48" fmla="*/ 2147483647 w 200"/>
                <a:gd name="T49" fmla="*/ 2147483647 h 98"/>
                <a:gd name="T50" fmla="*/ 2147483647 w 200"/>
                <a:gd name="T51" fmla="*/ 2147483647 h 98"/>
                <a:gd name="T52" fmla="*/ 2147483647 w 200"/>
                <a:gd name="T53" fmla="*/ 2147483647 h 98"/>
                <a:gd name="T54" fmla="*/ 2147483647 w 200"/>
                <a:gd name="T55" fmla="*/ 2147483647 h 98"/>
                <a:gd name="T56" fmla="*/ 2147483647 w 200"/>
                <a:gd name="T57" fmla="*/ 2147483647 h 98"/>
                <a:gd name="T58" fmla="*/ 2147483647 w 200"/>
                <a:gd name="T59" fmla="*/ 2147483647 h 98"/>
                <a:gd name="T60" fmla="*/ 2147483647 w 200"/>
                <a:gd name="T61" fmla="*/ 2147483647 h 98"/>
                <a:gd name="T62" fmla="*/ 0 w 200"/>
                <a:gd name="T63" fmla="*/ 2147483647 h 98"/>
                <a:gd name="T64" fmla="*/ 2147483647 w 200"/>
                <a:gd name="T65" fmla="*/ 2147483647 h 98"/>
                <a:gd name="T66" fmla="*/ 2147483647 w 200"/>
                <a:gd name="T67" fmla="*/ 2147483647 h 98"/>
                <a:gd name="T68" fmla="*/ 2147483647 w 200"/>
                <a:gd name="T69" fmla="*/ 2147483647 h 98"/>
                <a:gd name="T70" fmla="*/ 2147483647 w 200"/>
                <a:gd name="T71" fmla="*/ 2147483647 h 98"/>
                <a:gd name="T72" fmla="*/ 2147483647 w 200"/>
                <a:gd name="T73" fmla="*/ 2147483647 h 98"/>
                <a:gd name="T74" fmla="*/ 2147483647 w 200"/>
                <a:gd name="T75" fmla="*/ 2147483647 h 98"/>
                <a:gd name="T76" fmla="*/ 2147483647 w 200"/>
                <a:gd name="T77" fmla="*/ 2147483647 h 98"/>
                <a:gd name="T78" fmla="*/ 2147483647 w 200"/>
                <a:gd name="T79" fmla="*/ 2147483647 h 98"/>
                <a:gd name="T80" fmla="*/ 2147483647 w 200"/>
                <a:gd name="T81" fmla="*/ 2147483647 h 98"/>
                <a:gd name="T82" fmla="*/ 2147483647 w 200"/>
                <a:gd name="T83" fmla="*/ 2147483647 h 98"/>
                <a:gd name="T84" fmla="*/ 2147483647 w 200"/>
                <a:gd name="T85" fmla="*/ 2147483647 h 98"/>
                <a:gd name="T86" fmla="*/ 2147483647 w 200"/>
                <a:gd name="T87" fmla="*/ 0 h 98"/>
                <a:gd name="T88" fmla="*/ 2147483647 w 200"/>
                <a:gd name="T89" fmla="*/ 2147483647 h 98"/>
                <a:gd name="T90" fmla="*/ 2147483647 w 200"/>
                <a:gd name="T91" fmla="*/ 2147483647 h 98"/>
                <a:gd name="T92" fmla="*/ 2147483647 w 200"/>
                <a:gd name="T93" fmla="*/ 2147483647 h 98"/>
                <a:gd name="T94" fmla="*/ 2147483647 w 200"/>
                <a:gd name="T95" fmla="*/ 2147483647 h 98"/>
                <a:gd name="T96" fmla="*/ 2147483647 w 200"/>
                <a:gd name="T97" fmla="*/ 2147483647 h 98"/>
                <a:gd name="T98" fmla="*/ 2147483647 w 200"/>
                <a:gd name="T99" fmla="*/ 2147483647 h 98"/>
                <a:gd name="T100" fmla="*/ 2147483647 w 200"/>
                <a:gd name="T101" fmla="*/ 2147483647 h 98"/>
                <a:gd name="T102" fmla="*/ 2147483647 w 200"/>
                <a:gd name="T103" fmla="*/ 2147483647 h 98"/>
                <a:gd name="T104" fmla="*/ 2147483647 w 200"/>
                <a:gd name="T105" fmla="*/ 2147483647 h 98"/>
                <a:gd name="T106" fmla="*/ 2147483647 w 200"/>
                <a:gd name="T107" fmla="*/ 2147483647 h 98"/>
                <a:gd name="T108" fmla="*/ 2147483647 w 200"/>
                <a:gd name="T109" fmla="*/ 2147483647 h 98"/>
                <a:gd name="T110" fmla="*/ 2147483647 w 200"/>
                <a:gd name="T111" fmla="*/ 2147483647 h 98"/>
                <a:gd name="T112" fmla="*/ 2147483647 w 200"/>
                <a:gd name="T113" fmla="*/ 2147483647 h 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00" h="98">
                  <a:moveTo>
                    <a:pt x="200" y="55"/>
                  </a:moveTo>
                  <a:lnTo>
                    <a:pt x="195" y="56"/>
                  </a:lnTo>
                  <a:lnTo>
                    <a:pt x="186" y="60"/>
                  </a:lnTo>
                  <a:lnTo>
                    <a:pt x="177" y="65"/>
                  </a:lnTo>
                  <a:lnTo>
                    <a:pt x="166" y="73"/>
                  </a:lnTo>
                  <a:lnTo>
                    <a:pt x="155" y="80"/>
                  </a:lnTo>
                  <a:lnTo>
                    <a:pt x="145" y="87"/>
                  </a:lnTo>
                  <a:lnTo>
                    <a:pt x="137" y="93"/>
                  </a:lnTo>
                  <a:lnTo>
                    <a:pt x="133" y="98"/>
                  </a:lnTo>
                  <a:lnTo>
                    <a:pt x="127" y="98"/>
                  </a:lnTo>
                  <a:lnTo>
                    <a:pt x="122" y="98"/>
                  </a:lnTo>
                  <a:lnTo>
                    <a:pt x="116" y="97"/>
                  </a:lnTo>
                  <a:lnTo>
                    <a:pt x="111" y="95"/>
                  </a:lnTo>
                  <a:lnTo>
                    <a:pt x="106" y="93"/>
                  </a:lnTo>
                  <a:lnTo>
                    <a:pt x="103" y="88"/>
                  </a:lnTo>
                  <a:lnTo>
                    <a:pt x="101" y="82"/>
                  </a:lnTo>
                  <a:lnTo>
                    <a:pt x="100" y="74"/>
                  </a:lnTo>
                  <a:lnTo>
                    <a:pt x="91" y="80"/>
                  </a:lnTo>
                  <a:lnTo>
                    <a:pt x="82" y="86"/>
                  </a:lnTo>
                  <a:lnTo>
                    <a:pt x="78" y="90"/>
                  </a:lnTo>
                  <a:lnTo>
                    <a:pt x="72" y="93"/>
                  </a:lnTo>
                  <a:lnTo>
                    <a:pt x="67" y="96"/>
                  </a:lnTo>
                  <a:lnTo>
                    <a:pt x="60" y="98"/>
                  </a:lnTo>
                  <a:lnTo>
                    <a:pt x="39" y="98"/>
                  </a:lnTo>
                  <a:lnTo>
                    <a:pt x="34" y="98"/>
                  </a:lnTo>
                  <a:lnTo>
                    <a:pt x="28" y="95"/>
                  </a:lnTo>
                  <a:lnTo>
                    <a:pt x="22" y="92"/>
                  </a:lnTo>
                  <a:lnTo>
                    <a:pt x="15" y="89"/>
                  </a:lnTo>
                  <a:lnTo>
                    <a:pt x="9" y="85"/>
                  </a:lnTo>
                  <a:lnTo>
                    <a:pt x="4" y="81"/>
                  </a:lnTo>
                  <a:lnTo>
                    <a:pt x="1" y="77"/>
                  </a:lnTo>
                  <a:lnTo>
                    <a:pt x="0" y="74"/>
                  </a:lnTo>
                  <a:lnTo>
                    <a:pt x="5" y="71"/>
                  </a:lnTo>
                  <a:lnTo>
                    <a:pt x="10" y="67"/>
                  </a:lnTo>
                  <a:lnTo>
                    <a:pt x="14" y="60"/>
                  </a:lnTo>
                  <a:lnTo>
                    <a:pt x="20" y="53"/>
                  </a:lnTo>
                  <a:lnTo>
                    <a:pt x="23" y="45"/>
                  </a:lnTo>
                  <a:lnTo>
                    <a:pt x="27" y="37"/>
                  </a:lnTo>
                  <a:lnTo>
                    <a:pt x="30" y="28"/>
                  </a:lnTo>
                  <a:lnTo>
                    <a:pt x="33" y="19"/>
                  </a:lnTo>
                  <a:lnTo>
                    <a:pt x="66" y="14"/>
                  </a:lnTo>
                  <a:lnTo>
                    <a:pt x="103" y="9"/>
                  </a:lnTo>
                  <a:lnTo>
                    <a:pt x="145" y="4"/>
                  </a:lnTo>
                  <a:lnTo>
                    <a:pt x="193" y="0"/>
                  </a:lnTo>
                  <a:lnTo>
                    <a:pt x="166" y="31"/>
                  </a:lnTo>
                  <a:lnTo>
                    <a:pt x="166" y="34"/>
                  </a:lnTo>
                  <a:lnTo>
                    <a:pt x="164" y="37"/>
                  </a:lnTo>
                  <a:lnTo>
                    <a:pt x="162" y="39"/>
                  </a:lnTo>
                  <a:lnTo>
                    <a:pt x="161" y="41"/>
                  </a:lnTo>
                  <a:lnTo>
                    <a:pt x="157" y="45"/>
                  </a:lnTo>
                  <a:lnTo>
                    <a:pt x="156" y="47"/>
                  </a:lnTo>
                  <a:lnTo>
                    <a:pt x="156" y="49"/>
                  </a:lnTo>
                  <a:lnTo>
                    <a:pt x="157" y="50"/>
                  </a:lnTo>
                  <a:lnTo>
                    <a:pt x="159" y="50"/>
                  </a:lnTo>
                  <a:lnTo>
                    <a:pt x="163" y="51"/>
                  </a:lnTo>
                  <a:lnTo>
                    <a:pt x="177" y="53"/>
                  </a:lnTo>
                  <a:lnTo>
                    <a:pt x="200" y="55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73" name="Freeform 230"/>
            <p:cNvSpPr>
              <a:spLocks/>
            </p:cNvSpPr>
            <p:nvPr>
              <p:custDataLst>
                <p:tags r:id="rId158"/>
              </p:custDataLst>
            </p:nvPr>
          </p:nvSpPr>
          <p:spPr bwMode="auto">
            <a:xfrm>
              <a:off x="6206169" y="2648389"/>
              <a:ext cx="84138" cy="73025"/>
            </a:xfrm>
            <a:custGeom>
              <a:avLst/>
              <a:gdLst>
                <a:gd name="T0" fmla="*/ 0 w 186"/>
                <a:gd name="T1" fmla="*/ 2147483647 h 142"/>
                <a:gd name="T2" fmla="*/ 2147483647 w 186"/>
                <a:gd name="T3" fmla="*/ 2147483647 h 142"/>
                <a:gd name="T4" fmla="*/ 2147483647 w 186"/>
                <a:gd name="T5" fmla="*/ 2147483647 h 142"/>
                <a:gd name="T6" fmla="*/ 2147483647 w 186"/>
                <a:gd name="T7" fmla="*/ 2147483647 h 142"/>
                <a:gd name="T8" fmla="*/ 2147483647 w 186"/>
                <a:gd name="T9" fmla="*/ 2147483647 h 142"/>
                <a:gd name="T10" fmla="*/ 2147483647 w 186"/>
                <a:gd name="T11" fmla="*/ 2147483647 h 142"/>
                <a:gd name="T12" fmla="*/ 2147483647 w 186"/>
                <a:gd name="T13" fmla="*/ 2147483647 h 142"/>
                <a:gd name="T14" fmla="*/ 2147483647 w 186"/>
                <a:gd name="T15" fmla="*/ 2147483647 h 142"/>
                <a:gd name="T16" fmla="*/ 2147483647 w 186"/>
                <a:gd name="T17" fmla="*/ 2147483647 h 142"/>
                <a:gd name="T18" fmla="*/ 2147483647 w 186"/>
                <a:gd name="T19" fmla="*/ 2147483647 h 142"/>
                <a:gd name="T20" fmla="*/ 2147483647 w 186"/>
                <a:gd name="T21" fmla="*/ 2147483647 h 142"/>
                <a:gd name="T22" fmla="*/ 2147483647 w 186"/>
                <a:gd name="T23" fmla="*/ 2147483647 h 142"/>
                <a:gd name="T24" fmla="*/ 2147483647 w 186"/>
                <a:gd name="T25" fmla="*/ 2147483647 h 142"/>
                <a:gd name="T26" fmla="*/ 2147483647 w 186"/>
                <a:gd name="T27" fmla="*/ 2147483647 h 142"/>
                <a:gd name="T28" fmla="*/ 2147483647 w 186"/>
                <a:gd name="T29" fmla="*/ 2147483647 h 142"/>
                <a:gd name="T30" fmla="*/ 2147483647 w 186"/>
                <a:gd name="T31" fmla="*/ 2147483647 h 142"/>
                <a:gd name="T32" fmla="*/ 2147483647 w 186"/>
                <a:gd name="T33" fmla="*/ 2147483647 h 142"/>
                <a:gd name="T34" fmla="*/ 2147483647 w 186"/>
                <a:gd name="T35" fmla="*/ 2147483647 h 142"/>
                <a:gd name="T36" fmla="*/ 2147483647 w 186"/>
                <a:gd name="T37" fmla="*/ 2147483647 h 142"/>
                <a:gd name="T38" fmla="*/ 2147483647 w 186"/>
                <a:gd name="T39" fmla="*/ 2147483647 h 142"/>
                <a:gd name="T40" fmla="*/ 2147483647 w 186"/>
                <a:gd name="T41" fmla="*/ 2147483647 h 142"/>
                <a:gd name="T42" fmla="*/ 2147483647 w 186"/>
                <a:gd name="T43" fmla="*/ 2147483647 h 142"/>
                <a:gd name="T44" fmla="*/ 2147483647 w 186"/>
                <a:gd name="T45" fmla="*/ 2147483647 h 142"/>
                <a:gd name="T46" fmla="*/ 2147483647 w 186"/>
                <a:gd name="T47" fmla="*/ 2147483647 h 142"/>
                <a:gd name="T48" fmla="*/ 2147483647 w 186"/>
                <a:gd name="T49" fmla="*/ 2147483647 h 142"/>
                <a:gd name="T50" fmla="*/ 2147483647 w 186"/>
                <a:gd name="T51" fmla="*/ 2147483647 h 142"/>
                <a:gd name="T52" fmla="*/ 2147483647 w 186"/>
                <a:gd name="T53" fmla="*/ 2147483647 h 142"/>
                <a:gd name="T54" fmla="*/ 2147483647 w 186"/>
                <a:gd name="T55" fmla="*/ 2147483647 h 142"/>
                <a:gd name="T56" fmla="*/ 2147483647 w 186"/>
                <a:gd name="T57" fmla="*/ 2147483647 h 142"/>
                <a:gd name="T58" fmla="*/ 2147483647 w 186"/>
                <a:gd name="T59" fmla="*/ 2147483647 h 142"/>
                <a:gd name="T60" fmla="*/ 2147483647 w 186"/>
                <a:gd name="T61" fmla="*/ 2147483647 h 142"/>
                <a:gd name="T62" fmla="*/ 2147483647 w 186"/>
                <a:gd name="T63" fmla="*/ 2147483647 h 142"/>
                <a:gd name="T64" fmla="*/ 2147483647 w 186"/>
                <a:gd name="T65" fmla="*/ 2147483647 h 142"/>
                <a:gd name="T66" fmla="*/ 2147483647 w 186"/>
                <a:gd name="T67" fmla="*/ 2147483647 h 142"/>
                <a:gd name="T68" fmla="*/ 2147483647 w 186"/>
                <a:gd name="T69" fmla="*/ 2147483647 h 142"/>
                <a:gd name="T70" fmla="*/ 2147483647 w 186"/>
                <a:gd name="T71" fmla="*/ 2147483647 h 142"/>
                <a:gd name="T72" fmla="*/ 2147483647 w 186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86" h="142">
                  <a:moveTo>
                    <a:pt x="0" y="111"/>
                  </a:moveTo>
                  <a:lnTo>
                    <a:pt x="0" y="112"/>
                  </a:lnTo>
                  <a:lnTo>
                    <a:pt x="1" y="114"/>
                  </a:lnTo>
                  <a:lnTo>
                    <a:pt x="2" y="116"/>
                  </a:lnTo>
                  <a:lnTo>
                    <a:pt x="7" y="117"/>
                  </a:lnTo>
                  <a:lnTo>
                    <a:pt x="3" y="107"/>
                  </a:lnTo>
                  <a:lnTo>
                    <a:pt x="2" y="99"/>
                  </a:lnTo>
                  <a:lnTo>
                    <a:pt x="3" y="93"/>
                  </a:lnTo>
                  <a:lnTo>
                    <a:pt x="6" y="87"/>
                  </a:lnTo>
                  <a:lnTo>
                    <a:pt x="9" y="82"/>
                  </a:lnTo>
                  <a:lnTo>
                    <a:pt x="13" y="76"/>
                  </a:lnTo>
                  <a:lnTo>
                    <a:pt x="17" y="69"/>
                  </a:lnTo>
                  <a:lnTo>
                    <a:pt x="20" y="61"/>
                  </a:lnTo>
                  <a:lnTo>
                    <a:pt x="20" y="56"/>
                  </a:lnTo>
                  <a:lnTo>
                    <a:pt x="21" y="51"/>
                  </a:lnTo>
                  <a:lnTo>
                    <a:pt x="23" y="46"/>
                  </a:lnTo>
                  <a:lnTo>
                    <a:pt x="25" y="42"/>
                  </a:lnTo>
                  <a:lnTo>
                    <a:pt x="28" y="37"/>
                  </a:lnTo>
                  <a:lnTo>
                    <a:pt x="31" y="34"/>
                  </a:lnTo>
                  <a:lnTo>
                    <a:pt x="35" y="32"/>
                  </a:lnTo>
                  <a:lnTo>
                    <a:pt x="40" y="31"/>
                  </a:lnTo>
                  <a:lnTo>
                    <a:pt x="41" y="38"/>
                  </a:lnTo>
                  <a:lnTo>
                    <a:pt x="41" y="43"/>
                  </a:lnTo>
                  <a:lnTo>
                    <a:pt x="43" y="49"/>
                  </a:lnTo>
                  <a:lnTo>
                    <a:pt x="45" y="54"/>
                  </a:lnTo>
                  <a:lnTo>
                    <a:pt x="47" y="58"/>
                  </a:lnTo>
                  <a:lnTo>
                    <a:pt x="51" y="62"/>
                  </a:lnTo>
                  <a:lnTo>
                    <a:pt x="55" y="65"/>
                  </a:lnTo>
                  <a:lnTo>
                    <a:pt x="59" y="67"/>
                  </a:lnTo>
                  <a:lnTo>
                    <a:pt x="87" y="67"/>
                  </a:lnTo>
                  <a:lnTo>
                    <a:pt x="87" y="43"/>
                  </a:lnTo>
                  <a:lnTo>
                    <a:pt x="79" y="41"/>
                  </a:lnTo>
                  <a:lnTo>
                    <a:pt x="74" y="38"/>
                  </a:lnTo>
                  <a:lnTo>
                    <a:pt x="69" y="36"/>
                  </a:lnTo>
                  <a:lnTo>
                    <a:pt x="66" y="33"/>
                  </a:lnTo>
                  <a:lnTo>
                    <a:pt x="63" y="30"/>
                  </a:lnTo>
                  <a:lnTo>
                    <a:pt x="62" y="27"/>
                  </a:lnTo>
                  <a:lnTo>
                    <a:pt x="61" y="23"/>
                  </a:lnTo>
                  <a:lnTo>
                    <a:pt x="59" y="18"/>
                  </a:lnTo>
                  <a:lnTo>
                    <a:pt x="70" y="17"/>
                  </a:lnTo>
                  <a:lnTo>
                    <a:pt x="79" y="16"/>
                  </a:lnTo>
                  <a:lnTo>
                    <a:pt x="87" y="14"/>
                  </a:lnTo>
                  <a:lnTo>
                    <a:pt x="92" y="12"/>
                  </a:lnTo>
                  <a:lnTo>
                    <a:pt x="98" y="10"/>
                  </a:lnTo>
                  <a:lnTo>
                    <a:pt x="103" y="8"/>
                  </a:lnTo>
                  <a:lnTo>
                    <a:pt x="111" y="6"/>
                  </a:lnTo>
                  <a:lnTo>
                    <a:pt x="120" y="6"/>
                  </a:lnTo>
                  <a:lnTo>
                    <a:pt x="130" y="3"/>
                  </a:lnTo>
                  <a:lnTo>
                    <a:pt x="140" y="0"/>
                  </a:lnTo>
                  <a:lnTo>
                    <a:pt x="147" y="1"/>
                  </a:lnTo>
                  <a:lnTo>
                    <a:pt x="154" y="2"/>
                  </a:lnTo>
                  <a:lnTo>
                    <a:pt x="159" y="2"/>
                  </a:lnTo>
                  <a:lnTo>
                    <a:pt x="165" y="2"/>
                  </a:lnTo>
                  <a:lnTo>
                    <a:pt x="176" y="1"/>
                  </a:lnTo>
                  <a:lnTo>
                    <a:pt x="186" y="0"/>
                  </a:lnTo>
                  <a:lnTo>
                    <a:pt x="183" y="10"/>
                  </a:lnTo>
                  <a:lnTo>
                    <a:pt x="181" y="19"/>
                  </a:lnTo>
                  <a:lnTo>
                    <a:pt x="178" y="26"/>
                  </a:lnTo>
                  <a:lnTo>
                    <a:pt x="176" y="32"/>
                  </a:lnTo>
                  <a:lnTo>
                    <a:pt x="169" y="40"/>
                  </a:lnTo>
                  <a:lnTo>
                    <a:pt x="165" y="45"/>
                  </a:lnTo>
                  <a:lnTo>
                    <a:pt x="159" y="51"/>
                  </a:lnTo>
                  <a:lnTo>
                    <a:pt x="156" y="58"/>
                  </a:lnTo>
                  <a:lnTo>
                    <a:pt x="155" y="63"/>
                  </a:lnTo>
                  <a:lnTo>
                    <a:pt x="154" y="69"/>
                  </a:lnTo>
                  <a:lnTo>
                    <a:pt x="153" y="76"/>
                  </a:lnTo>
                  <a:lnTo>
                    <a:pt x="153" y="86"/>
                  </a:lnTo>
                  <a:lnTo>
                    <a:pt x="120" y="142"/>
                  </a:lnTo>
                  <a:lnTo>
                    <a:pt x="93" y="123"/>
                  </a:lnTo>
                  <a:lnTo>
                    <a:pt x="80" y="122"/>
                  </a:lnTo>
                  <a:lnTo>
                    <a:pt x="52" y="119"/>
                  </a:lnTo>
                  <a:lnTo>
                    <a:pt x="35" y="117"/>
                  </a:lnTo>
                  <a:lnTo>
                    <a:pt x="20" y="115"/>
                  </a:lnTo>
                  <a:lnTo>
                    <a:pt x="8" y="113"/>
                  </a:lnTo>
                  <a:lnTo>
                    <a:pt x="0" y="111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74" name="Freeform 231"/>
            <p:cNvSpPr>
              <a:spLocks/>
            </p:cNvSpPr>
            <p:nvPr>
              <p:custDataLst>
                <p:tags r:id="rId159"/>
              </p:custDataLst>
            </p:nvPr>
          </p:nvSpPr>
          <p:spPr bwMode="auto">
            <a:xfrm>
              <a:off x="6187119" y="2711889"/>
              <a:ext cx="84138" cy="57150"/>
            </a:xfrm>
            <a:custGeom>
              <a:avLst/>
              <a:gdLst>
                <a:gd name="T0" fmla="*/ 2147483647 w 192"/>
                <a:gd name="T1" fmla="*/ 2147483647 h 105"/>
                <a:gd name="T2" fmla="*/ 2147483647 w 192"/>
                <a:gd name="T3" fmla="*/ 2147483647 h 105"/>
                <a:gd name="T4" fmla="*/ 2147483647 w 192"/>
                <a:gd name="T5" fmla="*/ 2147483647 h 105"/>
                <a:gd name="T6" fmla="*/ 2147483647 w 192"/>
                <a:gd name="T7" fmla="*/ 2147483647 h 105"/>
                <a:gd name="T8" fmla="*/ 2147483647 w 192"/>
                <a:gd name="T9" fmla="*/ 2147483647 h 105"/>
                <a:gd name="T10" fmla="*/ 2147483647 w 192"/>
                <a:gd name="T11" fmla="*/ 2147483647 h 105"/>
                <a:gd name="T12" fmla="*/ 2147483647 w 192"/>
                <a:gd name="T13" fmla="*/ 2147483647 h 105"/>
                <a:gd name="T14" fmla="*/ 2147483647 w 192"/>
                <a:gd name="T15" fmla="*/ 2147483647 h 105"/>
                <a:gd name="T16" fmla="*/ 2147483647 w 192"/>
                <a:gd name="T17" fmla="*/ 2147483647 h 105"/>
                <a:gd name="T18" fmla="*/ 2147483647 w 192"/>
                <a:gd name="T19" fmla="*/ 2147483647 h 105"/>
                <a:gd name="T20" fmla="*/ 2147483647 w 192"/>
                <a:gd name="T21" fmla="*/ 2147483647 h 105"/>
                <a:gd name="T22" fmla="*/ 2147483647 w 192"/>
                <a:gd name="T23" fmla="*/ 2147483647 h 105"/>
                <a:gd name="T24" fmla="*/ 2147483647 w 192"/>
                <a:gd name="T25" fmla="*/ 2147483647 h 105"/>
                <a:gd name="T26" fmla="*/ 2147483647 w 192"/>
                <a:gd name="T27" fmla="*/ 2147483647 h 105"/>
                <a:gd name="T28" fmla="*/ 2147483647 w 192"/>
                <a:gd name="T29" fmla="*/ 2147483647 h 105"/>
                <a:gd name="T30" fmla="*/ 2147483647 w 192"/>
                <a:gd name="T31" fmla="*/ 2147483647 h 105"/>
                <a:gd name="T32" fmla="*/ 2147483647 w 192"/>
                <a:gd name="T33" fmla="*/ 2147483647 h 105"/>
                <a:gd name="T34" fmla="*/ 2147483647 w 192"/>
                <a:gd name="T35" fmla="*/ 2147483647 h 105"/>
                <a:gd name="T36" fmla="*/ 0 w 192"/>
                <a:gd name="T37" fmla="*/ 2147483647 h 105"/>
                <a:gd name="T38" fmla="*/ 0 w 192"/>
                <a:gd name="T39" fmla="*/ 2147483647 h 105"/>
                <a:gd name="T40" fmla="*/ 2147483647 w 192"/>
                <a:gd name="T41" fmla="*/ 2147483647 h 105"/>
                <a:gd name="T42" fmla="*/ 2147483647 w 192"/>
                <a:gd name="T43" fmla="*/ 2147483647 h 105"/>
                <a:gd name="T44" fmla="*/ 2147483647 w 192"/>
                <a:gd name="T45" fmla="*/ 2147483647 h 105"/>
                <a:gd name="T46" fmla="*/ 2147483647 w 192"/>
                <a:gd name="T47" fmla="*/ 0 h 105"/>
                <a:gd name="T48" fmla="*/ 2147483647 w 192"/>
                <a:gd name="T49" fmla="*/ 2147483647 h 105"/>
                <a:gd name="T50" fmla="*/ 2147483647 w 192"/>
                <a:gd name="T51" fmla="*/ 2147483647 h 105"/>
                <a:gd name="T52" fmla="*/ 2147483647 w 192"/>
                <a:gd name="T53" fmla="*/ 2147483647 h 105"/>
                <a:gd name="T54" fmla="*/ 2147483647 w 192"/>
                <a:gd name="T55" fmla="*/ 2147483647 h 105"/>
                <a:gd name="T56" fmla="*/ 2147483647 w 192"/>
                <a:gd name="T57" fmla="*/ 2147483647 h 105"/>
                <a:gd name="T58" fmla="*/ 2147483647 w 192"/>
                <a:gd name="T59" fmla="*/ 2147483647 h 105"/>
                <a:gd name="T60" fmla="*/ 2147483647 w 192"/>
                <a:gd name="T61" fmla="*/ 2147483647 h 105"/>
                <a:gd name="T62" fmla="*/ 2147483647 w 192"/>
                <a:gd name="T63" fmla="*/ 2147483647 h 105"/>
                <a:gd name="T64" fmla="*/ 2147483647 w 192"/>
                <a:gd name="T65" fmla="*/ 2147483647 h 105"/>
                <a:gd name="T66" fmla="*/ 2147483647 w 192"/>
                <a:gd name="T67" fmla="*/ 2147483647 h 105"/>
                <a:gd name="T68" fmla="*/ 2147483647 w 192"/>
                <a:gd name="T69" fmla="*/ 2147483647 h 105"/>
                <a:gd name="T70" fmla="*/ 2147483647 w 192"/>
                <a:gd name="T71" fmla="*/ 2147483647 h 105"/>
                <a:gd name="T72" fmla="*/ 2147483647 w 192"/>
                <a:gd name="T73" fmla="*/ 2147483647 h 105"/>
                <a:gd name="T74" fmla="*/ 2147483647 w 192"/>
                <a:gd name="T75" fmla="*/ 2147483647 h 105"/>
                <a:gd name="T76" fmla="*/ 2147483647 w 192"/>
                <a:gd name="T77" fmla="*/ 2147483647 h 105"/>
                <a:gd name="T78" fmla="*/ 2147483647 w 192"/>
                <a:gd name="T79" fmla="*/ 2147483647 h 105"/>
                <a:gd name="T80" fmla="*/ 2147483647 w 192"/>
                <a:gd name="T81" fmla="*/ 2147483647 h 105"/>
                <a:gd name="T82" fmla="*/ 2147483647 w 192"/>
                <a:gd name="T83" fmla="*/ 2147483647 h 105"/>
                <a:gd name="T84" fmla="*/ 2147483647 w 192"/>
                <a:gd name="T85" fmla="*/ 2147483647 h 10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92" h="105">
                  <a:moveTo>
                    <a:pt x="192" y="61"/>
                  </a:moveTo>
                  <a:lnTo>
                    <a:pt x="189" y="62"/>
                  </a:lnTo>
                  <a:lnTo>
                    <a:pt x="184" y="63"/>
                  </a:lnTo>
                  <a:lnTo>
                    <a:pt x="180" y="64"/>
                  </a:lnTo>
                  <a:lnTo>
                    <a:pt x="177" y="67"/>
                  </a:lnTo>
                  <a:lnTo>
                    <a:pt x="168" y="72"/>
                  </a:lnTo>
                  <a:lnTo>
                    <a:pt x="160" y="79"/>
                  </a:lnTo>
                  <a:lnTo>
                    <a:pt x="154" y="86"/>
                  </a:lnTo>
                  <a:lnTo>
                    <a:pt x="147" y="93"/>
                  </a:lnTo>
                  <a:lnTo>
                    <a:pt x="143" y="99"/>
                  </a:lnTo>
                  <a:lnTo>
                    <a:pt x="139" y="105"/>
                  </a:lnTo>
                  <a:lnTo>
                    <a:pt x="120" y="97"/>
                  </a:lnTo>
                  <a:lnTo>
                    <a:pt x="102" y="89"/>
                  </a:lnTo>
                  <a:lnTo>
                    <a:pt x="86" y="80"/>
                  </a:lnTo>
                  <a:lnTo>
                    <a:pt x="69" y="71"/>
                  </a:lnTo>
                  <a:lnTo>
                    <a:pt x="53" y="61"/>
                  </a:lnTo>
                  <a:lnTo>
                    <a:pt x="36" y="53"/>
                  </a:lnTo>
                  <a:lnTo>
                    <a:pt x="19" y="44"/>
                  </a:lnTo>
                  <a:lnTo>
                    <a:pt x="0" y="37"/>
                  </a:lnTo>
                  <a:lnTo>
                    <a:pt x="0" y="13"/>
                  </a:lnTo>
                  <a:lnTo>
                    <a:pt x="7" y="7"/>
                  </a:lnTo>
                  <a:lnTo>
                    <a:pt x="16" y="4"/>
                  </a:lnTo>
                  <a:lnTo>
                    <a:pt x="29" y="1"/>
                  </a:lnTo>
                  <a:lnTo>
                    <a:pt x="40" y="0"/>
                  </a:lnTo>
                  <a:lnTo>
                    <a:pt x="60" y="2"/>
                  </a:lnTo>
                  <a:lnTo>
                    <a:pt x="93" y="5"/>
                  </a:lnTo>
                  <a:lnTo>
                    <a:pt x="111" y="7"/>
                  </a:lnTo>
                  <a:lnTo>
                    <a:pt x="128" y="7"/>
                  </a:lnTo>
                  <a:lnTo>
                    <a:pt x="143" y="7"/>
                  </a:lnTo>
                  <a:lnTo>
                    <a:pt x="153" y="6"/>
                  </a:lnTo>
                  <a:lnTo>
                    <a:pt x="155" y="11"/>
                  </a:lnTo>
                  <a:lnTo>
                    <a:pt x="159" y="17"/>
                  </a:lnTo>
                  <a:lnTo>
                    <a:pt x="161" y="20"/>
                  </a:lnTo>
                  <a:lnTo>
                    <a:pt x="164" y="23"/>
                  </a:lnTo>
                  <a:lnTo>
                    <a:pt x="165" y="27"/>
                  </a:lnTo>
                  <a:lnTo>
                    <a:pt x="166" y="31"/>
                  </a:lnTo>
                  <a:lnTo>
                    <a:pt x="170" y="32"/>
                  </a:lnTo>
                  <a:lnTo>
                    <a:pt x="177" y="33"/>
                  </a:lnTo>
                  <a:lnTo>
                    <a:pt x="180" y="34"/>
                  </a:lnTo>
                  <a:lnTo>
                    <a:pt x="183" y="34"/>
                  </a:lnTo>
                  <a:lnTo>
                    <a:pt x="188" y="33"/>
                  </a:lnTo>
                  <a:lnTo>
                    <a:pt x="192" y="31"/>
                  </a:lnTo>
                  <a:lnTo>
                    <a:pt x="192" y="61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75" name="Freeform 232"/>
            <p:cNvSpPr>
              <a:spLocks/>
            </p:cNvSpPr>
            <p:nvPr>
              <p:custDataLst>
                <p:tags r:id="rId160"/>
              </p:custDataLst>
            </p:nvPr>
          </p:nvSpPr>
          <p:spPr bwMode="auto">
            <a:xfrm>
              <a:off x="6947532" y="3265927"/>
              <a:ext cx="33337" cy="131762"/>
            </a:xfrm>
            <a:custGeom>
              <a:avLst/>
              <a:gdLst>
                <a:gd name="T0" fmla="*/ 2147483647 w 80"/>
                <a:gd name="T1" fmla="*/ 0 h 254"/>
                <a:gd name="T2" fmla="*/ 2147483647 w 80"/>
                <a:gd name="T3" fmla="*/ 2147483647 h 254"/>
                <a:gd name="T4" fmla="*/ 2147483647 w 80"/>
                <a:gd name="T5" fmla="*/ 2147483647 h 254"/>
                <a:gd name="T6" fmla="*/ 2147483647 w 80"/>
                <a:gd name="T7" fmla="*/ 2147483647 h 254"/>
                <a:gd name="T8" fmla="*/ 2147483647 w 80"/>
                <a:gd name="T9" fmla="*/ 2147483647 h 254"/>
                <a:gd name="T10" fmla="*/ 2147483647 w 80"/>
                <a:gd name="T11" fmla="*/ 2147483647 h 254"/>
                <a:gd name="T12" fmla="*/ 2147483647 w 80"/>
                <a:gd name="T13" fmla="*/ 2147483647 h 254"/>
                <a:gd name="T14" fmla="*/ 2147483647 w 80"/>
                <a:gd name="T15" fmla="*/ 2147483647 h 254"/>
                <a:gd name="T16" fmla="*/ 2147483647 w 80"/>
                <a:gd name="T17" fmla="*/ 2147483647 h 254"/>
                <a:gd name="T18" fmla="*/ 2147483647 w 80"/>
                <a:gd name="T19" fmla="*/ 2147483647 h 254"/>
                <a:gd name="T20" fmla="*/ 2147483647 w 80"/>
                <a:gd name="T21" fmla="*/ 2147483647 h 254"/>
                <a:gd name="T22" fmla="*/ 2147483647 w 80"/>
                <a:gd name="T23" fmla="*/ 2147483647 h 254"/>
                <a:gd name="T24" fmla="*/ 2147483647 w 80"/>
                <a:gd name="T25" fmla="*/ 2147483647 h 254"/>
                <a:gd name="T26" fmla="*/ 2147483647 w 80"/>
                <a:gd name="T27" fmla="*/ 2147483647 h 254"/>
                <a:gd name="T28" fmla="*/ 2147483647 w 80"/>
                <a:gd name="T29" fmla="*/ 2147483647 h 254"/>
                <a:gd name="T30" fmla="*/ 2147483647 w 80"/>
                <a:gd name="T31" fmla="*/ 2147483647 h 254"/>
                <a:gd name="T32" fmla="*/ 0 w 80"/>
                <a:gd name="T33" fmla="*/ 2147483647 h 254"/>
                <a:gd name="T34" fmla="*/ 2147483647 w 80"/>
                <a:gd name="T35" fmla="*/ 2147483647 h 254"/>
                <a:gd name="T36" fmla="*/ 2147483647 w 80"/>
                <a:gd name="T37" fmla="*/ 2147483647 h 254"/>
                <a:gd name="T38" fmla="*/ 2147483647 w 80"/>
                <a:gd name="T39" fmla="*/ 2147483647 h 254"/>
                <a:gd name="T40" fmla="*/ 2147483647 w 80"/>
                <a:gd name="T41" fmla="*/ 2147483647 h 254"/>
                <a:gd name="T42" fmla="*/ 2147483647 w 80"/>
                <a:gd name="T43" fmla="*/ 2147483647 h 254"/>
                <a:gd name="T44" fmla="*/ 2147483647 w 80"/>
                <a:gd name="T45" fmla="*/ 0 h 25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80" h="254">
                  <a:moveTo>
                    <a:pt x="33" y="0"/>
                  </a:moveTo>
                  <a:lnTo>
                    <a:pt x="37" y="2"/>
                  </a:lnTo>
                  <a:lnTo>
                    <a:pt x="40" y="4"/>
                  </a:lnTo>
                  <a:lnTo>
                    <a:pt x="43" y="7"/>
                  </a:lnTo>
                  <a:lnTo>
                    <a:pt x="46" y="10"/>
                  </a:lnTo>
                  <a:lnTo>
                    <a:pt x="52" y="18"/>
                  </a:lnTo>
                  <a:lnTo>
                    <a:pt x="56" y="25"/>
                  </a:lnTo>
                  <a:lnTo>
                    <a:pt x="62" y="32"/>
                  </a:lnTo>
                  <a:lnTo>
                    <a:pt x="67" y="38"/>
                  </a:lnTo>
                  <a:lnTo>
                    <a:pt x="70" y="40"/>
                  </a:lnTo>
                  <a:lnTo>
                    <a:pt x="73" y="42"/>
                  </a:lnTo>
                  <a:lnTo>
                    <a:pt x="76" y="43"/>
                  </a:lnTo>
                  <a:lnTo>
                    <a:pt x="80" y="44"/>
                  </a:lnTo>
                  <a:lnTo>
                    <a:pt x="80" y="53"/>
                  </a:lnTo>
                  <a:lnTo>
                    <a:pt x="80" y="62"/>
                  </a:lnTo>
                  <a:lnTo>
                    <a:pt x="53" y="254"/>
                  </a:lnTo>
                  <a:lnTo>
                    <a:pt x="0" y="93"/>
                  </a:lnTo>
                  <a:lnTo>
                    <a:pt x="4" y="88"/>
                  </a:lnTo>
                  <a:lnTo>
                    <a:pt x="11" y="71"/>
                  </a:lnTo>
                  <a:lnTo>
                    <a:pt x="17" y="57"/>
                  </a:lnTo>
                  <a:lnTo>
                    <a:pt x="22" y="41"/>
                  </a:lnTo>
                  <a:lnTo>
                    <a:pt x="28" y="23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76" name="Freeform 233"/>
            <p:cNvSpPr>
              <a:spLocks/>
            </p:cNvSpPr>
            <p:nvPr>
              <p:custDataLst>
                <p:tags r:id="rId161"/>
              </p:custDataLst>
            </p:nvPr>
          </p:nvSpPr>
          <p:spPr bwMode="auto">
            <a:xfrm>
              <a:off x="6896732" y="3318314"/>
              <a:ext cx="69850" cy="130175"/>
            </a:xfrm>
            <a:custGeom>
              <a:avLst/>
              <a:gdLst>
                <a:gd name="T0" fmla="*/ 2147483647 w 167"/>
                <a:gd name="T1" fmla="*/ 0 h 259"/>
                <a:gd name="T2" fmla="*/ 2147483647 w 167"/>
                <a:gd name="T3" fmla="*/ 2147483647 h 259"/>
                <a:gd name="T4" fmla="*/ 2147483647 w 167"/>
                <a:gd name="T5" fmla="*/ 2147483647 h 259"/>
                <a:gd name="T6" fmla="*/ 2147483647 w 167"/>
                <a:gd name="T7" fmla="*/ 2147483647 h 259"/>
                <a:gd name="T8" fmla="*/ 2147483647 w 167"/>
                <a:gd name="T9" fmla="*/ 2147483647 h 259"/>
                <a:gd name="T10" fmla="*/ 2147483647 w 167"/>
                <a:gd name="T11" fmla="*/ 2147483647 h 259"/>
                <a:gd name="T12" fmla="*/ 2147483647 w 167"/>
                <a:gd name="T13" fmla="*/ 2147483647 h 259"/>
                <a:gd name="T14" fmla="*/ 2147483647 w 167"/>
                <a:gd name="T15" fmla="*/ 2147483647 h 259"/>
                <a:gd name="T16" fmla="*/ 2147483647 w 167"/>
                <a:gd name="T17" fmla="*/ 2147483647 h 259"/>
                <a:gd name="T18" fmla="*/ 2147483647 w 167"/>
                <a:gd name="T19" fmla="*/ 2147483647 h 259"/>
                <a:gd name="T20" fmla="*/ 2147483647 w 167"/>
                <a:gd name="T21" fmla="*/ 2147483647 h 259"/>
                <a:gd name="T22" fmla="*/ 2147483647 w 167"/>
                <a:gd name="T23" fmla="*/ 2147483647 h 259"/>
                <a:gd name="T24" fmla="*/ 2147483647 w 167"/>
                <a:gd name="T25" fmla="*/ 2147483647 h 259"/>
                <a:gd name="T26" fmla="*/ 2147483647 w 167"/>
                <a:gd name="T27" fmla="*/ 2147483647 h 259"/>
                <a:gd name="T28" fmla="*/ 2147483647 w 167"/>
                <a:gd name="T29" fmla="*/ 2147483647 h 259"/>
                <a:gd name="T30" fmla="*/ 2147483647 w 167"/>
                <a:gd name="T31" fmla="*/ 2147483647 h 259"/>
                <a:gd name="T32" fmla="*/ 2147483647 w 167"/>
                <a:gd name="T33" fmla="*/ 2147483647 h 259"/>
                <a:gd name="T34" fmla="*/ 2147483647 w 167"/>
                <a:gd name="T35" fmla="*/ 2147483647 h 259"/>
                <a:gd name="T36" fmla="*/ 2147483647 w 167"/>
                <a:gd name="T37" fmla="*/ 2147483647 h 259"/>
                <a:gd name="T38" fmla="*/ 2147483647 w 167"/>
                <a:gd name="T39" fmla="*/ 2147483647 h 259"/>
                <a:gd name="T40" fmla="*/ 2147483647 w 167"/>
                <a:gd name="T41" fmla="*/ 2147483647 h 259"/>
                <a:gd name="T42" fmla="*/ 2147483647 w 167"/>
                <a:gd name="T43" fmla="*/ 2147483647 h 259"/>
                <a:gd name="T44" fmla="*/ 2147483647 w 167"/>
                <a:gd name="T45" fmla="*/ 2147483647 h 259"/>
                <a:gd name="T46" fmla="*/ 2147483647 w 167"/>
                <a:gd name="T47" fmla="*/ 2147483647 h 259"/>
                <a:gd name="T48" fmla="*/ 2147483647 w 167"/>
                <a:gd name="T49" fmla="*/ 2147483647 h 259"/>
                <a:gd name="T50" fmla="*/ 2147483647 w 167"/>
                <a:gd name="T51" fmla="*/ 2147483647 h 259"/>
                <a:gd name="T52" fmla="*/ 2147483647 w 167"/>
                <a:gd name="T53" fmla="*/ 2147483647 h 259"/>
                <a:gd name="T54" fmla="*/ 2147483647 w 167"/>
                <a:gd name="T55" fmla="*/ 2147483647 h 259"/>
                <a:gd name="T56" fmla="*/ 2147483647 w 167"/>
                <a:gd name="T57" fmla="*/ 2147483647 h 259"/>
                <a:gd name="T58" fmla="*/ 2147483647 w 167"/>
                <a:gd name="T59" fmla="*/ 2147483647 h 259"/>
                <a:gd name="T60" fmla="*/ 2147483647 w 167"/>
                <a:gd name="T61" fmla="*/ 2147483647 h 259"/>
                <a:gd name="T62" fmla="*/ 2147483647 w 167"/>
                <a:gd name="T63" fmla="*/ 2147483647 h 259"/>
                <a:gd name="T64" fmla="*/ 2147483647 w 167"/>
                <a:gd name="T65" fmla="*/ 2147483647 h 259"/>
                <a:gd name="T66" fmla="*/ 0 w 167"/>
                <a:gd name="T67" fmla="*/ 2147483647 h 259"/>
                <a:gd name="T68" fmla="*/ 0 w 167"/>
                <a:gd name="T69" fmla="*/ 2147483647 h 259"/>
                <a:gd name="T70" fmla="*/ 0 w 167"/>
                <a:gd name="T71" fmla="*/ 2147483647 h 259"/>
                <a:gd name="T72" fmla="*/ 2147483647 w 167"/>
                <a:gd name="T73" fmla="*/ 2147483647 h 259"/>
                <a:gd name="T74" fmla="*/ 2147483647 w 167"/>
                <a:gd name="T75" fmla="*/ 2147483647 h 259"/>
                <a:gd name="T76" fmla="*/ 2147483647 w 167"/>
                <a:gd name="T77" fmla="*/ 2147483647 h 259"/>
                <a:gd name="T78" fmla="*/ 2147483647 w 167"/>
                <a:gd name="T79" fmla="*/ 2147483647 h 259"/>
                <a:gd name="T80" fmla="*/ 2147483647 w 167"/>
                <a:gd name="T81" fmla="*/ 2147483647 h 259"/>
                <a:gd name="T82" fmla="*/ 2147483647 w 167"/>
                <a:gd name="T83" fmla="*/ 2147483647 h 259"/>
                <a:gd name="T84" fmla="*/ 2147483647 w 167"/>
                <a:gd name="T85" fmla="*/ 2147483647 h 259"/>
                <a:gd name="T86" fmla="*/ 2147483647 w 167"/>
                <a:gd name="T87" fmla="*/ 2147483647 h 259"/>
                <a:gd name="T88" fmla="*/ 2147483647 w 167"/>
                <a:gd name="T89" fmla="*/ 2147483647 h 259"/>
                <a:gd name="T90" fmla="*/ 2147483647 w 167"/>
                <a:gd name="T91" fmla="*/ 2147483647 h 259"/>
                <a:gd name="T92" fmla="*/ 2147483647 w 167"/>
                <a:gd name="T93" fmla="*/ 2147483647 h 259"/>
                <a:gd name="T94" fmla="*/ 2147483647 w 167"/>
                <a:gd name="T95" fmla="*/ 2147483647 h 259"/>
                <a:gd name="T96" fmla="*/ 2147483647 w 167"/>
                <a:gd name="T97" fmla="*/ 2147483647 h 259"/>
                <a:gd name="T98" fmla="*/ 2147483647 w 167"/>
                <a:gd name="T99" fmla="*/ 2147483647 h 259"/>
                <a:gd name="T100" fmla="*/ 2147483647 w 167"/>
                <a:gd name="T101" fmla="*/ 0 h 25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7" h="259">
                  <a:moveTo>
                    <a:pt x="114" y="0"/>
                  </a:moveTo>
                  <a:lnTo>
                    <a:pt x="167" y="155"/>
                  </a:lnTo>
                  <a:lnTo>
                    <a:pt x="121" y="259"/>
                  </a:lnTo>
                  <a:lnTo>
                    <a:pt x="113" y="259"/>
                  </a:lnTo>
                  <a:lnTo>
                    <a:pt x="107" y="257"/>
                  </a:lnTo>
                  <a:lnTo>
                    <a:pt x="100" y="254"/>
                  </a:lnTo>
                  <a:lnTo>
                    <a:pt x="95" y="251"/>
                  </a:lnTo>
                  <a:lnTo>
                    <a:pt x="89" y="245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6" y="229"/>
                  </a:lnTo>
                  <a:lnTo>
                    <a:pt x="69" y="217"/>
                  </a:lnTo>
                  <a:lnTo>
                    <a:pt x="65" y="205"/>
                  </a:lnTo>
                  <a:lnTo>
                    <a:pt x="62" y="194"/>
                  </a:lnTo>
                  <a:lnTo>
                    <a:pt x="62" y="185"/>
                  </a:lnTo>
                  <a:lnTo>
                    <a:pt x="55" y="184"/>
                  </a:lnTo>
                  <a:lnTo>
                    <a:pt x="51" y="183"/>
                  </a:lnTo>
                  <a:lnTo>
                    <a:pt x="45" y="182"/>
                  </a:lnTo>
                  <a:lnTo>
                    <a:pt x="42" y="180"/>
                  </a:lnTo>
                  <a:lnTo>
                    <a:pt x="39" y="177"/>
                  </a:lnTo>
                  <a:lnTo>
                    <a:pt x="36" y="174"/>
                  </a:lnTo>
                  <a:lnTo>
                    <a:pt x="34" y="170"/>
                  </a:lnTo>
                  <a:lnTo>
                    <a:pt x="32" y="167"/>
                  </a:lnTo>
                  <a:lnTo>
                    <a:pt x="30" y="158"/>
                  </a:lnTo>
                  <a:lnTo>
                    <a:pt x="29" y="149"/>
                  </a:lnTo>
                  <a:lnTo>
                    <a:pt x="28" y="140"/>
                  </a:lnTo>
                  <a:lnTo>
                    <a:pt x="28" y="129"/>
                  </a:lnTo>
                  <a:lnTo>
                    <a:pt x="21" y="129"/>
                  </a:lnTo>
                  <a:lnTo>
                    <a:pt x="16" y="127"/>
                  </a:lnTo>
                  <a:lnTo>
                    <a:pt x="11" y="125"/>
                  </a:lnTo>
                  <a:lnTo>
                    <a:pt x="7" y="121"/>
                  </a:lnTo>
                  <a:lnTo>
                    <a:pt x="5" y="117"/>
                  </a:lnTo>
                  <a:lnTo>
                    <a:pt x="2" y="112"/>
                  </a:lnTo>
                  <a:lnTo>
                    <a:pt x="0" y="107"/>
                  </a:lnTo>
                  <a:lnTo>
                    <a:pt x="0" y="101"/>
                  </a:lnTo>
                  <a:lnTo>
                    <a:pt x="0" y="75"/>
                  </a:lnTo>
                  <a:lnTo>
                    <a:pt x="1" y="50"/>
                  </a:lnTo>
                  <a:lnTo>
                    <a:pt x="12" y="52"/>
                  </a:lnTo>
                  <a:lnTo>
                    <a:pt x="22" y="53"/>
                  </a:lnTo>
                  <a:lnTo>
                    <a:pt x="32" y="53"/>
                  </a:lnTo>
                  <a:lnTo>
                    <a:pt x="42" y="52"/>
                  </a:lnTo>
                  <a:lnTo>
                    <a:pt x="50" y="51"/>
                  </a:lnTo>
                  <a:lnTo>
                    <a:pt x="58" y="49"/>
                  </a:lnTo>
                  <a:lnTo>
                    <a:pt x="66" y="47"/>
                  </a:lnTo>
                  <a:lnTo>
                    <a:pt x="73" y="44"/>
                  </a:lnTo>
                  <a:lnTo>
                    <a:pt x="79" y="40"/>
                  </a:lnTo>
                  <a:lnTo>
                    <a:pt x="86" y="36"/>
                  </a:lnTo>
                  <a:lnTo>
                    <a:pt x="91" y="31"/>
                  </a:lnTo>
                  <a:lnTo>
                    <a:pt x="97" y="26"/>
                  </a:lnTo>
                  <a:lnTo>
                    <a:pt x="107" y="13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236" name="Freeform 234"/>
            <p:cNvSpPr>
              <a:spLocks/>
            </p:cNvSpPr>
            <p:nvPr>
              <p:custDataLst>
                <p:tags r:id="rId162"/>
              </p:custDataLst>
            </p:nvPr>
          </p:nvSpPr>
          <p:spPr bwMode="auto">
            <a:xfrm>
              <a:off x="5898744" y="2572420"/>
              <a:ext cx="95757" cy="145065"/>
            </a:xfrm>
            <a:custGeom>
              <a:avLst/>
              <a:gdLst>
                <a:gd name="T0" fmla="*/ 185 w 225"/>
                <a:gd name="T1" fmla="*/ 67 h 273"/>
                <a:gd name="T2" fmla="*/ 173 w 225"/>
                <a:gd name="T3" fmla="*/ 78 h 273"/>
                <a:gd name="T4" fmla="*/ 159 w 225"/>
                <a:gd name="T5" fmla="*/ 82 h 273"/>
                <a:gd name="T6" fmla="*/ 163 w 225"/>
                <a:gd name="T7" fmla="*/ 93 h 273"/>
                <a:gd name="T8" fmla="*/ 174 w 225"/>
                <a:gd name="T9" fmla="*/ 101 h 273"/>
                <a:gd name="T10" fmla="*/ 195 w 225"/>
                <a:gd name="T11" fmla="*/ 105 h 273"/>
                <a:gd name="T12" fmla="*/ 225 w 225"/>
                <a:gd name="T13" fmla="*/ 106 h 273"/>
                <a:gd name="T14" fmla="*/ 225 w 225"/>
                <a:gd name="T15" fmla="*/ 152 h 273"/>
                <a:gd name="T16" fmla="*/ 224 w 225"/>
                <a:gd name="T17" fmla="*/ 176 h 273"/>
                <a:gd name="T18" fmla="*/ 215 w 225"/>
                <a:gd name="T19" fmla="*/ 187 h 273"/>
                <a:gd name="T20" fmla="*/ 197 w 225"/>
                <a:gd name="T21" fmla="*/ 205 h 273"/>
                <a:gd name="T22" fmla="*/ 192 w 225"/>
                <a:gd name="T23" fmla="*/ 214 h 273"/>
                <a:gd name="T24" fmla="*/ 179 w 225"/>
                <a:gd name="T25" fmla="*/ 218 h 273"/>
                <a:gd name="T26" fmla="*/ 164 w 225"/>
                <a:gd name="T27" fmla="*/ 225 h 273"/>
                <a:gd name="T28" fmla="*/ 159 w 225"/>
                <a:gd name="T29" fmla="*/ 236 h 273"/>
                <a:gd name="T30" fmla="*/ 140 w 225"/>
                <a:gd name="T31" fmla="*/ 242 h 273"/>
                <a:gd name="T32" fmla="*/ 128 w 225"/>
                <a:gd name="T33" fmla="*/ 252 h 273"/>
                <a:gd name="T34" fmla="*/ 101 w 225"/>
                <a:gd name="T35" fmla="*/ 255 h 273"/>
                <a:gd name="T36" fmla="*/ 60 w 225"/>
                <a:gd name="T37" fmla="*/ 261 h 273"/>
                <a:gd name="T38" fmla="*/ 19 w 225"/>
                <a:gd name="T39" fmla="*/ 261 h 273"/>
                <a:gd name="T40" fmla="*/ 0 w 225"/>
                <a:gd name="T41" fmla="*/ 217 h 273"/>
                <a:gd name="T42" fmla="*/ 21 w 225"/>
                <a:gd name="T43" fmla="*/ 212 h 273"/>
                <a:gd name="T44" fmla="*/ 26 w 225"/>
                <a:gd name="T45" fmla="*/ 205 h 273"/>
                <a:gd name="T46" fmla="*/ 60 w 225"/>
                <a:gd name="T47" fmla="*/ 202 h 273"/>
                <a:gd name="T48" fmla="*/ 72 w 225"/>
                <a:gd name="T49" fmla="*/ 193 h 273"/>
                <a:gd name="T50" fmla="*/ 48 w 225"/>
                <a:gd name="T51" fmla="*/ 198 h 273"/>
                <a:gd name="T52" fmla="*/ 40 w 225"/>
                <a:gd name="T53" fmla="*/ 197 h 273"/>
                <a:gd name="T54" fmla="*/ 39 w 225"/>
                <a:gd name="T55" fmla="*/ 188 h 273"/>
                <a:gd name="T56" fmla="*/ 46 w 225"/>
                <a:gd name="T57" fmla="*/ 173 h 273"/>
                <a:gd name="T58" fmla="*/ 39 w 225"/>
                <a:gd name="T59" fmla="*/ 160 h 273"/>
                <a:gd name="T60" fmla="*/ 14 w 225"/>
                <a:gd name="T61" fmla="*/ 150 h 273"/>
                <a:gd name="T62" fmla="*/ 6 w 225"/>
                <a:gd name="T63" fmla="*/ 130 h 273"/>
                <a:gd name="T64" fmla="*/ 22 w 225"/>
                <a:gd name="T65" fmla="*/ 115 h 273"/>
                <a:gd name="T66" fmla="*/ 35 w 225"/>
                <a:gd name="T67" fmla="*/ 102 h 273"/>
                <a:gd name="T68" fmla="*/ 68 w 225"/>
                <a:gd name="T69" fmla="*/ 94 h 273"/>
                <a:gd name="T70" fmla="*/ 90 w 225"/>
                <a:gd name="T71" fmla="*/ 94 h 273"/>
                <a:gd name="T72" fmla="*/ 100 w 225"/>
                <a:gd name="T73" fmla="*/ 88 h 273"/>
                <a:gd name="T74" fmla="*/ 108 w 225"/>
                <a:gd name="T75" fmla="*/ 52 h 273"/>
                <a:gd name="T76" fmla="*/ 120 w 225"/>
                <a:gd name="T77" fmla="*/ 31 h 273"/>
                <a:gd name="T78" fmla="*/ 130 w 225"/>
                <a:gd name="T79" fmla="*/ 20 h 273"/>
                <a:gd name="T80" fmla="*/ 141 w 225"/>
                <a:gd name="T81" fmla="*/ 7 h 273"/>
                <a:gd name="T82" fmla="*/ 155 w 225"/>
                <a:gd name="T83" fmla="*/ 1 h 273"/>
                <a:gd name="T84" fmla="*/ 179 w 225"/>
                <a:gd name="T85" fmla="*/ 3 h 273"/>
                <a:gd name="T86" fmla="*/ 195 w 225"/>
                <a:gd name="T87" fmla="*/ 38 h 273"/>
                <a:gd name="T88" fmla="*/ 196 w 225"/>
                <a:gd name="T89" fmla="*/ 47 h 273"/>
                <a:gd name="T90" fmla="*/ 190 w 225"/>
                <a:gd name="T91" fmla="*/ 56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5" h="273">
                  <a:moveTo>
                    <a:pt x="192" y="58"/>
                  </a:moveTo>
                  <a:lnTo>
                    <a:pt x="189" y="63"/>
                  </a:lnTo>
                  <a:lnTo>
                    <a:pt x="185" y="67"/>
                  </a:lnTo>
                  <a:lnTo>
                    <a:pt x="182" y="71"/>
                  </a:lnTo>
                  <a:lnTo>
                    <a:pt x="178" y="75"/>
                  </a:lnTo>
                  <a:lnTo>
                    <a:pt x="173" y="78"/>
                  </a:lnTo>
                  <a:lnTo>
                    <a:pt x="169" y="80"/>
                  </a:lnTo>
                  <a:lnTo>
                    <a:pt x="163" y="82"/>
                  </a:lnTo>
                  <a:lnTo>
                    <a:pt x="159" y="82"/>
                  </a:lnTo>
                  <a:lnTo>
                    <a:pt x="159" y="86"/>
                  </a:lnTo>
                  <a:lnTo>
                    <a:pt x="161" y="90"/>
                  </a:lnTo>
                  <a:lnTo>
                    <a:pt x="163" y="93"/>
                  </a:lnTo>
                  <a:lnTo>
                    <a:pt x="167" y="96"/>
                  </a:lnTo>
                  <a:lnTo>
                    <a:pt x="170" y="99"/>
                  </a:lnTo>
                  <a:lnTo>
                    <a:pt x="174" y="101"/>
                  </a:lnTo>
                  <a:lnTo>
                    <a:pt x="179" y="102"/>
                  </a:lnTo>
                  <a:lnTo>
                    <a:pt x="184" y="103"/>
                  </a:lnTo>
                  <a:lnTo>
                    <a:pt x="195" y="105"/>
                  </a:lnTo>
                  <a:lnTo>
                    <a:pt x="206" y="106"/>
                  </a:lnTo>
                  <a:lnTo>
                    <a:pt x="216" y="106"/>
                  </a:lnTo>
                  <a:lnTo>
                    <a:pt x="225" y="106"/>
                  </a:lnTo>
                  <a:lnTo>
                    <a:pt x="225" y="124"/>
                  </a:lnTo>
                  <a:lnTo>
                    <a:pt x="225" y="138"/>
                  </a:lnTo>
                  <a:lnTo>
                    <a:pt x="225" y="152"/>
                  </a:lnTo>
                  <a:lnTo>
                    <a:pt x="225" y="169"/>
                  </a:lnTo>
                  <a:lnTo>
                    <a:pt x="225" y="172"/>
                  </a:lnTo>
                  <a:lnTo>
                    <a:pt x="224" y="176"/>
                  </a:lnTo>
                  <a:lnTo>
                    <a:pt x="222" y="179"/>
                  </a:lnTo>
                  <a:lnTo>
                    <a:pt x="220" y="182"/>
                  </a:lnTo>
                  <a:lnTo>
                    <a:pt x="215" y="187"/>
                  </a:lnTo>
                  <a:lnTo>
                    <a:pt x="208" y="193"/>
                  </a:lnTo>
                  <a:lnTo>
                    <a:pt x="203" y="199"/>
                  </a:lnTo>
                  <a:lnTo>
                    <a:pt x="197" y="205"/>
                  </a:lnTo>
                  <a:lnTo>
                    <a:pt x="195" y="208"/>
                  </a:lnTo>
                  <a:lnTo>
                    <a:pt x="193" y="211"/>
                  </a:lnTo>
                  <a:lnTo>
                    <a:pt x="192" y="214"/>
                  </a:lnTo>
                  <a:lnTo>
                    <a:pt x="192" y="217"/>
                  </a:lnTo>
                  <a:lnTo>
                    <a:pt x="184" y="218"/>
                  </a:lnTo>
                  <a:lnTo>
                    <a:pt x="179" y="218"/>
                  </a:lnTo>
                  <a:lnTo>
                    <a:pt x="172" y="220"/>
                  </a:lnTo>
                  <a:lnTo>
                    <a:pt x="168" y="223"/>
                  </a:lnTo>
                  <a:lnTo>
                    <a:pt x="164" y="225"/>
                  </a:lnTo>
                  <a:lnTo>
                    <a:pt x="161" y="229"/>
                  </a:lnTo>
                  <a:lnTo>
                    <a:pt x="159" y="232"/>
                  </a:lnTo>
                  <a:lnTo>
                    <a:pt x="159" y="236"/>
                  </a:lnTo>
                  <a:lnTo>
                    <a:pt x="151" y="237"/>
                  </a:lnTo>
                  <a:lnTo>
                    <a:pt x="146" y="239"/>
                  </a:lnTo>
                  <a:lnTo>
                    <a:pt x="140" y="242"/>
                  </a:lnTo>
                  <a:lnTo>
                    <a:pt x="136" y="246"/>
                  </a:lnTo>
                  <a:lnTo>
                    <a:pt x="131" y="249"/>
                  </a:lnTo>
                  <a:lnTo>
                    <a:pt x="128" y="252"/>
                  </a:lnTo>
                  <a:lnTo>
                    <a:pt x="124" y="254"/>
                  </a:lnTo>
                  <a:lnTo>
                    <a:pt x="118" y="255"/>
                  </a:lnTo>
                  <a:lnTo>
                    <a:pt x="101" y="255"/>
                  </a:lnTo>
                  <a:lnTo>
                    <a:pt x="85" y="257"/>
                  </a:lnTo>
                  <a:lnTo>
                    <a:pt x="72" y="259"/>
                  </a:lnTo>
                  <a:lnTo>
                    <a:pt x="60" y="261"/>
                  </a:lnTo>
                  <a:lnTo>
                    <a:pt x="38" y="267"/>
                  </a:lnTo>
                  <a:lnTo>
                    <a:pt x="13" y="273"/>
                  </a:lnTo>
                  <a:lnTo>
                    <a:pt x="19" y="261"/>
                  </a:lnTo>
                  <a:lnTo>
                    <a:pt x="10" y="261"/>
                  </a:lnTo>
                  <a:lnTo>
                    <a:pt x="0" y="261"/>
                  </a:lnTo>
                  <a:lnTo>
                    <a:pt x="0" y="217"/>
                  </a:lnTo>
                  <a:lnTo>
                    <a:pt x="8" y="216"/>
                  </a:lnTo>
                  <a:lnTo>
                    <a:pt x="17" y="214"/>
                  </a:lnTo>
                  <a:lnTo>
                    <a:pt x="21" y="212"/>
                  </a:lnTo>
                  <a:lnTo>
                    <a:pt x="24" y="210"/>
                  </a:lnTo>
                  <a:lnTo>
                    <a:pt x="25" y="208"/>
                  </a:lnTo>
                  <a:lnTo>
                    <a:pt x="26" y="205"/>
                  </a:lnTo>
                  <a:lnTo>
                    <a:pt x="40" y="205"/>
                  </a:lnTo>
                  <a:lnTo>
                    <a:pt x="54" y="204"/>
                  </a:lnTo>
                  <a:lnTo>
                    <a:pt x="60" y="202"/>
                  </a:lnTo>
                  <a:lnTo>
                    <a:pt x="64" y="200"/>
                  </a:lnTo>
                  <a:lnTo>
                    <a:pt x="69" y="197"/>
                  </a:lnTo>
                  <a:lnTo>
                    <a:pt x="72" y="193"/>
                  </a:lnTo>
                  <a:lnTo>
                    <a:pt x="64" y="195"/>
                  </a:lnTo>
                  <a:lnTo>
                    <a:pt x="54" y="198"/>
                  </a:lnTo>
                  <a:lnTo>
                    <a:pt x="48" y="198"/>
                  </a:lnTo>
                  <a:lnTo>
                    <a:pt x="44" y="198"/>
                  </a:lnTo>
                  <a:lnTo>
                    <a:pt x="41" y="198"/>
                  </a:lnTo>
                  <a:lnTo>
                    <a:pt x="40" y="197"/>
                  </a:lnTo>
                  <a:lnTo>
                    <a:pt x="39" y="195"/>
                  </a:lnTo>
                  <a:lnTo>
                    <a:pt x="39" y="193"/>
                  </a:lnTo>
                  <a:lnTo>
                    <a:pt x="39" y="188"/>
                  </a:lnTo>
                  <a:lnTo>
                    <a:pt x="41" y="183"/>
                  </a:lnTo>
                  <a:lnTo>
                    <a:pt x="44" y="178"/>
                  </a:lnTo>
                  <a:lnTo>
                    <a:pt x="46" y="173"/>
                  </a:lnTo>
                  <a:lnTo>
                    <a:pt x="50" y="166"/>
                  </a:lnTo>
                  <a:lnTo>
                    <a:pt x="52" y="162"/>
                  </a:lnTo>
                  <a:lnTo>
                    <a:pt x="39" y="160"/>
                  </a:lnTo>
                  <a:lnTo>
                    <a:pt x="28" y="157"/>
                  </a:lnTo>
                  <a:lnTo>
                    <a:pt x="21" y="154"/>
                  </a:lnTo>
                  <a:lnTo>
                    <a:pt x="14" y="150"/>
                  </a:lnTo>
                  <a:lnTo>
                    <a:pt x="10" y="145"/>
                  </a:lnTo>
                  <a:lnTo>
                    <a:pt x="7" y="138"/>
                  </a:lnTo>
                  <a:lnTo>
                    <a:pt x="6" y="130"/>
                  </a:lnTo>
                  <a:lnTo>
                    <a:pt x="6" y="120"/>
                  </a:lnTo>
                  <a:lnTo>
                    <a:pt x="15" y="117"/>
                  </a:lnTo>
                  <a:lnTo>
                    <a:pt x="22" y="115"/>
                  </a:lnTo>
                  <a:lnTo>
                    <a:pt x="26" y="112"/>
                  </a:lnTo>
                  <a:lnTo>
                    <a:pt x="30" y="109"/>
                  </a:lnTo>
                  <a:lnTo>
                    <a:pt x="35" y="102"/>
                  </a:lnTo>
                  <a:lnTo>
                    <a:pt x="39" y="94"/>
                  </a:lnTo>
                  <a:lnTo>
                    <a:pt x="56" y="94"/>
                  </a:lnTo>
                  <a:lnTo>
                    <a:pt x="68" y="94"/>
                  </a:lnTo>
                  <a:lnTo>
                    <a:pt x="77" y="94"/>
                  </a:lnTo>
                  <a:lnTo>
                    <a:pt x="85" y="94"/>
                  </a:lnTo>
                  <a:lnTo>
                    <a:pt x="90" y="94"/>
                  </a:lnTo>
                  <a:lnTo>
                    <a:pt x="94" y="93"/>
                  </a:lnTo>
                  <a:lnTo>
                    <a:pt x="97" y="91"/>
                  </a:lnTo>
                  <a:lnTo>
                    <a:pt x="100" y="88"/>
                  </a:lnTo>
                  <a:lnTo>
                    <a:pt x="104" y="82"/>
                  </a:lnTo>
                  <a:lnTo>
                    <a:pt x="106" y="73"/>
                  </a:lnTo>
                  <a:lnTo>
                    <a:pt x="108" y="52"/>
                  </a:lnTo>
                  <a:lnTo>
                    <a:pt x="112" y="33"/>
                  </a:lnTo>
                  <a:lnTo>
                    <a:pt x="117" y="32"/>
                  </a:lnTo>
                  <a:lnTo>
                    <a:pt x="120" y="31"/>
                  </a:lnTo>
                  <a:lnTo>
                    <a:pt x="124" y="29"/>
                  </a:lnTo>
                  <a:lnTo>
                    <a:pt x="126" y="26"/>
                  </a:lnTo>
                  <a:lnTo>
                    <a:pt x="130" y="20"/>
                  </a:lnTo>
                  <a:lnTo>
                    <a:pt x="136" y="13"/>
                  </a:lnTo>
                  <a:lnTo>
                    <a:pt x="138" y="10"/>
                  </a:lnTo>
                  <a:lnTo>
                    <a:pt x="141" y="7"/>
                  </a:lnTo>
                  <a:lnTo>
                    <a:pt x="145" y="4"/>
                  </a:lnTo>
                  <a:lnTo>
                    <a:pt x="149" y="2"/>
                  </a:lnTo>
                  <a:lnTo>
                    <a:pt x="155" y="1"/>
                  </a:lnTo>
                  <a:lnTo>
                    <a:pt x="161" y="0"/>
                  </a:lnTo>
                  <a:lnTo>
                    <a:pt x="169" y="1"/>
                  </a:lnTo>
                  <a:lnTo>
                    <a:pt x="179" y="3"/>
                  </a:lnTo>
                  <a:lnTo>
                    <a:pt x="186" y="20"/>
                  </a:lnTo>
                  <a:lnTo>
                    <a:pt x="194" y="34"/>
                  </a:lnTo>
                  <a:lnTo>
                    <a:pt x="195" y="38"/>
                  </a:lnTo>
                  <a:lnTo>
                    <a:pt x="196" y="41"/>
                  </a:lnTo>
                  <a:lnTo>
                    <a:pt x="196" y="44"/>
                  </a:lnTo>
                  <a:lnTo>
                    <a:pt x="196" y="47"/>
                  </a:lnTo>
                  <a:lnTo>
                    <a:pt x="195" y="50"/>
                  </a:lnTo>
                  <a:lnTo>
                    <a:pt x="193" y="52"/>
                  </a:lnTo>
                  <a:lnTo>
                    <a:pt x="190" y="56"/>
                  </a:lnTo>
                  <a:lnTo>
                    <a:pt x="185" y="58"/>
                  </a:lnTo>
                  <a:lnTo>
                    <a:pt x="192" y="5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78" name="Freeform 235"/>
            <p:cNvSpPr>
              <a:spLocks/>
            </p:cNvSpPr>
            <p:nvPr>
              <p:custDataLst>
                <p:tags r:id="rId163"/>
              </p:custDataLst>
            </p:nvPr>
          </p:nvSpPr>
          <p:spPr bwMode="auto">
            <a:xfrm>
              <a:off x="5710869" y="3483414"/>
              <a:ext cx="306388" cy="390525"/>
            </a:xfrm>
            <a:custGeom>
              <a:avLst/>
              <a:gdLst>
                <a:gd name="T0" fmla="*/ 2147483647 w 232"/>
                <a:gd name="T1" fmla="*/ 2147483647 h 248"/>
                <a:gd name="T2" fmla="*/ 2147483647 w 232"/>
                <a:gd name="T3" fmla="*/ 2147483647 h 248"/>
                <a:gd name="T4" fmla="*/ 2147483647 w 232"/>
                <a:gd name="T5" fmla="*/ 2147483647 h 248"/>
                <a:gd name="T6" fmla="*/ 2147483647 w 232"/>
                <a:gd name="T7" fmla="*/ 2147483647 h 248"/>
                <a:gd name="T8" fmla="*/ 2147483647 w 232"/>
                <a:gd name="T9" fmla="*/ 2147483647 h 248"/>
                <a:gd name="T10" fmla="*/ 2147483647 w 232"/>
                <a:gd name="T11" fmla="*/ 2147483647 h 248"/>
                <a:gd name="T12" fmla="*/ 2147483647 w 232"/>
                <a:gd name="T13" fmla="*/ 2147483647 h 248"/>
                <a:gd name="T14" fmla="*/ 2147483647 w 232"/>
                <a:gd name="T15" fmla="*/ 2147483647 h 248"/>
                <a:gd name="T16" fmla="*/ 2147483647 w 232"/>
                <a:gd name="T17" fmla="*/ 2147483647 h 248"/>
                <a:gd name="T18" fmla="*/ 2147483647 w 232"/>
                <a:gd name="T19" fmla="*/ 2147483647 h 248"/>
                <a:gd name="T20" fmla="*/ 2147483647 w 232"/>
                <a:gd name="T21" fmla="*/ 2147483647 h 248"/>
                <a:gd name="T22" fmla="*/ 2147483647 w 232"/>
                <a:gd name="T23" fmla="*/ 2147483647 h 248"/>
                <a:gd name="T24" fmla="*/ 2147483647 w 232"/>
                <a:gd name="T25" fmla="*/ 2147483647 h 248"/>
                <a:gd name="T26" fmla="*/ 2147483647 w 232"/>
                <a:gd name="T27" fmla="*/ 2147483647 h 248"/>
                <a:gd name="T28" fmla="*/ 2147483647 w 232"/>
                <a:gd name="T29" fmla="*/ 2147483647 h 248"/>
                <a:gd name="T30" fmla="*/ 2147483647 w 232"/>
                <a:gd name="T31" fmla="*/ 2147483647 h 248"/>
                <a:gd name="T32" fmla="*/ 2147483647 w 232"/>
                <a:gd name="T33" fmla="*/ 2147483647 h 248"/>
                <a:gd name="T34" fmla="*/ 2147483647 w 232"/>
                <a:gd name="T35" fmla="*/ 2147483647 h 248"/>
                <a:gd name="T36" fmla="*/ 2147483647 w 232"/>
                <a:gd name="T37" fmla="*/ 2147483647 h 248"/>
                <a:gd name="T38" fmla="*/ 2147483647 w 232"/>
                <a:gd name="T39" fmla="*/ 2147483647 h 248"/>
                <a:gd name="T40" fmla="*/ 2147483647 w 232"/>
                <a:gd name="T41" fmla="*/ 2147483647 h 248"/>
                <a:gd name="T42" fmla="*/ 2147483647 w 232"/>
                <a:gd name="T43" fmla="*/ 2147483647 h 248"/>
                <a:gd name="T44" fmla="*/ 2147483647 w 232"/>
                <a:gd name="T45" fmla="*/ 2147483647 h 248"/>
                <a:gd name="T46" fmla="*/ 2147483647 w 232"/>
                <a:gd name="T47" fmla="*/ 2147483647 h 248"/>
                <a:gd name="T48" fmla="*/ 2147483647 w 232"/>
                <a:gd name="T49" fmla="*/ 2147483647 h 248"/>
                <a:gd name="T50" fmla="*/ 2147483647 w 232"/>
                <a:gd name="T51" fmla="*/ 2147483647 h 248"/>
                <a:gd name="T52" fmla="*/ 2147483647 w 232"/>
                <a:gd name="T53" fmla="*/ 2147483647 h 248"/>
                <a:gd name="T54" fmla="*/ 2147483647 w 232"/>
                <a:gd name="T55" fmla="*/ 2147483647 h 248"/>
                <a:gd name="T56" fmla="*/ 2147483647 w 232"/>
                <a:gd name="T57" fmla="*/ 2147483647 h 248"/>
                <a:gd name="T58" fmla="*/ 2147483647 w 232"/>
                <a:gd name="T59" fmla="*/ 2147483647 h 248"/>
                <a:gd name="T60" fmla="*/ 2147483647 w 232"/>
                <a:gd name="T61" fmla="*/ 2147483647 h 248"/>
                <a:gd name="T62" fmla="*/ 2147483647 w 232"/>
                <a:gd name="T63" fmla="*/ 2147483647 h 248"/>
                <a:gd name="T64" fmla="*/ 2147483647 w 232"/>
                <a:gd name="T65" fmla="*/ 2147483647 h 248"/>
                <a:gd name="T66" fmla="*/ 2147483647 w 232"/>
                <a:gd name="T67" fmla="*/ 2147483647 h 248"/>
                <a:gd name="T68" fmla="*/ 2147483647 w 232"/>
                <a:gd name="T69" fmla="*/ 2147483647 h 248"/>
                <a:gd name="T70" fmla="*/ 2147483647 w 232"/>
                <a:gd name="T71" fmla="*/ 2147483647 h 248"/>
                <a:gd name="T72" fmla="*/ 2147483647 w 232"/>
                <a:gd name="T73" fmla="*/ 2147483647 h 248"/>
                <a:gd name="T74" fmla="*/ 2147483647 w 232"/>
                <a:gd name="T75" fmla="*/ 2147483647 h 248"/>
                <a:gd name="T76" fmla="*/ 2147483647 w 232"/>
                <a:gd name="T77" fmla="*/ 2147483647 h 248"/>
                <a:gd name="T78" fmla="*/ 2147483647 w 232"/>
                <a:gd name="T79" fmla="*/ 2147483647 h 248"/>
                <a:gd name="T80" fmla="*/ 2147483647 w 232"/>
                <a:gd name="T81" fmla="*/ 2147483647 h 248"/>
                <a:gd name="T82" fmla="*/ 2147483647 w 232"/>
                <a:gd name="T83" fmla="*/ 2147483647 h 248"/>
                <a:gd name="T84" fmla="*/ 2147483647 w 232"/>
                <a:gd name="T85" fmla="*/ 2147483647 h 248"/>
                <a:gd name="T86" fmla="*/ 2147483647 w 232"/>
                <a:gd name="T87" fmla="*/ 2147483647 h 248"/>
                <a:gd name="T88" fmla="*/ 2147483647 w 232"/>
                <a:gd name="T89" fmla="*/ 2147483647 h 248"/>
                <a:gd name="T90" fmla="*/ 2147483647 w 232"/>
                <a:gd name="T91" fmla="*/ 2147483647 h 248"/>
                <a:gd name="T92" fmla="*/ 2147483647 w 232"/>
                <a:gd name="T93" fmla="*/ 2147483647 h 248"/>
                <a:gd name="T94" fmla="*/ 2147483647 w 232"/>
                <a:gd name="T95" fmla="*/ 2147483647 h 248"/>
                <a:gd name="T96" fmla="*/ 2147483647 w 232"/>
                <a:gd name="T97" fmla="*/ 2147483647 h 248"/>
                <a:gd name="T98" fmla="*/ 2147483647 w 232"/>
                <a:gd name="T99" fmla="*/ 2147483647 h 248"/>
                <a:gd name="T100" fmla="*/ 2147483647 w 232"/>
                <a:gd name="T101" fmla="*/ 2147483647 h 248"/>
                <a:gd name="T102" fmla="*/ 2147483647 w 232"/>
                <a:gd name="T103" fmla="*/ 2147483647 h 248"/>
                <a:gd name="T104" fmla="*/ 2147483647 w 232"/>
                <a:gd name="T105" fmla="*/ 2147483647 h 248"/>
                <a:gd name="T106" fmla="*/ 2147483647 w 232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2" h="248">
                  <a:moveTo>
                    <a:pt x="91" y="248"/>
                  </a:moveTo>
                  <a:lnTo>
                    <a:pt x="94" y="246"/>
                  </a:lnTo>
                  <a:lnTo>
                    <a:pt x="95" y="245"/>
                  </a:lnTo>
                  <a:lnTo>
                    <a:pt x="96" y="243"/>
                  </a:lnTo>
                  <a:lnTo>
                    <a:pt x="97" y="240"/>
                  </a:lnTo>
                  <a:lnTo>
                    <a:pt x="98" y="238"/>
                  </a:lnTo>
                  <a:lnTo>
                    <a:pt x="99" y="235"/>
                  </a:lnTo>
                  <a:lnTo>
                    <a:pt x="100" y="232"/>
                  </a:lnTo>
                  <a:lnTo>
                    <a:pt x="103" y="230"/>
                  </a:lnTo>
                  <a:lnTo>
                    <a:pt x="103" y="231"/>
                  </a:lnTo>
                  <a:lnTo>
                    <a:pt x="103" y="236"/>
                  </a:lnTo>
                  <a:lnTo>
                    <a:pt x="104" y="238"/>
                  </a:lnTo>
                  <a:lnTo>
                    <a:pt x="105" y="240"/>
                  </a:lnTo>
                  <a:lnTo>
                    <a:pt x="106" y="241"/>
                  </a:lnTo>
                  <a:lnTo>
                    <a:pt x="107" y="241"/>
                  </a:lnTo>
                  <a:lnTo>
                    <a:pt x="108" y="242"/>
                  </a:lnTo>
                  <a:lnTo>
                    <a:pt x="109" y="242"/>
                  </a:lnTo>
                  <a:lnTo>
                    <a:pt x="110" y="242"/>
                  </a:lnTo>
                  <a:lnTo>
                    <a:pt x="112" y="241"/>
                  </a:lnTo>
                  <a:lnTo>
                    <a:pt x="113" y="241"/>
                  </a:lnTo>
                  <a:lnTo>
                    <a:pt x="114" y="240"/>
                  </a:lnTo>
                  <a:lnTo>
                    <a:pt x="116" y="238"/>
                  </a:lnTo>
                  <a:lnTo>
                    <a:pt x="118" y="236"/>
                  </a:lnTo>
                  <a:lnTo>
                    <a:pt x="216" y="234"/>
                  </a:lnTo>
                  <a:lnTo>
                    <a:pt x="215" y="225"/>
                  </a:lnTo>
                  <a:lnTo>
                    <a:pt x="213" y="204"/>
                  </a:lnTo>
                  <a:lnTo>
                    <a:pt x="210" y="173"/>
                  </a:lnTo>
                  <a:lnTo>
                    <a:pt x="207" y="138"/>
                  </a:lnTo>
                  <a:lnTo>
                    <a:pt x="204" y="103"/>
                  </a:lnTo>
                  <a:lnTo>
                    <a:pt x="201" y="73"/>
                  </a:lnTo>
                  <a:lnTo>
                    <a:pt x="199" y="51"/>
                  </a:lnTo>
                  <a:lnTo>
                    <a:pt x="198" y="43"/>
                  </a:lnTo>
                  <a:lnTo>
                    <a:pt x="203" y="43"/>
                  </a:lnTo>
                  <a:lnTo>
                    <a:pt x="215" y="44"/>
                  </a:lnTo>
                  <a:lnTo>
                    <a:pt x="226" y="45"/>
                  </a:lnTo>
                  <a:lnTo>
                    <a:pt x="232" y="46"/>
                  </a:lnTo>
                  <a:lnTo>
                    <a:pt x="161" y="0"/>
                  </a:lnTo>
                  <a:lnTo>
                    <a:pt x="161" y="2"/>
                  </a:lnTo>
                  <a:lnTo>
                    <a:pt x="160" y="5"/>
                  </a:lnTo>
                  <a:lnTo>
                    <a:pt x="160" y="8"/>
                  </a:lnTo>
                  <a:lnTo>
                    <a:pt x="161" y="11"/>
                  </a:lnTo>
                  <a:lnTo>
                    <a:pt x="161" y="18"/>
                  </a:lnTo>
                  <a:lnTo>
                    <a:pt x="161" y="24"/>
                  </a:lnTo>
                  <a:lnTo>
                    <a:pt x="98" y="24"/>
                  </a:lnTo>
                  <a:lnTo>
                    <a:pt x="94" y="22"/>
                  </a:lnTo>
                  <a:lnTo>
                    <a:pt x="98" y="74"/>
                  </a:lnTo>
                  <a:lnTo>
                    <a:pt x="97" y="75"/>
                  </a:lnTo>
                  <a:lnTo>
                    <a:pt x="95" y="76"/>
                  </a:lnTo>
                  <a:lnTo>
                    <a:pt x="91" y="77"/>
                  </a:lnTo>
                  <a:lnTo>
                    <a:pt x="87" y="78"/>
                  </a:lnTo>
                  <a:lnTo>
                    <a:pt x="78" y="80"/>
                  </a:lnTo>
                  <a:lnTo>
                    <a:pt x="72" y="82"/>
                  </a:lnTo>
                  <a:lnTo>
                    <a:pt x="73" y="85"/>
                  </a:lnTo>
                  <a:lnTo>
                    <a:pt x="74" y="88"/>
                  </a:lnTo>
                  <a:lnTo>
                    <a:pt x="76" y="92"/>
                  </a:lnTo>
                  <a:lnTo>
                    <a:pt x="78" y="96"/>
                  </a:lnTo>
                  <a:lnTo>
                    <a:pt x="79" y="99"/>
                  </a:lnTo>
                  <a:lnTo>
                    <a:pt x="80" y="105"/>
                  </a:lnTo>
                  <a:lnTo>
                    <a:pt x="80" y="112"/>
                  </a:lnTo>
                  <a:lnTo>
                    <a:pt x="81" y="115"/>
                  </a:lnTo>
                  <a:lnTo>
                    <a:pt x="13" y="115"/>
                  </a:lnTo>
                  <a:lnTo>
                    <a:pt x="9" y="119"/>
                  </a:lnTo>
                  <a:lnTo>
                    <a:pt x="4" y="123"/>
                  </a:lnTo>
                  <a:lnTo>
                    <a:pt x="5" y="130"/>
                  </a:lnTo>
                  <a:lnTo>
                    <a:pt x="5" y="137"/>
                  </a:lnTo>
                  <a:lnTo>
                    <a:pt x="6" y="143"/>
                  </a:lnTo>
                  <a:lnTo>
                    <a:pt x="7" y="149"/>
                  </a:lnTo>
                  <a:lnTo>
                    <a:pt x="8" y="155"/>
                  </a:lnTo>
                  <a:lnTo>
                    <a:pt x="8" y="161"/>
                  </a:lnTo>
                  <a:lnTo>
                    <a:pt x="9" y="168"/>
                  </a:lnTo>
                  <a:lnTo>
                    <a:pt x="9" y="176"/>
                  </a:lnTo>
                  <a:lnTo>
                    <a:pt x="9" y="182"/>
                  </a:lnTo>
                  <a:lnTo>
                    <a:pt x="8" y="188"/>
                  </a:lnTo>
                  <a:lnTo>
                    <a:pt x="8" y="194"/>
                  </a:lnTo>
                  <a:lnTo>
                    <a:pt x="7" y="200"/>
                  </a:lnTo>
                  <a:lnTo>
                    <a:pt x="6" y="206"/>
                  </a:lnTo>
                  <a:lnTo>
                    <a:pt x="4" y="211"/>
                  </a:lnTo>
                  <a:lnTo>
                    <a:pt x="2" y="216"/>
                  </a:lnTo>
                  <a:lnTo>
                    <a:pt x="0" y="221"/>
                  </a:lnTo>
                  <a:lnTo>
                    <a:pt x="2" y="219"/>
                  </a:lnTo>
                  <a:lnTo>
                    <a:pt x="3" y="219"/>
                  </a:lnTo>
                  <a:lnTo>
                    <a:pt x="3" y="220"/>
                  </a:lnTo>
                  <a:lnTo>
                    <a:pt x="3" y="221"/>
                  </a:lnTo>
                  <a:lnTo>
                    <a:pt x="3" y="222"/>
                  </a:lnTo>
                  <a:lnTo>
                    <a:pt x="4" y="217"/>
                  </a:lnTo>
                  <a:lnTo>
                    <a:pt x="7" y="217"/>
                  </a:lnTo>
                  <a:lnTo>
                    <a:pt x="12" y="215"/>
                  </a:lnTo>
                  <a:lnTo>
                    <a:pt x="18" y="213"/>
                  </a:lnTo>
                  <a:lnTo>
                    <a:pt x="25" y="211"/>
                  </a:lnTo>
                  <a:lnTo>
                    <a:pt x="36" y="207"/>
                  </a:lnTo>
                  <a:lnTo>
                    <a:pt x="41" y="205"/>
                  </a:lnTo>
                  <a:lnTo>
                    <a:pt x="45" y="208"/>
                  </a:lnTo>
                  <a:lnTo>
                    <a:pt x="48" y="210"/>
                  </a:lnTo>
                  <a:lnTo>
                    <a:pt x="51" y="212"/>
                  </a:lnTo>
                  <a:lnTo>
                    <a:pt x="53" y="213"/>
                  </a:lnTo>
                  <a:lnTo>
                    <a:pt x="56" y="214"/>
                  </a:lnTo>
                  <a:lnTo>
                    <a:pt x="59" y="215"/>
                  </a:lnTo>
                  <a:lnTo>
                    <a:pt x="62" y="215"/>
                  </a:lnTo>
                  <a:lnTo>
                    <a:pt x="66" y="215"/>
                  </a:lnTo>
                  <a:lnTo>
                    <a:pt x="66" y="219"/>
                  </a:lnTo>
                  <a:lnTo>
                    <a:pt x="66" y="222"/>
                  </a:lnTo>
                  <a:lnTo>
                    <a:pt x="67" y="225"/>
                  </a:lnTo>
                  <a:lnTo>
                    <a:pt x="69" y="228"/>
                  </a:lnTo>
                  <a:lnTo>
                    <a:pt x="70" y="231"/>
                  </a:lnTo>
                  <a:lnTo>
                    <a:pt x="72" y="233"/>
                  </a:lnTo>
                  <a:lnTo>
                    <a:pt x="74" y="235"/>
                  </a:lnTo>
                  <a:lnTo>
                    <a:pt x="76" y="237"/>
                  </a:lnTo>
                  <a:lnTo>
                    <a:pt x="85" y="243"/>
                  </a:lnTo>
                  <a:lnTo>
                    <a:pt x="91" y="24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79" name="Freeform 236"/>
            <p:cNvSpPr>
              <a:spLocks/>
            </p:cNvSpPr>
            <p:nvPr>
              <p:custDataLst>
                <p:tags r:id="rId164"/>
              </p:custDataLst>
            </p:nvPr>
          </p:nvSpPr>
          <p:spPr bwMode="auto">
            <a:xfrm>
              <a:off x="5826757" y="3543739"/>
              <a:ext cx="414337" cy="468313"/>
            </a:xfrm>
            <a:custGeom>
              <a:avLst/>
              <a:gdLst>
                <a:gd name="T0" fmla="*/ 2147483647 w 948"/>
                <a:gd name="T1" fmla="*/ 2147483647 h 893"/>
                <a:gd name="T2" fmla="*/ 2147483647 w 948"/>
                <a:gd name="T3" fmla="*/ 2147483647 h 893"/>
                <a:gd name="T4" fmla="*/ 2147483647 w 948"/>
                <a:gd name="T5" fmla="*/ 2147483647 h 893"/>
                <a:gd name="T6" fmla="*/ 2147483647 w 948"/>
                <a:gd name="T7" fmla="*/ 2147483647 h 893"/>
                <a:gd name="T8" fmla="*/ 2147483647 w 948"/>
                <a:gd name="T9" fmla="*/ 2147483647 h 893"/>
                <a:gd name="T10" fmla="*/ 2147483647 w 948"/>
                <a:gd name="T11" fmla="*/ 2147483647 h 893"/>
                <a:gd name="T12" fmla="*/ 2147483647 w 948"/>
                <a:gd name="T13" fmla="*/ 2147483647 h 893"/>
                <a:gd name="T14" fmla="*/ 2147483647 w 948"/>
                <a:gd name="T15" fmla="*/ 2147483647 h 893"/>
                <a:gd name="T16" fmla="*/ 2147483647 w 948"/>
                <a:gd name="T17" fmla="*/ 2147483647 h 893"/>
                <a:gd name="T18" fmla="*/ 2147483647 w 948"/>
                <a:gd name="T19" fmla="*/ 2147483647 h 893"/>
                <a:gd name="T20" fmla="*/ 2147483647 w 948"/>
                <a:gd name="T21" fmla="*/ 2147483647 h 893"/>
                <a:gd name="T22" fmla="*/ 2147483647 w 948"/>
                <a:gd name="T23" fmla="*/ 2147483647 h 893"/>
                <a:gd name="T24" fmla="*/ 2147483647 w 948"/>
                <a:gd name="T25" fmla="*/ 2147483647 h 893"/>
                <a:gd name="T26" fmla="*/ 2147483647 w 948"/>
                <a:gd name="T27" fmla="*/ 2147483647 h 893"/>
                <a:gd name="T28" fmla="*/ 2147483647 w 948"/>
                <a:gd name="T29" fmla="*/ 2147483647 h 893"/>
                <a:gd name="T30" fmla="*/ 2147483647 w 948"/>
                <a:gd name="T31" fmla="*/ 2147483647 h 893"/>
                <a:gd name="T32" fmla="*/ 2147483647 w 948"/>
                <a:gd name="T33" fmla="*/ 2147483647 h 893"/>
                <a:gd name="T34" fmla="*/ 2147483647 w 948"/>
                <a:gd name="T35" fmla="*/ 2147483647 h 893"/>
                <a:gd name="T36" fmla="*/ 2147483647 w 948"/>
                <a:gd name="T37" fmla="*/ 2147483647 h 893"/>
                <a:gd name="T38" fmla="*/ 2147483647 w 948"/>
                <a:gd name="T39" fmla="*/ 2147483647 h 893"/>
                <a:gd name="T40" fmla="*/ 2147483647 w 948"/>
                <a:gd name="T41" fmla="*/ 2147483647 h 893"/>
                <a:gd name="T42" fmla="*/ 2147483647 w 948"/>
                <a:gd name="T43" fmla="*/ 2147483647 h 893"/>
                <a:gd name="T44" fmla="*/ 2147483647 w 948"/>
                <a:gd name="T45" fmla="*/ 2147483647 h 893"/>
                <a:gd name="T46" fmla="*/ 2147483647 w 948"/>
                <a:gd name="T47" fmla="*/ 2147483647 h 893"/>
                <a:gd name="T48" fmla="*/ 2147483647 w 948"/>
                <a:gd name="T49" fmla="*/ 2147483647 h 893"/>
                <a:gd name="T50" fmla="*/ 2147483647 w 948"/>
                <a:gd name="T51" fmla="*/ 2147483647 h 893"/>
                <a:gd name="T52" fmla="*/ 2147483647 w 948"/>
                <a:gd name="T53" fmla="*/ 2147483647 h 893"/>
                <a:gd name="T54" fmla="*/ 2147483647 w 948"/>
                <a:gd name="T55" fmla="*/ 2147483647 h 893"/>
                <a:gd name="T56" fmla="*/ 2147483647 w 948"/>
                <a:gd name="T57" fmla="*/ 2147483647 h 893"/>
                <a:gd name="T58" fmla="*/ 2147483647 w 948"/>
                <a:gd name="T59" fmla="*/ 2147483647 h 893"/>
                <a:gd name="T60" fmla="*/ 2147483647 w 948"/>
                <a:gd name="T61" fmla="*/ 2147483647 h 893"/>
                <a:gd name="T62" fmla="*/ 2147483647 w 948"/>
                <a:gd name="T63" fmla="*/ 2147483647 h 893"/>
                <a:gd name="T64" fmla="*/ 2147483647 w 948"/>
                <a:gd name="T65" fmla="*/ 2147483647 h 893"/>
                <a:gd name="T66" fmla="*/ 2147483647 w 948"/>
                <a:gd name="T67" fmla="*/ 2147483647 h 893"/>
                <a:gd name="T68" fmla="*/ 2147483647 w 948"/>
                <a:gd name="T69" fmla="*/ 2147483647 h 893"/>
                <a:gd name="T70" fmla="*/ 2147483647 w 948"/>
                <a:gd name="T71" fmla="*/ 2147483647 h 893"/>
                <a:gd name="T72" fmla="*/ 2147483647 w 948"/>
                <a:gd name="T73" fmla="*/ 2147483647 h 893"/>
                <a:gd name="T74" fmla="*/ 2147483647 w 948"/>
                <a:gd name="T75" fmla="*/ 2147483647 h 893"/>
                <a:gd name="T76" fmla="*/ 2147483647 w 948"/>
                <a:gd name="T77" fmla="*/ 2147483647 h 893"/>
                <a:gd name="T78" fmla="*/ 2147483647 w 948"/>
                <a:gd name="T79" fmla="*/ 2147483647 h 893"/>
                <a:gd name="T80" fmla="*/ 2147483647 w 948"/>
                <a:gd name="T81" fmla="*/ 2147483647 h 893"/>
                <a:gd name="T82" fmla="*/ 2147483647 w 948"/>
                <a:gd name="T83" fmla="*/ 2147483647 h 893"/>
                <a:gd name="T84" fmla="*/ 2147483647 w 948"/>
                <a:gd name="T85" fmla="*/ 2147483647 h 893"/>
                <a:gd name="T86" fmla="*/ 2147483647 w 948"/>
                <a:gd name="T87" fmla="*/ 2147483647 h 893"/>
                <a:gd name="T88" fmla="*/ 2147483647 w 948"/>
                <a:gd name="T89" fmla="*/ 2147483647 h 893"/>
                <a:gd name="T90" fmla="*/ 2147483647 w 948"/>
                <a:gd name="T91" fmla="*/ 2147483647 h 893"/>
                <a:gd name="T92" fmla="*/ 2147483647 w 948"/>
                <a:gd name="T93" fmla="*/ 2147483647 h 893"/>
                <a:gd name="T94" fmla="*/ 2147483647 w 948"/>
                <a:gd name="T95" fmla="*/ 2147483647 h 893"/>
                <a:gd name="T96" fmla="*/ 2147483647 w 948"/>
                <a:gd name="T97" fmla="*/ 2147483647 h 893"/>
                <a:gd name="T98" fmla="*/ 2147483647 w 948"/>
                <a:gd name="T99" fmla="*/ 2147483647 h 893"/>
                <a:gd name="T100" fmla="*/ 2147483647 w 948"/>
                <a:gd name="T101" fmla="*/ 2147483647 h 893"/>
                <a:gd name="T102" fmla="*/ 2147483647 w 948"/>
                <a:gd name="T103" fmla="*/ 2147483647 h 893"/>
                <a:gd name="T104" fmla="*/ 2147483647 w 948"/>
                <a:gd name="T105" fmla="*/ 2147483647 h 893"/>
                <a:gd name="T106" fmla="*/ 2147483647 w 948"/>
                <a:gd name="T107" fmla="*/ 2147483647 h 893"/>
                <a:gd name="T108" fmla="*/ 2147483647 w 948"/>
                <a:gd name="T109" fmla="*/ 2147483647 h 893"/>
                <a:gd name="T110" fmla="*/ 2147483647 w 948"/>
                <a:gd name="T111" fmla="*/ 2147483647 h 893"/>
                <a:gd name="T112" fmla="*/ 2147483647 w 948"/>
                <a:gd name="T113" fmla="*/ 2147483647 h 893"/>
                <a:gd name="T114" fmla="*/ 2147483647 w 948"/>
                <a:gd name="T115" fmla="*/ 2147483647 h 893"/>
                <a:gd name="T116" fmla="*/ 2147483647 w 948"/>
                <a:gd name="T117" fmla="*/ 2147483647 h 893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948" h="893">
                  <a:moveTo>
                    <a:pt x="54" y="788"/>
                  </a:moveTo>
                  <a:lnTo>
                    <a:pt x="74" y="788"/>
                  </a:lnTo>
                  <a:lnTo>
                    <a:pt x="90" y="788"/>
                  </a:lnTo>
                  <a:lnTo>
                    <a:pt x="100" y="788"/>
                  </a:lnTo>
                  <a:lnTo>
                    <a:pt x="106" y="788"/>
                  </a:lnTo>
                  <a:lnTo>
                    <a:pt x="121" y="788"/>
                  </a:lnTo>
                  <a:lnTo>
                    <a:pt x="135" y="787"/>
                  </a:lnTo>
                  <a:lnTo>
                    <a:pt x="140" y="785"/>
                  </a:lnTo>
                  <a:lnTo>
                    <a:pt x="146" y="783"/>
                  </a:lnTo>
                  <a:lnTo>
                    <a:pt x="150" y="780"/>
                  </a:lnTo>
                  <a:lnTo>
                    <a:pt x="152" y="776"/>
                  </a:lnTo>
                  <a:lnTo>
                    <a:pt x="186" y="776"/>
                  </a:lnTo>
                  <a:lnTo>
                    <a:pt x="189" y="788"/>
                  </a:lnTo>
                  <a:lnTo>
                    <a:pt x="193" y="800"/>
                  </a:lnTo>
                  <a:lnTo>
                    <a:pt x="197" y="813"/>
                  </a:lnTo>
                  <a:lnTo>
                    <a:pt x="204" y="825"/>
                  </a:lnTo>
                  <a:lnTo>
                    <a:pt x="207" y="830"/>
                  </a:lnTo>
                  <a:lnTo>
                    <a:pt x="212" y="835"/>
                  </a:lnTo>
                  <a:lnTo>
                    <a:pt x="216" y="839"/>
                  </a:lnTo>
                  <a:lnTo>
                    <a:pt x="221" y="843"/>
                  </a:lnTo>
                  <a:lnTo>
                    <a:pt x="226" y="846"/>
                  </a:lnTo>
                  <a:lnTo>
                    <a:pt x="233" y="848"/>
                  </a:lnTo>
                  <a:lnTo>
                    <a:pt x="239" y="849"/>
                  </a:lnTo>
                  <a:lnTo>
                    <a:pt x="246" y="850"/>
                  </a:lnTo>
                  <a:lnTo>
                    <a:pt x="246" y="862"/>
                  </a:lnTo>
                  <a:lnTo>
                    <a:pt x="246" y="871"/>
                  </a:lnTo>
                  <a:lnTo>
                    <a:pt x="246" y="881"/>
                  </a:lnTo>
                  <a:lnTo>
                    <a:pt x="246" y="893"/>
                  </a:lnTo>
                  <a:lnTo>
                    <a:pt x="326" y="893"/>
                  </a:lnTo>
                  <a:lnTo>
                    <a:pt x="326" y="889"/>
                  </a:lnTo>
                  <a:lnTo>
                    <a:pt x="328" y="884"/>
                  </a:lnTo>
                  <a:lnTo>
                    <a:pt x="330" y="880"/>
                  </a:lnTo>
                  <a:lnTo>
                    <a:pt x="334" y="876"/>
                  </a:lnTo>
                  <a:lnTo>
                    <a:pt x="339" y="868"/>
                  </a:lnTo>
                  <a:lnTo>
                    <a:pt x="346" y="862"/>
                  </a:lnTo>
                  <a:lnTo>
                    <a:pt x="347" y="871"/>
                  </a:lnTo>
                  <a:lnTo>
                    <a:pt x="348" y="880"/>
                  </a:lnTo>
                  <a:lnTo>
                    <a:pt x="349" y="884"/>
                  </a:lnTo>
                  <a:lnTo>
                    <a:pt x="348" y="888"/>
                  </a:lnTo>
                  <a:lnTo>
                    <a:pt x="348" y="891"/>
                  </a:lnTo>
                  <a:lnTo>
                    <a:pt x="346" y="893"/>
                  </a:lnTo>
                  <a:lnTo>
                    <a:pt x="358" y="893"/>
                  </a:lnTo>
                  <a:lnTo>
                    <a:pt x="371" y="893"/>
                  </a:lnTo>
                  <a:lnTo>
                    <a:pt x="381" y="893"/>
                  </a:lnTo>
                  <a:lnTo>
                    <a:pt x="385" y="893"/>
                  </a:lnTo>
                  <a:lnTo>
                    <a:pt x="392" y="881"/>
                  </a:lnTo>
                  <a:lnTo>
                    <a:pt x="397" y="868"/>
                  </a:lnTo>
                  <a:lnTo>
                    <a:pt x="401" y="854"/>
                  </a:lnTo>
                  <a:lnTo>
                    <a:pt x="404" y="841"/>
                  </a:lnTo>
                  <a:lnTo>
                    <a:pt x="408" y="813"/>
                  </a:lnTo>
                  <a:lnTo>
                    <a:pt x="412" y="788"/>
                  </a:lnTo>
                  <a:lnTo>
                    <a:pt x="415" y="782"/>
                  </a:lnTo>
                  <a:lnTo>
                    <a:pt x="418" y="776"/>
                  </a:lnTo>
                  <a:lnTo>
                    <a:pt x="424" y="771"/>
                  </a:lnTo>
                  <a:lnTo>
                    <a:pt x="428" y="767"/>
                  </a:lnTo>
                  <a:lnTo>
                    <a:pt x="440" y="759"/>
                  </a:lnTo>
                  <a:lnTo>
                    <a:pt x="452" y="754"/>
                  </a:lnTo>
                  <a:lnTo>
                    <a:pt x="464" y="750"/>
                  </a:lnTo>
                  <a:lnTo>
                    <a:pt x="475" y="746"/>
                  </a:lnTo>
                  <a:lnTo>
                    <a:pt x="485" y="743"/>
                  </a:lnTo>
                  <a:lnTo>
                    <a:pt x="492" y="739"/>
                  </a:lnTo>
                  <a:lnTo>
                    <a:pt x="496" y="734"/>
                  </a:lnTo>
                  <a:lnTo>
                    <a:pt x="501" y="729"/>
                  </a:lnTo>
                  <a:lnTo>
                    <a:pt x="505" y="723"/>
                  </a:lnTo>
                  <a:lnTo>
                    <a:pt x="508" y="716"/>
                  </a:lnTo>
                  <a:lnTo>
                    <a:pt x="515" y="702"/>
                  </a:lnTo>
                  <a:lnTo>
                    <a:pt x="521" y="690"/>
                  </a:lnTo>
                  <a:lnTo>
                    <a:pt x="528" y="678"/>
                  </a:lnTo>
                  <a:lnTo>
                    <a:pt x="535" y="668"/>
                  </a:lnTo>
                  <a:lnTo>
                    <a:pt x="539" y="664"/>
                  </a:lnTo>
                  <a:lnTo>
                    <a:pt x="542" y="662"/>
                  </a:lnTo>
                  <a:lnTo>
                    <a:pt x="547" y="660"/>
                  </a:lnTo>
                  <a:lnTo>
                    <a:pt x="551" y="659"/>
                  </a:lnTo>
                  <a:lnTo>
                    <a:pt x="562" y="660"/>
                  </a:lnTo>
                  <a:lnTo>
                    <a:pt x="572" y="659"/>
                  </a:lnTo>
                  <a:lnTo>
                    <a:pt x="581" y="657"/>
                  </a:lnTo>
                  <a:lnTo>
                    <a:pt x="588" y="653"/>
                  </a:lnTo>
                  <a:lnTo>
                    <a:pt x="605" y="644"/>
                  </a:lnTo>
                  <a:lnTo>
                    <a:pt x="620" y="634"/>
                  </a:lnTo>
                  <a:lnTo>
                    <a:pt x="629" y="629"/>
                  </a:lnTo>
                  <a:lnTo>
                    <a:pt x="639" y="624"/>
                  </a:lnTo>
                  <a:lnTo>
                    <a:pt x="649" y="620"/>
                  </a:lnTo>
                  <a:lnTo>
                    <a:pt x="661" y="616"/>
                  </a:lnTo>
                  <a:lnTo>
                    <a:pt x="674" y="613"/>
                  </a:lnTo>
                  <a:lnTo>
                    <a:pt x="688" y="610"/>
                  </a:lnTo>
                  <a:lnTo>
                    <a:pt x="706" y="609"/>
                  </a:lnTo>
                  <a:lnTo>
                    <a:pt x="724" y="610"/>
                  </a:lnTo>
                  <a:lnTo>
                    <a:pt x="777" y="610"/>
                  </a:lnTo>
                  <a:lnTo>
                    <a:pt x="783" y="606"/>
                  </a:lnTo>
                  <a:lnTo>
                    <a:pt x="788" y="602"/>
                  </a:lnTo>
                  <a:lnTo>
                    <a:pt x="795" y="600"/>
                  </a:lnTo>
                  <a:lnTo>
                    <a:pt x="800" y="598"/>
                  </a:lnTo>
                  <a:lnTo>
                    <a:pt x="815" y="594"/>
                  </a:lnTo>
                  <a:lnTo>
                    <a:pt x="830" y="592"/>
                  </a:lnTo>
                  <a:lnTo>
                    <a:pt x="845" y="591"/>
                  </a:lnTo>
                  <a:lnTo>
                    <a:pt x="863" y="590"/>
                  </a:lnTo>
                  <a:lnTo>
                    <a:pt x="879" y="588"/>
                  </a:lnTo>
                  <a:lnTo>
                    <a:pt x="897" y="585"/>
                  </a:lnTo>
                  <a:lnTo>
                    <a:pt x="901" y="583"/>
                  </a:lnTo>
                  <a:lnTo>
                    <a:pt x="906" y="580"/>
                  </a:lnTo>
                  <a:lnTo>
                    <a:pt x="909" y="577"/>
                  </a:lnTo>
                  <a:lnTo>
                    <a:pt x="913" y="574"/>
                  </a:lnTo>
                  <a:lnTo>
                    <a:pt x="920" y="565"/>
                  </a:lnTo>
                  <a:lnTo>
                    <a:pt x="925" y="555"/>
                  </a:lnTo>
                  <a:lnTo>
                    <a:pt x="931" y="544"/>
                  </a:lnTo>
                  <a:lnTo>
                    <a:pt x="935" y="531"/>
                  </a:lnTo>
                  <a:lnTo>
                    <a:pt x="940" y="518"/>
                  </a:lnTo>
                  <a:lnTo>
                    <a:pt x="943" y="504"/>
                  </a:lnTo>
                  <a:lnTo>
                    <a:pt x="945" y="490"/>
                  </a:lnTo>
                  <a:lnTo>
                    <a:pt x="947" y="475"/>
                  </a:lnTo>
                  <a:lnTo>
                    <a:pt x="948" y="461"/>
                  </a:lnTo>
                  <a:lnTo>
                    <a:pt x="948" y="447"/>
                  </a:lnTo>
                  <a:lnTo>
                    <a:pt x="948" y="434"/>
                  </a:lnTo>
                  <a:lnTo>
                    <a:pt x="947" y="421"/>
                  </a:lnTo>
                  <a:lnTo>
                    <a:pt x="945" y="410"/>
                  </a:lnTo>
                  <a:lnTo>
                    <a:pt x="943" y="400"/>
                  </a:lnTo>
                  <a:lnTo>
                    <a:pt x="943" y="363"/>
                  </a:lnTo>
                  <a:lnTo>
                    <a:pt x="939" y="362"/>
                  </a:lnTo>
                  <a:lnTo>
                    <a:pt x="931" y="359"/>
                  </a:lnTo>
                  <a:lnTo>
                    <a:pt x="922" y="356"/>
                  </a:lnTo>
                  <a:lnTo>
                    <a:pt x="912" y="350"/>
                  </a:lnTo>
                  <a:lnTo>
                    <a:pt x="888" y="337"/>
                  </a:lnTo>
                  <a:lnTo>
                    <a:pt x="862" y="322"/>
                  </a:lnTo>
                  <a:lnTo>
                    <a:pt x="835" y="305"/>
                  </a:lnTo>
                  <a:lnTo>
                    <a:pt x="811" y="290"/>
                  </a:lnTo>
                  <a:lnTo>
                    <a:pt x="794" y="278"/>
                  </a:lnTo>
                  <a:lnTo>
                    <a:pt x="784" y="271"/>
                  </a:lnTo>
                  <a:lnTo>
                    <a:pt x="764" y="240"/>
                  </a:lnTo>
                  <a:lnTo>
                    <a:pt x="738" y="216"/>
                  </a:lnTo>
                  <a:lnTo>
                    <a:pt x="405" y="0"/>
                  </a:lnTo>
                  <a:lnTo>
                    <a:pt x="408" y="6"/>
                  </a:lnTo>
                  <a:lnTo>
                    <a:pt x="412" y="12"/>
                  </a:lnTo>
                  <a:lnTo>
                    <a:pt x="339" y="12"/>
                  </a:lnTo>
                  <a:lnTo>
                    <a:pt x="341" y="36"/>
                  </a:lnTo>
                  <a:lnTo>
                    <a:pt x="348" y="102"/>
                  </a:lnTo>
                  <a:lnTo>
                    <a:pt x="358" y="193"/>
                  </a:lnTo>
                  <a:lnTo>
                    <a:pt x="368" y="299"/>
                  </a:lnTo>
                  <a:lnTo>
                    <a:pt x="379" y="405"/>
                  </a:lnTo>
                  <a:lnTo>
                    <a:pt x="386" y="498"/>
                  </a:lnTo>
                  <a:lnTo>
                    <a:pt x="390" y="535"/>
                  </a:lnTo>
                  <a:lnTo>
                    <a:pt x="392" y="565"/>
                  </a:lnTo>
                  <a:lnTo>
                    <a:pt x="393" y="583"/>
                  </a:lnTo>
                  <a:lnTo>
                    <a:pt x="392" y="591"/>
                  </a:lnTo>
                  <a:lnTo>
                    <a:pt x="93" y="591"/>
                  </a:lnTo>
                  <a:lnTo>
                    <a:pt x="88" y="597"/>
                  </a:lnTo>
                  <a:lnTo>
                    <a:pt x="82" y="603"/>
                  </a:lnTo>
                  <a:lnTo>
                    <a:pt x="79" y="606"/>
                  </a:lnTo>
                  <a:lnTo>
                    <a:pt x="76" y="608"/>
                  </a:lnTo>
                  <a:lnTo>
                    <a:pt x="71" y="609"/>
                  </a:lnTo>
                  <a:lnTo>
                    <a:pt x="67" y="610"/>
                  </a:lnTo>
                  <a:lnTo>
                    <a:pt x="64" y="609"/>
                  </a:lnTo>
                  <a:lnTo>
                    <a:pt x="60" y="608"/>
                  </a:lnTo>
                  <a:lnTo>
                    <a:pt x="57" y="607"/>
                  </a:lnTo>
                  <a:lnTo>
                    <a:pt x="55" y="604"/>
                  </a:lnTo>
                  <a:lnTo>
                    <a:pt x="51" y="598"/>
                  </a:lnTo>
                  <a:lnTo>
                    <a:pt x="49" y="591"/>
                  </a:lnTo>
                  <a:lnTo>
                    <a:pt x="47" y="578"/>
                  </a:lnTo>
                  <a:lnTo>
                    <a:pt x="47" y="573"/>
                  </a:lnTo>
                  <a:lnTo>
                    <a:pt x="40" y="581"/>
                  </a:lnTo>
                  <a:lnTo>
                    <a:pt x="36" y="590"/>
                  </a:lnTo>
                  <a:lnTo>
                    <a:pt x="33" y="598"/>
                  </a:lnTo>
                  <a:lnTo>
                    <a:pt x="29" y="605"/>
                  </a:lnTo>
                  <a:lnTo>
                    <a:pt x="26" y="612"/>
                  </a:lnTo>
                  <a:lnTo>
                    <a:pt x="22" y="618"/>
                  </a:lnTo>
                  <a:lnTo>
                    <a:pt x="15" y="623"/>
                  </a:lnTo>
                  <a:lnTo>
                    <a:pt x="6" y="628"/>
                  </a:lnTo>
                  <a:lnTo>
                    <a:pt x="0" y="709"/>
                  </a:lnTo>
                  <a:lnTo>
                    <a:pt x="67" y="733"/>
                  </a:lnTo>
                  <a:lnTo>
                    <a:pt x="65" y="738"/>
                  </a:lnTo>
                  <a:lnTo>
                    <a:pt x="62" y="743"/>
                  </a:lnTo>
                  <a:lnTo>
                    <a:pt x="61" y="748"/>
                  </a:lnTo>
                  <a:lnTo>
                    <a:pt x="61" y="753"/>
                  </a:lnTo>
                  <a:lnTo>
                    <a:pt x="61" y="757"/>
                  </a:lnTo>
                  <a:lnTo>
                    <a:pt x="62" y="760"/>
                  </a:lnTo>
                  <a:lnTo>
                    <a:pt x="65" y="763"/>
                  </a:lnTo>
                  <a:lnTo>
                    <a:pt x="67" y="764"/>
                  </a:lnTo>
                  <a:lnTo>
                    <a:pt x="54" y="78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80" name="Freeform 237"/>
            <p:cNvSpPr>
              <a:spLocks/>
            </p:cNvSpPr>
            <p:nvPr>
              <p:custDataLst>
                <p:tags r:id="rId165"/>
              </p:custDataLst>
            </p:nvPr>
          </p:nvSpPr>
          <p:spPr bwMode="auto">
            <a:xfrm>
              <a:off x="5925182" y="3150039"/>
              <a:ext cx="493712" cy="579438"/>
            </a:xfrm>
            <a:custGeom>
              <a:avLst/>
              <a:gdLst>
                <a:gd name="T0" fmla="*/ 2147483647 w 373"/>
                <a:gd name="T1" fmla="*/ 2147483647 h 370"/>
                <a:gd name="T2" fmla="*/ 2147483647 w 373"/>
                <a:gd name="T3" fmla="*/ 2147483647 h 370"/>
                <a:gd name="T4" fmla="*/ 2147483647 w 373"/>
                <a:gd name="T5" fmla="*/ 2147483647 h 370"/>
                <a:gd name="T6" fmla="*/ 2147483647 w 373"/>
                <a:gd name="T7" fmla="*/ 2147483647 h 370"/>
                <a:gd name="T8" fmla="*/ 2147483647 w 373"/>
                <a:gd name="T9" fmla="*/ 2147483647 h 370"/>
                <a:gd name="T10" fmla="*/ 2147483647 w 373"/>
                <a:gd name="T11" fmla="*/ 2147483647 h 370"/>
                <a:gd name="T12" fmla="*/ 2147483647 w 373"/>
                <a:gd name="T13" fmla="*/ 2147483647 h 370"/>
                <a:gd name="T14" fmla="*/ 2147483647 w 373"/>
                <a:gd name="T15" fmla="*/ 2147483647 h 370"/>
                <a:gd name="T16" fmla="*/ 2147483647 w 373"/>
                <a:gd name="T17" fmla="*/ 2147483647 h 370"/>
                <a:gd name="T18" fmla="*/ 2147483647 w 373"/>
                <a:gd name="T19" fmla="*/ 2147483647 h 370"/>
                <a:gd name="T20" fmla="*/ 2147483647 w 373"/>
                <a:gd name="T21" fmla="*/ 2147483647 h 370"/>
                <a:gd name="T22" fmla="*/ 2147483647 w 373"/>
                <a:gd name="T23" fmla="*/ 2147483647 h 370"/>
                <a:gd name="T24" fmla="*/ 2147483647 w 373"/>
                <a:gd name="T25" fmla="*/ 2147483647 h 370"/>
                <a:gd name="T26" fmla="*/ 2147483647 w 373"/>
                <a:gd name="T27" fmla="*/ 2147483647 h 370"/>
                <a:gd name="T28" fmla="*/ 2147483647 w 373"/>
                <a:gd name="T29" fmla="*/ 2147483647 h 370"/>
                <a:gd name="T30" fmla="*/ 2147483647 w 373"/>
                <a:gd name="T31" fmla="*/ 2147483647 h 370"/>
                <a:gd name="T32" fmla="*/ 2147483647 w 373"/>
                <a:gd name="T33" fmla="*/ 2147483647 h 370"/>
                <a:gd name="T34" fmla="*/ 2147483647 w 373"/>
                <a:gd name="T35" fmla="*/ 2147483647 h 370"/>
                <a:gd name="T36" fmla="*/ 2147483647 w 373"/>
                <a:gd name="T37" fmla="*/ 2147483647 h 370"/>
                <a:gd name="T38" fmla="*/ 2147483647 w 373"/>
                <a:gd name="T39" fmla="*/ 2147483647 h 370"/>
                <a:gd name="T40" fmla="*/ 2147483647 w 373"/>
                <a:gd name="T41" fmla="*/ 2147483647 h 370"/>
                <a:gd name="T42" fmla="*/ 2147483647 w 373"/>
                <a:gd name="T43" fmla="*/ 2147483647 h 370"/>
                <a:gd name="T44" fmla="*/ 2147483647 w 373"/>
                <a:gd name="T45" fmla="*/ 2147483647 h 370"/>
                <a:gd name="T46" fmla="*/ 2147483647 w 373"/>
                <a:gd name="T47" fmla="*/ 2147483647 h 370"/>
                <a:gd name="T48" fmla="*/ 2147483647 w 373"/>
                <a:gd name="T49" fmla="*/ 2147483647 h 370"/>
                <a:gd name="T50" fmla="*/ 2147483647 w 373"/>
                <a:gd name="T51" fmla="*/ 2147483647 h 370"/>
                <a:gd name="T52" fmla="*/ 2147483647 w 373"/>
                <a:gd name="T53" fmla="*/ 2147483647 h 370"/>
                <a:gd name="T54" fmla="*/ 2147483647 w 373"/>
                <a:gd name="T55" fmla="*/ 2147483647 h 370"/>
                <a:gd name="T56" fmla="*/ 2147483647 w 373"/>
                <a:gd name="T57" fmla="*/ 2147483647 h 370"/>
                <a:gd name="T58" fmla="*/ 2147483647 w 373"/>
                <a:gd name="T59" fmla="*/ 2147483647 h 370"/>
                <a:gd name="T60" fmla="*/ 2147483647 w 373"/>
                <a:gd name="T61" fmla="*/ 2147483647 h 370"/>
                <a:gd name="T62" fmla="*/ 2147483647 w 373"/>
                <a:gd name="T63" fmla="*/ 2147483647 h 370"/>
                <a:gd name="T64" fmla="*/ 2147483647 w 373"/>
                <a:gd name="T65" fmla="*/ 2147483647 h 370"/>
                <a:gd name="T66" fmla="*/ 2147483647 w 373"/>
                <a:gd name="T67" fmla="*/ 2147483647 h 370"/>
                <a:gd name="T68" fmla="*/ 2147483647 w 373"/>
                <a:gd name="T69" fmla="*/ 2147483647 h 370"/>
                <a:gd name="T70" fmla="*/ 2147483647 w 373"/>
                <a:gd name="T71" fmla="*/ 2147483647 h 370"/>
                <a:gd name="T72" fmla="*/ 2147483647 w 373"/>
                <a:gd name="T73" fmla="*/ 2147483647 h 370"/>
                <a:gd name="T74" fmla="*/ 2147483647 w 373"/>
                <a:gd name="T75" fmla="*/ 2147483647 h 370"/>
                <a:gd name="T76" fmla="*/ 2147483647 w 373"/>
                <a:gd name="T77" fmla="*/ 2147483647 h 370"/>
                <a:gd name="T78" fmla="*/ 2147483647 w 373"/>
                <a:gd name="T79" fmla="*/ 2147483647 h 370"/>
                <a:gd name="T80" fmla="*/ 2147483647 w 373"/>
                <a:gd name="T81" fmla="*/ 2147483647 h 370"/>
                <a:gd name="T82" fmla="*/ 2147483647 w 373"/>
                <a:gd name="T83" fmla="*/ 2147483647 h 370"/>
                <a:gd name="T84" fmla="*/ 2147483647 w 373"/>
                <a:gd name="T85" fmla="*/ 2147483647 h 370"/>
                <a:gd name="T86" fmla="*/ 2147483647 w 373"/>
                <a:gd name="T87" fmla="*/ 2147483647 h 370"/>
                <a:gd name="T88" fmla="*/ 0 w 373"/>
                <a:gd name="T89" fmla="*/ 2147483647 h 370"/>
                <a:gd name="T90" fmla="*/ 2147483647 w 373"/>
                <a:gd name="T91" fmla="*/ 2147483647 h 370"/>
                <a:gd name="T92" fmla="*/ 2147483647 w 373"/>
                <a:gd name="T93" fmla="*/ 2147483647 h 370"/>
                <a:gd name="T94" fmla="*/ 2147483647 w 373"/>
                <a:gd name="T95" fmla="*/ 2147483647 h 370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73" h="370">
                  <a:moveTo>
                    <a:pt x="235" y="370"/>
                  </a:moveTo>
                  <a:lnTo>
                    <a:pt x="237" y="369"/>
                  </a:lnTo>
                  <a:lnTo>
                    <a:pt x="238" y="367"/>
                  </a:lnTo>
                  <a:lnTo>
                    <a:pt x="240" y="366"/>
                  </a:lnTo>
                  <a:lnTo>
                    <a:pt x="241" y="366"/>
                  </a:lnTo>
                  <a:lnTo>
                    <a:pt x="242" y="365"/>
                  </a:lnTo>
                  <a:lnTo>
                    <a:pt x="244" y="365"/>
                  </a:lnTo>
                  <a:lnTo>
                    <a:pt x="245" y="365"/>
                  </a:lnTo>
                  <a:lnTo>
                    <a:pt x="249" y="366"/>
                  </a:lnTo>
                  <a:lnTo>
                    <a:pt x="252" y="367"/>
                  </a:lnTo>
                  <a:lnTo>
                    <a:pt x="255" y="368"/>
                  </a:lnTo>
                  <a:lnTo>
                    <a:pt x="257" y="370"/>
                  </a:lnTo>
                  <a:lnTo>
                    <a:pt x="373" y="282"/>
                  </a:lnTo>
                  <a:lnTo>
                    <a:pt x="373" y="279"/>
                  </a:lnTo>
                  <a:lnTo>
                    <a:pt x="372" y="277"/>
                  </a:lnTo>
                  <a:lnTo>
                    <a:pt x="372" y="275"/>
                  </a:lnTo>
                  <a:lnTo>
                    <a:pt x="371" y="273"/>
                  </a:lnTo>
                  <a:lnTo>
                    <a:pt x="370" y="271"/>
                  </a:lnTo>
                  <a:lnTo>
                    <a:pt x="369" y="270"/>
                  </a:lnTo>
                  <a:lnTo>
                    <a:pt x="368" y="268"/>
                  </a:lnTo>
                  <a:lnTo>
                    <a:pt x="367" y="267"/>
                  </a:lnTo>
                  <a:lnTo>
                    <a:pt x="364" y="265"/>
                  </a:lnTo>
                  <a:lnTo>
                    <a:pt x="361" y="264"/>
                  </a:lnTo>
                  <a:lnTo>
                    <a:pt x="358" y="262"/>
                  </a:lnTo>
                  <a:lnTo>
                    <a:pt x="354" y="261"/>
                  </a:lnTo>
                  <a:lnTo>
                    <a:pt x="351" y="260"/>
                  </a:lnTo>
                  <a:lnTo>
                    <a:pt x="347" y="259"/>
                  </a:lnTo>
                  <a:lnTo>
                    <a:pt x="344" y="258"/>
                  </a:lnTo>
                  <a:lnTo>
                    <a:pt x="342" y="256"/>
                  </a:lnTo>
                  <a:lnTo>
                    <a:pt x="340" y="255"/>
                  </a:lnTo>
                  <a:lnTo>
                    <a:pt x="339" y="254"/>
                  </a:lnTo>
                  <a:lnTo>
                    <a:pt x="338" y="252"/>
                  </a:lnTo>
                  <a:lnTo>
                    <a:pt x="337" y="251"/>
                  </a:lnTo>
                  <a:lnTo>
                    <a:pt x="337" y="249"/>
                  </a:lnTo>
                  <a:lnTo>
                    <a:pt x="336" y="247"/>
                  </a:lnTo>
                  <a:lnTo>
                    <a:pt x="336" y="245"/>
                  </a:lnTo>
                  <a:lnTo>
                    <a:pt x="336" y="243"/>
                  </a:lnTo>
                  <a:lnTo>
                    <a:pt x="336" y="235"/>
                  </a:lnTo>
                  <a:lnTo>
                    <a:pt x="337" y="228"/>
                  </a:lnTo>
                  <a:lnTo>
                    <a:pt x="338" y="220"/>
                  </a:lnTo>
                  <a:lnTo>
                    <a:pt x="338" y="214"/>
                  </a:lnTo>
                  <a:lnTo>
                    <a:pt x="338" y="205"/>
                  </a:lnTo>
                  <a:lnTo>
                    <a:pt x="337" y="196"/>
                  </a:lnTo>
                  <a:lnTo>
                    <a:pt x="337" y="186"/>
                  </a:lnTo>
                  <a:lnTo>
                    <a:pt x="336" y="177"/>
                  </a:lnTo>
                  <a:lnTo>
                    <a:pt x="335" y="172"/>
                  </a:lnTo>
                  <a:lnTo>
                    <a:pt x="334" y="168"/>
                  </a:lnTo>
                  <a:lnTo>
                    <a:pt x="333" y="164"/>
                  </a:lnTo>
                  <a:lnTo>
                    <a:pt x="332" y="160"/>
                  </a:lnTo>
                  <a:lnTo>
                    <a:pt x="330" y="157"/>
                  </a:lnTo>
                  <a:lnTo>
                    <a:pt x="329" y="155"/>
                  </a:lnTo>
                  <a:lnTo>
                    <a:pt x="327" y="153"/>
                  </a:lnTo>
                  <a:lnTo>
                    <a:pt x="325" y="152"/>
                  </a:lnTo>
                  <a:lnTo>
                    <a:pt x="324" y="147"/>
                  </a:lnTo>
                  <a:lnTo>
                    <a:pt x="323" y="142"/>
                  </a:lnTo>
                  <a:lnTo>
                    <a:pt x="322" y="136"/>
                  </a:lnTo>
                  <a:lnTo>
                    <a:pt x="321" y="130"/>
                  </a:lnTo>
                  <a:lnTo>
                    <a:pt x="319" y="120"/>
                  </a:lnTo>
                  <a:lnTo>
                    <a:pt x="315" y="109"/>
                  </a:lnTo>
                  <a:lnTo>
                    <a:pt x="313" y="104"/>
                  </a:lnTo>
                  <a:lnTo>
                    <a:pt x="311" y="99"/>
                  </a:lnTo>
                  <a:lnTo>
                    <a:pt x="308" y="94"/>
                  </a:lnTo>
                  <a:lnTo>
                    <a:pt x="306" y="90"/>
                  </a:lnTo>
                  <a:lnTo>
                    <a:pt x="304" y="86"/>
                  </a:lnTo>
                  <a:lnTo>
                    <a:pt x="301" y="83"/>
                  </a:lnTo>
                  <a:lnTo>
                    <a:pt x="299" y="80"/>
                  </a:lnTo>
                  <a:lnTo>
                    <a:pt x="297" y="78"/>
                  </a:lnTo>
                  <a:lnTo>
                    <a:pt x="298" y="74"/>
                  </a:lnTo>
                  <a:lnTo>
                    <a:pt x="299" y="69"/>
                  </a:lnTo>
                  <a:lnTo>
                    <a:pt x="300" y="66"/>
                  </a:lnTo>
                  <a:lnTo>
                    <a:pt x="300" y="63"/>
                  </a:lnTo>
                  <a:lnTo>
                    <a:pt x="301" y="60"/>
                  </a:lnTo>
                  <a:lnTo>
                    <a:pt x="303" y="57"/>
                  </a:lnTo>
                  <a:lnTo>
                    <a:pt x="302" y="50"/>
                  </a:lnTo>
                  <a:lnTo>
                    <a:pt x="301" y="43"/>
                  </a:lnTo>
                  <a:lnTo>
                    <a:pt x="301" y="37"/>
                  </a:lnTo>
                  <a:lnTo>
                    <a:pt x="301" y="32"/>
                  </a:lnTo>
                  <a:lnTo>
                    <a:pt x="301" y="27"/>
                  </a:lnTo>
                  <a:lnTo>
                    <a:pt x="302" y="23"/>
                  </a:lnTo>
                  <a:lnTo>
                    <a:pt x="303" y="19"/>
                  </a:lnTo>
                  <a:lnTo>
                    <a:pt x="304" y="16"/>
                  </a:lnTo>
                  <a:lnTo>
                    <a:pt x="307" y="11"/>
                  </a:lnTo>
                  <a:lnTo>
                    <a:pt x="310" y="7"/>
                  </a:lnTo>
                  <a:lnTo>
                    <a:pt x="312" y="3"/>
                  </a:lnTo>
                  <a:lnTo>
                    <a:pt x="314" y="0"/>
                  </a:lnTo>
                  <a:lnTo>
                    <a:pt x="308" y="3"/>
                  </a:lnTo>
                  <a:lnTo>
                    <a:pt x="302" y="6"/>
                  </a:lnTo>
                  <a:lnTo>
                    <a:pt x="297" y="8"/>
                  </a:lnTo>
                  <a:lnTo>
                    <a:pt x="290" y="9"/>
                  </a:lnTo>
                  <a:lnTo>
                    <a:pt x="284" y="11"/>
                  </a:lnTo>
                  <a:lnTo>
                    <a:pt x="278" y="12"/>
                  </a:lnTo>
                  <a:lnTo>
                    <a:pt x="271" y="12"/>
                  </a:lnTo>
                  <a:lnTo>
                    <a:pt x="264" y="12"/>
                  </a:lnTo>
                  <a:lnTo>
                    <a:pt x="256" y="12"/>
                  </a:lnTo>
                  <a:lnTo>
                    <a:pt x="245" y="12"/>
                  </a:lnTo>
                  <a:lnTo>
                    <a:pt x="233" y="12"/>
                  </a:lnTo>
                  <a:lnTo>
                    <a:pt x="222" y="12"/>
                  </a:lnTo>
                  <a:lnTo>
                    <a:pt x="215" y="13"/>
                  </a:lnTo>
                  <a:lnTo>
                    <a:pt x="206" y="14"/>
                  </a:lnTo>
                  <a:lnTo>
                    <a:pt x="197" y="16"/>
                  </a:lnTo>
                  <a:lnTo>
                    <a:pt x="187" y="18"/>
                  </a:lnTo>
                  <a:lnTo>
                    <a:pt x="177" y="21"/>
                  </a:lnTo>
                  <a:lnTo>
                    <a:pt x="168" y="24"/>
                  </a:lnTo>
                  <a:lnTo>
                    <a:pt x="159" y="26"/>
                  </a:lnTo>
                  <a:lnTo>
                    <a:pt x="153" y="29"/>
                  </a:lnTo>
                  <a:lnTo>
                    <a:pt x="150" y="30"/>
                  </a:lnTo>
                  <a:lnTo>
                    <a:pt x="145" y="32"/>
                  </a:lnTo>
                  <a:lnTo>
                    <a:pt x="140" y="34"/>
                  </a:lnTo>
                  <a:lnTo>
                    <a:pt x="135" y="37"/>
                  </a:lnTo>
                  <a:lnTo>
                    <a:pt x="130" y="40"/>
                  </a:lnTo>
                  <a:lnTo>
                    <a:pt x="124" y="44"/>
                  </a:lnTo>
                  <a:lnTo>
                    <a:pt x="119" y="48"/>
                  </a:lnTo>
                  <a:lnTo>
                    <a:pt x="116" y="51"/>
                  </a:lnTo>
                  <a:lnTo>
                    <a:pt x="118" y="52"/>
                  </a:lnTo>
                  <a:lnTo>
                    <a:pt x="123" y="52"/>
                  </a:lnTo>
                  <a:lnTo>
                    <a:pt x="128" y="53"/>
                  </a:lnTo>
                  <a:lnTo>
                    <a:pt x="131" y="53"/>
                  </a:lnTo>
                  <a:lnTo>
                    <a:pt x="131" y="88"/>
                  </a:lnTo>
                  <a:lnTo>
                    <a:pt x="131" y="89"/>
                  </a:lnTo>
                  <a:lnTo>
                    <a:pt x="131" y="90"/>
                  </a:lnTo>
                  <a:lnTo>
                    <a:pt x="132" y="91"/>
                  </a:lnTo>
                  <a:lnTo>
                    <a:pt x="133" y="92"/>
                  </a:lnTo>
                  <a:lnTo>
                    <a:pt x="134" y="93"/>
                  </a:lnTo>
                  <a:lnTo>
                    <a:pt x="136" y="94"/>
                  </a:lnTo>
                  <a:lnTo>
                    <a:pt x="138" y="95"/>
                  </a:lnTo>
                  <a:lnTo>
                    <a:pt x="140" y="97"/>
                  </a:lnTo>
                  <a:lnTo>
                    <a:pt x="141" y="98"/>
                  </a:lnTo>
                  <a:lnTo>
                    <a:pt x="141" y="99"/>
                  </a:lnTo>
                  <a:lnTo>
                    <a:pt x="142" y="100"/>
                  </a:lnTo>
                  <a:lnTo>
                    <a:pt x="142" y="101"/>
                  </a:lnTo>
                  <a:lnTo>
                    <a:pt x="142" y="102"/>
                  </a:lnTo>
                  <a:lnTo>
                    <a:pt x="141" y="104"/>
                  </a:lnTo>
                  <a:lnTo>
                    <a:pt x="141" y="105"/>
                  </a:lnTo>
                  <a:lnTo>
                    <a:pt x="140" y="106"/>
                  </a:lnTo>
                  <a:lnTo>
                    <a:pt x="139" y="107"/>
                  </a:lnTo>
                  <a:lnTo>
                    <a:pt x="138" y="107"/>
                  </a:lnTo>
                  <a:lnTo>
                    <a:pt x="136" y="107"/>
                  </a:lnTo>
                  <a:lnTo>
                    <a:pt x="135" y="108"/>
                  </a:lnTo>
                  <a:lnTo>
                    <a:pt x="128" y="107"/>
                  </a:lnTo>
                  <a:lnTo>
                    <a:pt x="120" y="107"/>
                  </a:lnTo>
                  <a:lnTo>
                    <a:pt x="116" y="108"/>
                  </a:lnTo>
                  <a:lnTo>
                    <a:pt x="112" y="111"/>
                  </a:lnTo>
                  <a:lnTo>
                    <a:pt x="106" y="113"/>
                  </a:lnTo>
                  <a:lnTo>
                    <a:pt x="101" y="116"/>
                  </a:lnTo>
                  <a:lnTo>
                    <a:pt x="99" y="118"/>
                  </a:lnTo>
                  <a:lnTo>
                    <a:pt x="97" y="120"/>
                  </a:lnTo>
                  <a:lnTo>
                    <a:pt x="95" y="122"/>
                  </a:lnTo>
                  <a:lnTo>
                    <a:pt x="93" y="124"/>
                  </a:lnTo>
                  <a:lnTo>
                    <a:pt x="92" y="126"/>
                  </a:lnTo>
                  <a:lnTo>
                    <a:pt x="91" y="128"/>
                  </a:lnTo>
                  <a:lnTo>
                    <a:pt x="90" y="131"/>
                  </a:lnTo>
                  <a:lnTo>
                    <a:pt x="90" y="133"/>
                  </a:lnTo>
                  <a:lnTo>
                    <a:pt x="87" y="134"/>
                  </a:lnTo>
                  <a:lnTo>
                    <a:pt x="84" y="135"/>
                  </a:lnTo>
                  <a:lnTo>
                    <a:pt x="82" y="137"/>
                  </a:lnTo>
                  <a:lnTo>
                    <a:pt x="79" y="139"/>
                  </a:lnTo>
                  <a:lnTo>
                    <a:pt x="74" y="143"/>
                  </a:lnTo>
                  <a:lnTo>
                    <a:pt x="69" y="148"/>
                  </a:lnTo>
                  <a:lnTo>
                    <a:pt x="66" y="150"/>
                  </a:lnTo>
                  <a:lnTo>
                    <a:pt x="62" y="152"/>
                  </a:lnTo>
                  <a:lnTo>
                    <a:pt x="59" y="155"/>
                  </a:lnTo>
                  <a:lnTo>
                    <a:pt x="55" y="156"/>
                  </a:lnTo>
                  <a:lnTo>
                    <a:pt x="51" y="158"/>
                  </a:lnTo>
                  <a:lnTo>
                    <a:pt x="46" y="159"/>
                  </a:lnTo>
                  <a:lnTo>
                    <a:pt x="41" y="160"/>
                  </a:lnTo>
                  <a:lnTo>
                    <a:pt x="35" y="160"/>
                  </a:lnTo>
                  <a:lnTo>
                    <a:pt x="31" y="160"/>
                  </a:lnTo>
                  <a:lnTo>
                    <a:pt x="29" y="161"/>
                  </a:lnTo>
                  <a:lnTo>
                    <a:pt x="26" y="161"/>
                  </a:lnTo>
                  <a:lnTo>
                    <a:pt x="24" y="162"/>
                  </a:lnTo>
                  <a:lnTo>
                    <a:pt x="20" y="164"/>
                  </a:lnTo>
                  <a:lnTo>
                    <a:pt x="17" y="167"/>
                  </a:lnTo>
                  <a:lnTo>
                    <a:pt x="13" y="169"/>
                  </a:lnTo>
                  <a:lnTo>
                    <a:pt x="10" y="172"/>
                  </a:lnTo>
                  <a:lnTo>
                    <a:pt x="8" y="174"/>
                  </a:lnTo>
                  <a:lnTo>
                    <a:pt x="6" y="175"/>
                  </a:lnTo>
                  <a:lnTo>
                    <a:pt x="3" y="176"/>
                  </a:lnTo>
                  <a:lnTo>
                    <a:pt x="0" y="177"/>
                  </a:lnTo>
                  <a:lnTo>
                    <a:pt x="0" y="200"/>
                  </a:lnTo>
                  <a:lnTo>
                    <a:pt x="0" y="208"/>
                  </a:lnTo>
                  <a:lnTo>
                    <a:pt x="69" y="253"/>
                  </a:lnTo>
                  <a:lnTo>
                    <a:pt x="170" y="323"/>
                  </a:lnTo>
                  <a:lnTo>
                    <a:pt x="179" y="331"/>
                  </a:lnTo>
                  <a:lnTo>
                    <a:pt x="185" y="341"/>
                  </a:lnTo>
                  <a:lnTo>
                    <a:pt x="189" y="344"/>
                  </a:lnTo>
                  <a:lnTo>
                    <a:pt x="194" y="347"/>
                  </a:lnTo>
                  <a:lnTo>
                    <a:pt x="201" y="352"/>
                  </a:lnTo>
                  <a:lnTo>
                    <a:pt x="210" y="357"/>
                  </a:lnTo>
                  <a:lnTo>
                    <a:pt x="218" y="362"/>
                  </a:lnTo>
                  <a:lnTo>
                    <a:pt x="226" y="366"/>
                  </a:lnTo>
                  <a:lnTo>
                    <a:pt x="229" y="368"/>
                  </a:lnTo>
                  <a:lnTo>
                    <a:pt x="232" y="369"/>
                  </a:lnTo>
                  <a:lnTo>
                    <a:pt x="234" y="370"/>
                  </a:lnTo>
                  <a:lnTo>
                    <a:pt x="235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81" name="Freeform 238"/>
            <p:cNvSpPr>
              <a:spLocks/>
            </p:cNvSpPr>
            <p:nvPr>
              <p:custDataLst>
                <p:tags r:id="rId166"/>
              </p:custDataLst>
            </p:nvPr>
          </p:nvSpPr>
          <p:spPr bwMode="auto">
            <a:xfrm>
              <a:off x="6361744" y="3284977"/>
              <a:ext cx="384175" cy="436562"/>
            </a:xfrm>
            <a:custGeom>
              <a:avLst/>
              <a:gdLst>
                <a:gd name="T0" fmla="*/ 2147483647 w 877"/>
                <a:gd name="T1" fmla="*/ 2147483647 h 826"/>
                <a:gd name="T2" fmla="*/ 2147483647 w 877"/>
                <a:gd name="T3" fmla="*/ 2147483647 h 826"/>
                <a:gd name="T4" fmla="*/ 2147483647 w 877"/>
                <a:gd name="T5" fmla="*/ 2147483647 h 826"/>
                <a:gd name="T6" fmla="*/ 2147483647 w 877"/>
                <a:gd name="T7" fmla="*/ 2147483647 h 826"/>
                <a:gd name="T8" fmla="*/ 2147483647 w 877"/>
                <a:gd name="T9" fmla="*/ 2147483647 h 826"/>
                <a:gd name="T10" fmla="*/ 2147483647 w 877"/>
                <a:gd name="T11" fmla="*/ 2147483647 h 826"/>
                <a:gd name="T12" fmla="*/ 2147483647 w 877"/>
                <a:gd name="T13" fmla="*/ 2147483647 h 826"/>
                <a:gd name="T14" fmla="*/ 2147483647 w 877"/>
                <a:gd name="T15" fmla="*/ 2147483647 h 826"/>
                <a:gd name="T16" fmla="*/ 2147483647 w 877"/>
                <a:gd name="T17" fmla="*/ 2147483647 h 826"/>
                <a:gd name="T18" fmla="*/ 2147483647 w 877"/>
                <a:gd name="T19" fmla="*/ 2147483647 h 826"/>
                <a:gd name="T20" fmla="*/ 2147483647 w 877"/>
                <a:gd name="T21" fmla="*/ 2147483647 h 826"/>
                <a:gd name="T22" fmla="*/ 2147483647 w 877"/>
                <a:gd name="T23" fmla="*/ 2147483647 h 826"/>
                <a:gd name="T24" fmla="*/ 2147483647 w 877"/>
                <a:gd name="T25" fmla="*/ 2147483647 h 826"/>
                <a:gd name="T26" fmla="*/ 2147483647 w 877"/>
                <a:gd name="T27" fmla="*/ 2147483647 h 826"/>
                <a:gd name="T28" fmla="*/ 2147483647 w 877"/>
                <a:gd name="T29" fmla="*/ 2147483647 h 826"/>
                <a:gd name="T30" fmla="*/ 2147483647 w 877"/>
                <a:gd name="T31" fmla="*/ 2147483647 h 826"/>
                <a:gd name="T32" fmla="*/ 2147483647 w 877"/>
                <a:gd name="T33" fmla="*/ 2147483647 h 826"/>
                <a:gd name="T34" fmla="*/ 2147483647 w 877"/>
                <a:gd name="T35" fmla="*/ 2147483647 h 826"/>
                <a:gd name="T36" fmla="*/ 2147483647 w 877"/>
                <a:gd name="T37" fmla="*/ 2147483647 h 826"/>
                <a:gd name="T38" fmla="*/ 2147483647 w 877"/>
                <a:gd name="T39" fmla="*/ 2147483647 h 826"/>
                <a:gd name="T40" fmla="*/ 2147483647 w 877"/>
                <a:gd name="T41" fmla="*/ 2147483647 h 826"/>
                <a:gd name="T42" fmla="*/ 2147483647 w 877"/>
                <a:gd name="T43" fmla="*/ 2147483647 h 826"/>
                <a:gd name="T44" fmla="*/ 2147483647 w 877"/>
                <a:gd name="T45" fmla="*/ 2147483647 h 826"/>
                <a:gd name="T46" fmla="*/ 2147483647 w 877"/>
                <a:gd name="T47" fmla="*/ 0 h 826"/>
                <a:gd name="T48" fmla="*/ 2147483647 w 877"/>
                <a:gd name="T49" fmla="*/ 2147483647 h 826"/>
                <a:gd name="T50" fmla="*/ 2147483647 w 877"/>
                <a:gd name="T51" fmla="*/ 2147483647 h 826"/>
                <a:gd name="T52" fmla="*/ 2147483647 w 877"/>
                <a:gd name="T53" fmla="*/ 2147483647 h 826"/>
                <a:gd name="T54" fmla="*/ 2147483647 w 877"/>
                <a:gd name="T55" fmla="*/ 2147483647 h 826"/>
                <a:gd name="T56" fmla="*/ 2147483647 w 877"/>
                <a:gd name="T57" fmla="*/ 2147483647 h 826"/>
                <a:gd name="T58" fmla="*/ 2147483647 w 877"/>
                <a:gd name="T59" fmla="*/ 2147483647 h 826"/>
                <a:gd name="T60" fmla="*/ 2147483647 w 877"/>
                <a:gd name="T61" fmla="*/ 2147483647 h 826"/>
                <a:gd name="T62" fmla="*/ 2147483647 w 877"/>
                <a:gd name="T63" fmla="*/ 2147483647 h 826"/>
                <a:gd name="T64" fmla="*/ 2147483647 w 877"/>
                <a:gd name="T65" fmla="*/ 2147483647 h 826"/>
                <a:gd name="T66" fmla="*/ 2147483647 w 877"/>
                <a:gd name="T67" fmla="*/ 2147483647 h 826"/>
                <a:gd name="T68" fmla="*/ 2147483647 w 877"/>
                <a:gd name="T69" fmla="*/ 2147483647 h 826"/>
                <a:gd name="T70" fmla="*/ 2147483647 w 877"/>
                <a:gd name="T71" fmla="*/ 2147483647 h 826"/>
                <a:gd name="T72" fmla="*/ 2147483647 w 877"/>
                <a:gd name="T73" fmla="*/ 2147483647 h 826"/>
                <a:gd name="T74" fmla="*/ 2147483647 w 877"/>
                <a:gd name="T75" fmla="*/ 2147483647 h 826"/>
                <a:gd name="T76" fmla="*/ 2147483647 w 877"/>
                <a:gd name="T77" fmla="*/ 2147483647 h 826"/>
                <a:gd name="T78" fmla="*/ 2147483647 w 877"/>
                <a:gd name="T79" fmla="*/ 2147483647 h 826"/>
                <a:gd name="T80" fmla="*/ 2147483647 w 877"/>
                <a:gd name="T81" fmla="*/ 2147483647 h 826"/>
                <a:gd name="T82" fmla="*/ 2147483647 w 877"/>
                <a:gd name="T83" fmla="*/ 2147483647 h 826"/>
                <a:gd name="T84" fmla="*/ 2147483647 w 877"/>
                <a:gd name="T85" fmla="*/ 2147483647 h 826"/>
                <a:gd name="T86" fmla="*/ 2147483647 w 877"/>
                <a:gd name="T87" fmla="*/ 2147483647 h 826"/>
                <a:gd name="T88" fmla="*/ 2147483647 w 877"/>
                <a:gd name="T89" fmla="*/ 2147483647 h 826"/>
                <a:gd name="T90" fmla="*/ 2147483647 w 877"/>
                <a:gd name="T91" fmla="*/ 2147483647 h 826"/>
                <a:gd name="T92" fmla="*/ 2147483647 w 877"/>
                <a:gd name="T93" fmla="*/ 2147483647 h 826"/>
                <a:gd name="T94" fmla="*/ 2147483647 w 877"/>
                <a:gd name="T95" fmla="*/ 2147483647 h 826"/>
                <a:gd name="T96" fmla="*/ 2147483647 w 877"/>
                <a:gd name="T97" fmla="*/ 2147483647 h 826"/>
                <a:gd name="T98" fmla="*/ 2147483647 w 877"/>
                <a:gd name="T99" fmla="*/ 2147483647 h 826"/>
                <a:gd name="T100" fmla="*/ 2147483647 w 877"/>
                <a:gd name="T101" fmla="*/ 2147483647 h 826"/>
                <a:gd name="T102" fmla="*/ 2147483647 w 877"/>
                <a:gd name="T103" fmla="*/ 2147483647 h 826"/>
                <a:gd name="T104" fmla="*/ 2147483647 w 877"/>
                <a:gd name="T105" fmla="*/ 2147483647 h 826"/>
                <a:gd name="T106" fmla="*/ 2147483647 w 877"/>
                <a:gd name="T107" fmla="*/ 2147483647 h 826"/>
                <a:gd name="T108" fmla="*/ 2147483647 w 877"/>
                <a:gd name="T109" fmla="*/ 2147483647 h 826"/>
                <a:gd name="T110" fmla="*/ 2147483647 w 877"/>
                <a:gd name="T111" fmla="*/ 2147483647 h 826"/>
                <a:gd name="T112" fmla="*/ 2147483647 w 877"/>
                <a:gd name="T113" fmla="*/ 2147483647 h 826"/>
                <a:gd name="T114" fmla="*/ 2147483647 w 877"/>
                <a:gd name="T115" fmla="*/ 2147483647 h 82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877" h="826">
                  <a:moveTo>
                    <a:pt x="0" y="190"/>
                  </a:moveTo>
                  <a:lnTo>
                    <a:pt x="16" y="167"/>
                  </a:lnTo>
                  <a:lnTo>
                    <a:pt x="33" y="147"/>
                  </a:lnTo>
                  <a:lnTo>
                    <a:pt x="36" y="141"/>
                  </a:lnTo>
                  <a:lnTo>
                    <a:pt x="39" y="133"/>
                  </a:lnTo>
                  <a:lnTo>
                    <a:pt x="41" y="126"/>
                  </a:lnTo>
                  <a:lnTo>
                    <a:pt x="43" y="118"/>
                  </a:lnTo>
                  <a:lnTo>
                    <a:pt x="46" y="109"/>
                  </a:lnTo>
                  <a:lnTo>
                    <a:pt x="47" y="99"/>
                  </a:lnTo>
                  <a:lnTo>
                    <a:pt x="47" y="87"/>
                  </a:lnTo>
                  <a:lnTo>
                    <a:pt x="46" y="73"/>
                  </a:lnTo>
                  <a:lnTo>
                    <a:pt x="46" y="70"/>
                  </a:lnTo>
                  <a:lnTo>
                    <a:pt x="47" y="67"/>
                  </a:lnTo>
                  <a:lnTo>
                    <a:pt x="49" y="66"/>
                  </a:lnTo>
                  <a:lnTo>
                    <a:pt x="52" y="65"/>
                  </a:lnTo>
                  <a:lnTo>
                    <a:pt x="61" y="64"/>
                  </a:lnTo>
                  <a:lnTo>
                    <a:pt x="72" y="63"/>
                  </a:lnTo>
                  <a:lnTo>
                    <a:pt x="78" y="61"/>
                  </a:lnTo>
                  <a:lnTo>
                    <a:pt x="83" y="59"/>
                  </a:lnTo>
                  <a:lnTo>
                    <a:pt x="89" y="55"/>
                  </a:lnTo>
                  <a:lnTo>
                    <a:pt x="93" y="50"/>
                  </a:lnTo>
                  <a:lnTo>
                    <a:pt x="96" y="42"/>
                  </a:lnTo>
                  <a:lnTo>
                    <a:pt x="98" y="33"/>
                  </a:lnTo>
                  <a:lnTo>
                    <a:pt x="99" y="20"/>
                  </a:lnTo>
                  <a:lnTo>
                    <a:pt x="98" y="6"/>
                  </a:lnTo>
                  <a:lnTo>
                    <a:pt x="124" y="4"/>
                  </a:lnTo>
                  <a:lnTo>
                    <a:pt x="147" y="5"/>
                  </a:lnTo>
                  <a:lnTo>
                    <a:pt x="168" y="6"/>
                  </a:lnTo>
                  <a:lnTo>
                    <a:pt x="188" y="9"/>
                  </a:lnTo>
                  <a:lnTo>
                    <a:pt x="208" y="13"/>
                  </a:lnTo>
                  <a:lnTo>
                    <a:pt x="226" y="18"/>
                  </a:lnTo>
                  <a:lnTo>
                    <a:pt x="242" y="24"/>
                  </a:lnTo>
                  <a:lnTo>
                    <a:pt x="259" y="31"/>
                  </a:lnTo>
                  <a:lnTo>
                    <a:pt x="264" y="35"/>
                  </a:lnTo>
                  <a:lnTo>
                    <a:pt x="269" y="39"/>
                  </a:lnTo>
                  <a:lnTo>
                    <a:pt x="273" y="43"/>
                  </a:lnTo>
                  <a:lnTo>
                    <a:pt x="276" y="47"/>
                  </a:lnTo>
                  <a:lnTo>
                    <a:pt x="281" y="57"/>
                  </a:lnTo>
                  <a:lnTo>
                    <a:pt x="283" y="67"/>
                  </a:lnTo>
                  <a:lnTo>
                    <a:pt x="285" y="78"/>
                  </a:lnTo>
                  <a:lnTo>
                    <a:pt x="288" y="88"/>
                  </a:lnTo>
                  <a:lnTo>
                    <a:pt x="289" y="93"/>
                  </a:lnTo>
                  <a:lnTo>
                    <a:pt x="292" y="97"/>
                  </a:lnTo>
                  <a:lnTo>
                    <a:pt x="295" y="101"/>
                  </a:lnTo>
                  <a:lnTo>
                    <a:pt x="298" y="105"/>
                  </a:lnTo>
                  <a:lnTo>
                    <a:pt x="306" y="108"/>
                  </a:lnTo>
                  <a:lnTo>
                    <a:pt x="315" y="110"/>
                  </a:lnTo>
                  <a:lnTo>
                    <a:pt x="325" y="110"/>
                  </a:lnTo>
                  <a:lnTo>
                    <a:pt x="334" y="110"/>
                  </a:lnTo>
                  <a:lnTo>
                    <a:pt x="344" y="109"/>
                  </a:lnTo>
                  <a:lnTo>
                    <a:pt x="354" y="109"/>
                  </a:lnTo>
                  <a:lnTo>
                    <a:pt x="363" y="109"/>
                  </a:lnTo>
                  <a:lnTo>
                    <a:pt x="372" y="111"/>
                  </a:lnTo>
                  <a:lnTo>
                    <a:pt x="388" y="117"/>
                  </a:lnTo>
                  <a:lnTo>
                    <a:pt x="405" y="124"/>
                  </a:lnTo>
                  <a:lnTo>
                    <a:pt x="421" y="133"/>
                  </a:lnTo>
                  <a:lnTo>
                    <a:pt x="438" y="143"/>
                  </a:lnTo>
                  <a:lnTo>
                    <a:pt x="454" y="152"/>
                  </a:lnTo>
                  <a:lnTo>
                    <a:pt x="471" y="159"/>
                  </a:lnTo>
                  <a:lnTo>
                    <a:pt x="478" y="162"/>
                  </a:lnTo>
                  <a:lnTo>
                    <a:pt x="487" y="164"/>
                  </a:lnTo>
                  <a:lnTo>
                    <a:pt x="496" y="166"/>
                  </a:lnTo>
                  <a:lnTo>
                    <a:pt x="505" y="166"/>
                  </a:lnTo>
                  <a:lnTo>
                    <a:pt x="513" y="166"/>
                  </a:lnTo>
                  <a:lnTo>
                    <a:pt x="521" y="166"/>
                  </a:lnTo>
                  <a:lnTo>
                    <a:pt x="529" y="166"/>
                  </a:lnTo>
                  <a:lnTo>
                    <a:pt x="538" y="166"/>
                  </a:lnTo>
                  <a:lnTo>
                    <a:pt x="538" y="158"/>
                  </a:lnTo>
                  <a:lnTo>
                    <a:pt x="540" y="150"/>
                  </a:lnTo>
                  <a:lnTo>
                    <a:pt x="542" y="143"/>
                  </a:lnTo>
                  <a:lnTo>
                    <a:pt x="544" y="137"/>
                  </a:lnTo>
                  <a:lnTo>
                    <a:pt x="549" y="126"/>
                  </a:lnTo>
                  <a:lnTo>
                    <a:pt x="551" y="117"/>
                  </a:lnTo>
                  <a:lnTo>
                    <a:pt x="550" y="112"/>
                  </a:lnTo>
                  <a:lnTo>
                    <a:pt x="547" y="108"/>
                  </a:lnTo>
                  <a:lnTo>
                    <a:pt x="544" y="103"/>
                  </a:lnTo>
                  <a:lnTo>
                    <a:pt x="541" y="98"/>
                  </a:lnTo>
                  <a:lnTo>
                    <a:pt x="537" y="93"/>
                  </a:lnTo>
                  <a:lnTo>
                    <a:pt x="534" y="87"/>
                  </a:lnTo>
                  <a:lnTo>
                    <a:pt x="531" y="81"/>
                  </a:lnTo>
                  <a:lnTo>
                    <a:pt x="531" y="73"/>
                  </a:lnTo>
                  <a:lnTo>
                    <a:pt x="531" y="61"/>
                  </a:lnTo>
                  <a:lnTo>
                    <a:pt x="531" y="49"/>
                  </a:lnTo>
                  <a:lnTo>
                    <a:pt x="539" y="49"/>
                  </a:lnTo>
                  <a:lnTo>
                    <a:pt x="547" y="47"/>
                  </a:lnTo>
                  <a:lnTo>
                    <a:pt x="554" y="45"/>
                  </a:lnTo>
                  <a:lnTo>
                    <a:pt x="562" y="42"/>
                  </a:lnTo>
                  <a:lnTo>
                    <a:pt x="574" y="34"/>
                  </a:lnTo>
                  <a:lnTo>
                    <a:pt x="586" y="24"/>
                  </a:lnTo>
                  <a:lnTo>
                    <a:pt x="598" y="15"/>
                  </a:lnTo>
                  <a:lnTo>
                    <a:pt x="610" y="7"/>
                  </a:lnTo>
                  <a:lnTo>
                    <a:pt x="617" y="4"/>
                  </a:lnTo>
                  <a:lnTo>
                    <a:pt x="623" y="2"/>
                  </a:lnTo>
                  <a:lnTo>
                    <a:pt x="630" y="0"/>
                  </a:lnTo>
                  <a:lnTo>
                    <a:pt x="638" y="0"/>
                  </a:lnTo>
                  <a:lnTo>
                    <a:pt x="650" y="0"/>
                  </a:lnTo>
                  <a:lnTo>
                    <a:pt x="659" y="1"/>
                  </a:lnTo>
                  <a:lnTo>
                    <a:pt x="668" y="2"/>
                  </a:lnTo>
                  <a:lnTo>
                    <a:pt x="676" y="4"/>
                  </a:lnTo>
                  <a:lnTo>
                    <a:pt x="681" y="6"/>
                  </a:lnTo>
                  <a:lnTo>
                    <a:pt x="685" y="9"/>
                  </a:lnTo>
                  <a:lnTo>
                    <a:pt x="688" y="12"/>
                  </a:lnTo>
                  <a:lnTo>
                    <a:pt x="691" y="16"/>
                  </a:lnTo>
                  <a:lnTo>
                    <a:pt x="695" y="24"/>
                  </a:lnTo>
                  <a:lnTo>
                    <a:pt x="698" y="34"/>
                  </a:lnTo>
                  <a:lnTo>
                    <a:pt x="700" y="39"/>
                  </a:lnTo>
                  <a:lnTo>
                    <a:pt x="702" y="44"/>
                  </a:lnTo>
                  <a:lnTo>
                    <a:pt x="706" y="50"/>
                  </a:lnTo>
                  <a:lnTo>
                    <a:pt x="710" y="55"/>
                  </a:lnTo>
                  <a:lnTo>
                    <a:pt x="715" y="58"/>
                  </a:lnTo>
                  <a:lnTo>
                    <a:pt x="721" y="61"/>
                  </a:lnTo>
                  <a:lnTo>
                    <a:pt x="728" y="63"/>
                  </a:lnTo>
                  <a:lnTo>
                    <a:pt x="734" y="65"/>
                  </a:lnTo>
                  <a:lnTo>
                    <a:pt x="750" y="67"/>
                  </a:lnTo>
                  <a:lnTo>
                    <a:pt x="765" y="69"/>
                  </a:lnTo>
                  <a:lnTo>
                    <a:pt x="798" y="71"/>
                  </a:lnTo>
                  <a:lnTo>
                    <a:pt x="830" y="73"/>
                  </a:lnTo>
                  <a:lnTo>
                    <a:pt x="830" y="83"/>
                  </a:lnTo>
                  <a:lnTo>
                    <a:pt x="830" y="90"/>
                  </a:lnTo>
                  <a:lnTo>
                    <a:pt x="830" y="97"/>
                  </a:lnTo>
                  <a:lnTo>
                    <a:pt x="830" y="105"/>
                  </a:lnTo>
                  <a:lnTo>
                    <a:pt x="830" y="109"/>
                  </a:lnTo>
                  <a:lnTo>
                    <a:pt x="832" y="113"/>
                  </a:lnTo>
                  <a:lnTo>
                    <a:pt x="834" y="117"/>
                  </a:lnTo>
                  <a:lnTo>
                    <a:pt x="836" y="121"/>
                  </a:lnTo>
                  <a:lnTo>
                    <a:pt x="838" y="126"/>
                  </a:lnTo>
                  <a:lnTo>
                    <a:pt x="841" y="132"/>
                  </a:lnTo>
                  <a:lnTo>
                    <a:pt x="843" y="140"/>
                  </a:lnTo>
                  <a:lnTo>
                    <a:pt x="843" y="148"/>
                  </a:lnTo>
                  <a:lnTo>
                    <a:pt x="842" y="152"/>
                  </a:lnTo>
                  <a:lnTo>
                    <a:pt x="840" y="156"/>
                  </a:lnTo>
                  <a:lnTo>
                    <a:pt x="836" y="159"/>
                  </a:lnTo>
                  <a:lnTo>
                    <a:pt x="833" y="162"/>
                  </a:lnTo>
                  <a:lnTo>
                    <a:pt x="830" y="165"/>
                  </a:lnTo>
                  <a:lnTo>
                    <a:pt x="826" y="168"/>
                  </a:lnTo>
                  <a:lnTo>
                    <a:pt x="824" y="170"/>
                  </a:lnTo>
                  <a:lnTo>
                    <a:pt x="823" y="172"/>
                  </a:lnTo>
                  <a:lnTo>
                    <a:pt x="824" y="184"/>
                  </a:lnTo>
                  <a:lnTo>
                    <a:pt x="825" y="196"/>
                  </a:lnTo>
                  <a:lnTo>
                    <a:pt x="829" y="207"/>
                  </a:lnTo>
                  <a:lnTo>
                    <a:pt x="834" y="217"/>
                  </a:lnTo>
                  <a:lnTo>
                    <a:pt x="841" y="227"/>
                  </a:lnTo>
                  <a:lnTo>
                    <a:pt x="848" y="236"/>
                  </a:lnTo>
                  <a:lnTo>
                    <a:pt x="858" y="245"/>
                  </a:lnTo>
                  <a:lnTo>
                    <a:pt x="869" y="253"/>
                  </a:lnTo>
                  <a:lnTo>
                    <a:pt x="876" y="671"/>
                  </a:lnTo>
                  <a:lnTo>
                    <a:pt x="876" y="680"/>
                  </a:lnTo>
                  <a:lnTo>
                    <a:pt x="876" y="687"/>
                  </a:lnTo>
                  <a:lnTo>
                    <a:pt x="876" y="697"/>
                  </a:lnTo>
                  <a:lnTo>
                    <a:pt x="876" y="709"/>
                  </a:lnTo>
                  <a:lnTo>
                    <a:pt x="877" y="726"/>
                  </a:lnTo>
                  <a:lnTo>
                    <a:pt x="877" y="741"/>
                  </a:lnTo>
                  <a:lnTo>
                    <a:pt x="877" y="756"/>
                  </a:lnTo>
                  <a:lnTo>
                    <a:pt x="876" y="766"/>
                  </a:lnTo>
                  <a:lnTo>
                    <a:pt x="874" y="771"/>
                  </a:lnTo>
                  <a:lnTo>
                    <a:pt x="870" y="775"/>
                  </a:lnTo>
                  <a:lnTo>
                    <a:pt x="867" y="778"/>
                  </a:lnTo>
                  <a:lnTo>
                    <a:pt x="863" y="780"/>
                  </a:lnTo>
                  <a:lnTo>
                    <a:pt x="856" y="782"/>
                  </a:lnTo>
                  <a:lnTo>
                    <a:pt x="848" y="783"/>
                  </a:lnTo>
                  <a:lnTo>
                    <a:pt x="840" y="783"/>
                  </a:lnTo>
                  <a:lnTo>
                    <a:pt x="830" y="782"/>
                  </a:lnTo>
                  <a:lnTo>
                    <a:pt x="830" y="792"/>
                  </a:lnTo>
                  <a:lnTo>
                    <a:pt x="830" y="804"/>
                  </a:lnTo>
                  <a:lnTo>
                    <a:pt x="830" y="816"/>
                  </a:lnTo>
                  <a:lnTo>
                    <a:pt x="830" y="826"/>
                  </a:lnTo>
                  <a:lnTo>
                    <a:pt x="378" y="592"/>
                  </a:lnTo>
                  <a:lnTo>
                    <a:pt x="366" y="593"/>
                  </a:lnTo>
                  <a:lnTo>
                    <a:pt x="359" y="595"/>
                  </a:lnTo>
                  <a:lnTo>
                    <a:pt x="353" y="597"/>
                  </a:lnTo>
                  <a:lnTo>
                    <a:pt x="344" y="598"/>
                  </a:lnTo>
                  <a:lnTo>
                    <a:pt x="331" y="607"/>
                  </a:lnTo>
                  <a:lnTo>
                    <a:pt x="318" y="616"/>
                  </a:lnTo>
                  <a:lnTo>
                    <a:pt x="308" y="620"/>
                  </a:lnTo>
                  <a:lnTo>
                    <a:pt x="297" y="624"/>
                  </a:lnTo>
                  <a:lnTo>
                    <a:pt x="292" y="626"/>
                  </a:lnTo>
                  <a:lnTo>
                    <a:pt x="285" y="627"/>
                  </a:lnTo>
                  <a:lnTo>
                    <a:pt x="278" y="628"/>
                  </a:lnTo>
                  <a:lnTo>
                    <a:pt x="272" y="628"/>
                  </a:lnTo>
                  <a:lnTo>
                    <a:pt x="263" y="627"/>
                  </a:lnTo>
                  <a:lnTo>
                    <a:pt x="254" y="624"/>
                  </a:lnTo>
                  <a:lnTo>
                    <a:pt x="246" y="620"/>
                  </a:lnTo>
                  <a:lnTo>
                    <a:pt x="238" y="614"/>
                  </a:lnTo>
                  <a:lnTo>
                    <a:pt x="230" y="609"/>
                  </a:lnTo>
                  <a:lnTo>
                    <a:pt x="224" y="602"/>
                  </a:lnTo>
                  <a:lnTo>
                    <a:pt x="220" y="597"/>
                  </a:lnTo>
                  <a:lnTo>
                    <a:pt x="218" y="592"/>
                  </a:lnTo>
                  <a:lnTo>
                    <a:pt x="193" y="586"/>
                  </a:lnTo>
                  <a:lnTo>
                    <a:pt x="173" y="579"/>
                  </a:lnTo>
                  <a:lnTo>
                    <a:pt x="165" y="577"/>
                  </a:lnTo>
                  <a:lnTo>
                    <a:pt x="157" y="577"/>
                  </a:lnTo>
                  <a:lnTo>
                    <a:pt x="152" y="578"/>
                  </a:lnTo>
                  <a:lnTo>
                    <a:pt x="148" y="579"/>
                  </a:lnTo>
                  <a:lnTo>
                    <a:pt x="143" y="583"/>
                  </a:lnTo>
                  <a:lnTo>
                    <a:pt x="139" y="586"/>
                  </a:lnTo>
                  <a:lnTo>
                    <a:pt x="138" y="577"/>
                  </a:lnTo>
                  <a:lnTo>
                    <a:pt x="137" y="570"/>
                  </a:lnTo>
                  <a:lnTo>
                    <a:pt x="136" y="564"/>
                  </a:lnTo>
                  <a:lnTo>
                    <a:pt x="134" y="558"/>
                  </a:lnTo>
                  <a:lnTo>
                    <a:pt x="130" y="553"/>
                  </a:lnTo>
                  <a:lnTo>
                    <a:pt x="127" y="549"/>
                  </a:lnTo>
                  <a:lnTo>
                    <a:pt x="124" y="545"/>
                  </a:lnTo>
                  <a:lnTo>
                    <a:pt x="119" y="541"/>
                  </a:lnTo>
                  <a:lnTo>
                    <a:pt x="109" y="535"/>
                  </a:lnTo>
                  <a:lnTo>
                    <a:pt x="98" y="530"/>
                  </a:lnTo>
                  <a:lnTo>
                    <a:pt x="87" y="526"/>
                  </a:lnTo>
                  <a:lnTo>
                    <a:pt x="75" y="521"/>
                  </a:lnTo>
                  <a:lnTo>
                    <a:pt x="63" y="517"/>
                  </a:lnTo>
                  <a:lnTo>
                    <a:pt x="52" y="513"/>
                  </a:lnTo>
                  <a:lnTo>
                    <a:pt x="41" y="509"/>
                  </a:lnTo>
                  <a:lnTo>
                    <a:pt x="33" y="503"/>
                  </a:lnTo>
                  <a:lnTo>
                    <a:pt x="28" y="499"/>
                  </a:lnTo>
                  <a:lnTo>
                    <a:pt x="24" y="496"/>
                  </a:lnTo>
                  <a:lnTo>
                    <a:pt x="20" y="492"/>
                  </a:lnTo>
                  <a:lnTo>
                    <a:pt x="18" y="487"/>
                  </a:lnTo>
                  <a:lnTo>
                    <a:pt x="16" y="482"/>
                  </a:lnTo>
                  <a:lnTo>
                    <a:pt x="14" y="476"/>
                  </a:lnTo>
                  <a:lnTo>
                    <a:pt x="13" y="469"/>
                  </a:lnTo>
                  <a:lnTo>
                    <a:pt x="13" y="462"/>
                  </a:lnTo>
                  <a:lnTo>
                    <a:pt x="14" y="439"/>
                  </a:lnTo>
                  <a:lnTo>
                    <a:pt x="16" y="417"/>
                  </a:lnTo>
                  <a:lnTo>
                    <a:pt x="18" y="395"/>
                  </a:lnTo>
                  <a:lnTo>
                    <a:pt x="19" y="376"/>
                  </a:lnTo>
                  <a:lnTo>
                    <a:pt x="19" y="352"/>
                  </a:lnTo>
                  <a:lnTo>
                    <a:pt x="19" y="329"/>
                  </a:lnTo>
                  <a:lnTo>
                    <a:pt x="19" y="305"/>
                  </a:lnTo>
                  <a:lnTo>
                    <a:pt x="19" y="281"/>
                  </a:lnTo>
                  <a:lnTo>
                    <a:pt x="17" y="258"/>
                  </a:lnTo>
                  <a:lnTo>
                    <a:pt x="14" y="234"/>
                  </a:lnTo>
                  <a:lnTo>
                    <a:pt x="11" y="223"/>
                  </a:lnTo>
                  <a:lnTo>
                    <a:pt x="7" y="212"/>
                  </a:lnTo>
                  <a:lnTo>
                    <a:pt x="4" y="202"/>
                  </a:lnTo>
                  <a:lnTo>
                    <a:pt x="0" y="190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82" name="Freeform 239"/>
            <p:cNvSpPr>
              <a:spLocks/>
            </p:cNvSpPr>
            <p:nvPr>
              <p:custDataLst>
                <p:tags r:id="rId167"/>
              </p:custDataLst>
            </p:nvPr>
          </p:nvSpPr>
          <p:spPr bwMode="auto">
            <a:xfrm>
              <a:off x="6314119" y="3150039"/>
              <a:ext cx="93663" cy="236538"/>
            </a:xfrm>
            <a:custGeom>
              <a:avLst/>
              <a:gdLst>
                <a:gd name="T0" fmla="*/ 2147483647 w 206"/>
                <a:gd name="T1" fmla="*/ 2147483647 h 455"/>
                <a:gd name="T2" fmla="*/ 2147483647 w 206"/>
                <a:gd name="T3" fmla="*/ 2147483647 h 455"/>
                <a:gd name="T4" fmla="*/ 2147483647 w 206"/>
                <a:gd name="T5" fmla="*/ 2147483647 h 455"/>
                <a:gd name="T6" fmla="*/ 2147483647 w 206"/>
                <a:gd name="T7" fmla="*/ 2147483647 h 455"/>
                <a:gd name="T8" fmla="*/ 2147483647 w 206"/>
                <a:gd name="T9" fmla="*/ 2147483647 h 455"/>
                <a:gd name="T10" fmla="*/ 2147483647 w 206"/>
                <a:gd name="T11" fmla="*/ 2147483647 h 455"/>
                <a:gd name="T12" fmla="*/ 2147483647 w 206"/>
                <a:gd name="T13" fmla="*/ 2147483647 h 455"/>
                <a:gd name="T14" fmla="*/ 2147483647 w 206"/>
                <a:gd name="T15" fmla="*/ 2147483647 h 455"/>
                <a:gd name="T16" fmla="*/ 2147483647 w 206"/>
                <a:gd name="T17" fmla="*/ 2147483647 h 455"/>
                <a:gd name="T18" fmla="*/ 2147483647 w 206"/>
                <a:gd name="T19" fmla="*/ 2147483647 h 455"/>
                <a:gd name="T20" fmla="*/ 2147483647 w 206"/>
                <a:gd name="T21" fmla="*/ 2147483647 h 455"/>
                <a:gd name="T22" fmla="*/ 2147483647 w 206"/>
                <a:gd name="T23" fmla="*/ 2147483647 h 455"/>
                <a:gd name="T24" fmla="*/ 2147483647 w 206"/>
                <a:gd name="T25" fmla="*/ 2147483647 h 455"/>
                <a:gd name="T26" fmla="*/ 2147483647 w 206"/>
                <a:gd name="T27" fmla="*/ 2147483647 h 455"/>
                <a:gd name="T28" fmla="*/ 2147483647 w 206"/>
                <a:gd name="T29" fmla="*/ 2147483647 h 455"/>
                <a:gd name="T30" fmla="*/ 2147483647 w 206"/>
                <a:gd name="T31" fmla="*/ 2147483647 h 455"/>
                <a:gd name="T32" fmla="*/ 2147483647 w 206"/>
                <a:gd name="T33" fmla="*/ 2147483647 h 455"/>
                <a:gd name="T34" fmla="*/ 2147483647 w 206"/>
                <a:gd name="T35" fmla="*/ 2147483647 h 455"/>
                <a:gd name="T36" fmla="*/ 2147483647 w 206"/>
                <a:gd name="T37" fmla="*/ 2147483647 h 455"/>
                <a:gd name="T38" fmla="*/ 2147483647 w 206"/>
                <a:gd name="T39" fmla="*/ 2147483647 h 455"/>
                <a:gd name="T40" fmla="*/ 2147483647 w 206"/>
                <a:gd name="T41" fmla="*/ 2147483647 h 455"/>
                <a:gd name="T42" fmla="*/ 2147483647 w 206"/>
                <a:gd name="T43" fmla="*/ 2147483647 h 455"/>
                <a:gd name="T44" fmla="*/ 2147483647 w 206"/>
                <a:gd name="T45" fmla="*/ 2147483647 h 455"/>
                <a:gd name="T46" fmla="*/ 2147483647 w 206"/>
                <a:gd name="T47" fmla="*/ 2147483647 h 455"/>
                <a:gd name="T48" fmla="*/ 2147483647 w 206"/>
                <a:gd name="T49" fmla="*/ 2147483647 h 455"/>
                <a:gd name="T50" fmla="*/ 2147483647 w 206"/>
                <a:gd name="T51" fmla="*/ 2147483647 h 455"/>
                <a:gd name="T52" fmla="*/ 2147483647 w 206"/>
                <a:gd name="T53" fmla="*/ 2147483647 h 455"/>
                <a:gd name="T54" fmla="*/ 2147483647 w 206"/>
                <a:gd name="T55" fmla="*/ 2147483647 h 455"/>
                <a:gd name="T56" fmla="*/ 2147483647 w 206"/>
                <a:gd name="T57" fmla="*/ 2147483647 h 455"/>
                <a:gd name="T58" fmla="*/ 2147483647 w 206"/>
                <a:gd name="T59" fmla="*/ 2147483647 h 455"/>
                <a:gd name="T60" fmla="*/ 2147483647 w 206"/>
                <a:gd name="T61" fmla="*/ 2147483647 h 455"/>
                <a:gd name="T62" fmla="*/ 2147483647 w 206"/>
                <a:gd name="T63" fmla="*/ 2147483647 h 455"/>
                <a:gd name="T64" fmla="*/ 2147483647 w 206"/>
                <a:gd name="T65" fmla="*/ 2147483647 h 455"/>
                <a:gd name="T66" fmla="*/ 2147483647 w 206"/>
                <a:gd name="T67" fmla="*/ 2147483647 h 455"/>
                <a:gd name="T68" fmla="*/ 2147483647 w 206"/>
                <a:gd name="T69" fmla="*/ 2147483647 h 455"/>
                <a:gd name="T70" fmla="*/ 2147483647 w 206"/>
                <a:gd name="T71" fmla="*/ 2147483647 h 455"/>
                <a:gd name="T72" fmla="*/ 2147483647 w 206"/>
                <a:gd name="T73" fmla="*/ 2147483647 h 455"/>
                <a:gd name="T74" fmla="*/ 2147483647 w 206"/>
                <a:gd name="T75" fmla="*/ 0 h 455"/>
                <a:gd name="T76" fmla="*/ 2147483647 w 206"/>
                <a:gd name="T77" fmla="*/ 2147483647 h 455"/>
                <a:gd name="T78" fmla="*/ 2147483647 w 206"/>
                <a:gd name="T79" fmla="*/ 2147483647 h 455"/>
                <a:gd name="T80" fmla="*/ 2147483647 w 206"/>
                <a:gd name="T81" fmla="*/ 2147483647 h 455"/>
                <a:gd name="T82" fmla="*/ 2147483647 w 206"/>
                <a:gd name="T83" fmla="*/ 2147483647 h 455"/>
                <a:gd name="T84" fmla="*/ 2147483647 w 206"/>
                <a:gd name="T85" fmla="*/ 2147483647 h 455"/>
                <a:gd name="T86" fmla="*/ 2147483647 w 206"/>
                <a:gd name="T87" fmla="*/ 2147483647 h 455"/>
                <a:gd name="T88" fmla="*/ 2147483647 w 206"/>
                <a:gd name="T89" fmla="*/ 2147483647 h 455"/>
                <a:gd name="T90" fmla="*/ 2147483647 w 206"/>
                <a:gd name="T91" fmla="*/ 2147483647 h 455"/>
                <a:gd name="T92" fmla="*/ 0 w 206"/>
                <a:gd name="T93" fmla="*/ 2147483647 h 455"/>
                <a:gd name="T94" fmla="*/ 2147483647 w 206"/>
                <a:gd name="T95" fmla="*/ 2147483647 h 455"/>
                <a:gd name="T96" fmla="*/ 2147483647 w 206"/>
                <a:gd name="T97" fmla="*/ 2147483647 h 455"/>
                <a:gd name="T98" fmla="*/ 2147483647 w 206"/>
                <a:gd name="T99" fmla="*/ 2147483647 h 455"/>
                <a:gd name="T100" fmla="*/ 2147483647 w 206"/>
                <a:gd name="T101" fmla="*/ 2147483647 h 455"/>
                <a:gd name="T102" fmla="*/ 2147483647 w 206"/>
                <a:gd name="T103" fmla="*/ 2147483647 h 455"/>
                <a:gd name="T104" fmla="*/ 2147483647 w 206"/>
                <a:gd name="T105" fmla="*/ 2147483647 h 455"/>
                <a:gd name="T106" fmla="*/ 2147483647 w 206"/>
                <a:gd name="T107" fmla="*/ 2147483647 h 45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6" h="455">
                  <a:moveTo>
                    <a:pt x="93" y="455"/>
                  </a:moveTo>
                  <a:lnTo>
                    <a:pt x="103" y="441"/>
                  </a:lnTo>
                  <a:lnTo>
                    <a:pt x="114" y="430"/>
                  </a:lnTo>
                  <a:lnTo>
                    <a:pt x="125" y="420"/>
                  </a:lnTo>
                  <a:lnTo>
                    <a:pt x="135" y="409"/>
                  </a:lnTo>
                  <a:lnTo>
                    <a:pt x="140" y="404"/>
                  </a:lnTo>
                  <a:lnTo>
                    <a:pt x="144" y="397"/>
                  </a:lnTo>
                  <a:lnTo>
                    <a:pt x="147" y="390"/>
                  </a:lnTo>
                  <a:lnTo>
                    <a:pt x="149" y="382"/>
                  </a:lnTo>
                  <a:lnTo>
                    <a:pt x="152" y="373"/>
                  </a:lnTo>
                  <a:lnTo>
                    <a:pt x="153" y="363"/>
                  </a:lnTo>
                  <a:lnTo>
                    <a:pt x="154" y="352"/>
                  </a:lnTo>
                  <a:lnTo>
                    <a:pt x="153" y="338"/>
                  </a:lnTo>
                  <a:lnTo>
                    <a:pt x="153" y="335"/>
                  </a:lnTo>
                  <a:lnTo>
                    <a:pt x="154" y="332"/>
                  </a:lnTo>
                  <a:lnTo>
                    <a:pt x="156" y="331"/>
                  </a:lnTo>
                  <a:lnTo>
                    <a:pt x="159" y="330"/>
                  </a:lnTo>
                  <a:lnTo>
                    <a:pt x="168" y="329"/>
                  </a:lnTo>
                  <a:lnTo>
                    <a:pt x="179" y="327"/>
                  </a:lnTo>
                  <a:lnTo>
                    <a:pt x="185" y="325"/>
                  </a:lnTo>
                  <a:lnTo>
                    <a:pt x="190" y="322"/>
                  </a:lnTo>
                  <a:lnTo>
                    <a:pt x="196" y="318"/>
                  </a:lnTo>
                  <a:lnTo>
                    <a:pt x="200" y="312"/>
                  </a:lnTo>
                  <a:lnTo>
                    <a:pt x="203" y="304"/>
                  </a:lnTo>
                  <a:lnTo>
                    <a:pt x="205" y="294"/>
                  </a:lnTo>
                  <a:lnTo>
                    <a:pt x="206" y="280"/>
                  </a:lnTo>
                  <a:lnTo>
                    <a:pt x="205" y="265"/>
                  </a:lnTo>
                  <a:lnTo>
                    <a:pt x="202" y="265"/>
                  </a:lnTo>
                  <a:lnTo>
                    <a:pt x="198" y="265"/>
                  </a:lnTo>
                  <a:lnTo>
                    <a:pt x="193" y="264"/>
                  </a:lnTo>
                  <a:lnTo>
                    <a:pt x="188" y="262"/>
                  </a:lnTo>
                  <a:lnTo>
                    <a:pt x="177" y="256"/>
                  </a:lnTo>
                  <a:lnTo>
                    <a:pt x="166" y="249"/>
                  </a:lnTo>
                  <a:lnTo>
                    <a:pt x="155" y="242"/>
                  </a:lnTo>
                  <a:lnTo>
                    <a:pt x="144" y="235"/>
                  </a:lnTo>
                  <a:lnTo>
                    <a:pt x="140" y="231"/>
                  </a:lnTo>
                  <a:lnTo>
                    <a:pt x="134" y="229"/>
                  </a:lnTo>
                  <a:lnTo>
                    <a:pt x="130" y="228"/>
                  </a:lnTo>
                  <a:lnTo>
                    <a:pt x="126" y="227"/>
                  </a:lnTo>
                  <a:lnTo>
                    <a:pt x="119" y="222"/>
                  </a:lnTo>
                  <a:lnTo>
                    <a:pt x="107" y="215"/>
                  </a:lnTo>
                  <a:lnTo>
                    <a:pt x="101" y="212"/>
                  </a:lnTo>
                  <a:lnTo>
                    <a:pt x="97" y="209"/>
                  </a:lnTo>
                  <a:lnTo>
                    <a:pt x="95" y="206"/>
                  </a:lnTo>
                  <a:lnTo>
                    <a:pt x="93" y="203"/>
                  </a:lnTo>
                  <a:lnTo>
                    <a:pt x="95" y="199"/>
                  </a:lnTo>
                  <a:lnTo>
                    <a:pt x="98" y="191"/>
                  </a:lnTo>
                  <a:lnTo>
                    <a:pt x="104" y="181"/>
                  </a:lnTo>
                  <a:lnTo>
                    <a:pt x="111" y="169"/>
                  </a:lnTo>
                  <a:lnTo>
                    <a:pt x="119" y="158"/>
                  </a:lnTo>
                  <a:lnTo>
                    <a:pt x="126" y="148"/>
                  </a:lnTo>
                  <a:lnTo>
                    <a:pt x="134" y="140"/>
                  </a:lnTo>
                  <a:lnTo>
                    <a:pt x="140" y="136"/>
                  </a:lnTo>
                  <a:lnTo>
                    <a:pt x="136" y="129"/>
                  </a:lnTo>
                  <a:lnTo>
                    <a:pt x="132" y="122"/>
                  </a:lnTo>
                  <a:lnTo>
                    <a:pt x="126" y="116"/>
                  </a:lnTo>
                  <a:lnTo>
                    <a:pt x="121" y="111"/>
                  </a:lnTo>
                  <a:lnTo>
                    <a:pt x="115" y="105"/>
                  </a:lnTo>
                  <a:lnTo>
                    <a:pt x="111" y="99"/>
                  </a:lnTo>
                  <a:lnTo>
                    <a:pt x="108" y="93"/>
                  </a:lnTo>
                  <a:lnTo>
                    <a:pt x="107" y="86"/>
                  </a:lnTo>
                  <a:lnTo>
                    <a:pt x="107" y="84"/>
                  </a:lnTo>
                  <a:lnTo>
                    <a:pt x="109" y="81"/>
                  </a:lnTo>
                  <a:lnTo>
                    <a:pt x="111" y="78"/>
                  </a:lnTo>
                  <a:lnTo>
                    <a:pt x="113" y="75"/>
                  </a:lnTo>
                  <a:lnTo>
                    <a:pt x="116" y="72"/>
                  </a:lnTo>
                  <a:lnTo>
                    <a:pt x="120" y="70"/>
                  </a:lnTo>
                  <a:lnTo>
                    <a:pt x="123" y="69"/>
                  </a:lnTo>
                  <a:lnTo>
                    <a:pt x="126" y="68"/>
                  </a:lnTo>
                  <a:lnTo>
                    <a:pt x="126" y="37"/>
                  </a:lnTo>
                  <a:lnTo>
                    <a:pt x="120" y="36"/>
                  </a:lnTo>
                  <a:lnTo>
                    <a:pt x="110" y="32"/>
                  </a:lnTo>
                  <a:lnTo>
                    <a:pt x="99" y="27"/>
                  </a:lnTo>
                  <a:lnTo>
                    <a:pt x="87" y="21"/>
                  </a:lnTo>
                  <a:lnTo>
                    <a:pt x="65" y="8"/>
                  </a:lnTo>
                  <a:lnTo>
                    <a:pt x="53" y="0"/>
                  </a:lnTo>
                  <a:lnTo>
                    <a:pt x="52" y="2"/>
                  </a:lnTo>
                  <a:lnTo>
                    <a:pt x="47" y="11"/>
                  </a:lnTo>
                  <a:lnTo>
                    <a:pt x="41" y="26"/>
                  </a:lnTo>
                  <a:lnTo>
                    <a:pt x="34" y="44"/>
                  </a:lnTo>
                  <a:lnTo>
                    <a:pt x="31" y="56"/>
                  </a:lnTo>
                  <a:lnTo>
                    <a:pt x="28" y="70"/>
                  </a:lnTo>
                  <a:lnTo>
                    <a:pt x="24" y="83"/>
                  </a:lnTo>
                  <a:lnTo>
                    <a:pt x="22" y="99"/>
                  </a:lnTo>
                  <a:lnTo>
                    <a:pt x="20" y="115"/>
                  </a:lnTo>
                  <a:lnTo>
                    <a:pt x="20" y="133"/>
                  </a:lnTo>
                  <a:lnTo>
                    <a:pt x="19" y="152"/>
                  </a:lnTo>
                  <a:lnTo>
                    <a:pt x="20" y="172"/>
                  </a:lnTo>
                  <a:lnTo>
                    <a:pt x="15" y="180"/>
                  </a:lnTo>
                  <a:lnTo>
                    <a:pt x="12" y="188"/>
                  </a:lnTo>
                  <a:lnTo>
                    <a:pt x="9" y="197"/>
                  </a:lnTo>
                  <a:lnTo>
                    <a:pt x="8" y="206"/>
                  </a:lnTo>
                  <a:lnTo>
                    <a:pt x="3" y="222"/>
                  </a:lnTo>
                  <a:lnTo>
                    <a:pt x="0" y="235"/>
                  </a:lnTo>
                  <a:lnTo>
                    <a:pt x="12" y="247"/>
                  </a:lnTo>
                  <a:lnTo>
                    <a:pt x="22" y="259"/>
                  </a:lnTo>
                  <a:lnTo>
                    <a:pt x="32" y="270"/>
                  </a:lnTo>
                  <a:lnTo>
                    <a:pt x="41" y="281"/>
                  </a:lnTo>
                  <a:lnTo>
                    <a:pt x="48" y="294"/>
                  </a:lnTo>
                  <a:lnTo>
                    <a:pt x="55" y="305"/>
                  </a:lnTo>
                  <a:lnTo>
                    <a:pt x="60" y="317"/>
                  </a:lnTo>
                  <a:lnTo>
                    <a:pt x="66" y="329"/>
                  </a:lnTo>
                  <a:lnTo>
                    <a:pt x="71" y="341"/>
                  </a:lnTo>
                  <a:lnTo>
                    <a:pt x="75" y="355"/>
                  </a:lnTo>
                  <a:lnTo>
                    <a:pt x="79" y="369"/>
                  </a:lnTo>
                  <a:lnTo>
                    <a:pt x="82" y="384"/>
                  </a:lnTo>
                  <a:lnTo>
                    <a:pt x="88" y="417"/>
                  </a:lnTo>
                  <a:lnTo>
                    <a:pt x="93" y="4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83" name="Freeform 240"/>
            <p:cNvSpPr>
              <a:spLocks/>
            </p:cNvSpPr>
            <p:nvPr>
              <p:custDataLst>
                <p:tags r:id="rId168"/>
              </p:custDataLst>
            </p:nvPr>
          </p:nvSpPr>
          <p:spPr bwMode="auto">
            <a:xfrm>
              <a:off x="5696582" y="3461189"/>
              <a:ext cx="231775" cy="215900"/>
            </a:xfrm>
            <a:custGeom>
              <a:avLst/>
              <a:gdLst>
                <a:gd name="T0" fmla="*/ 2147483647 w 518"/>
                <a:gd name="T1" fmla="*/ 2147483647 h 406"/>
                <a:gd name="T2" fmla="*/ 2147483647 w 518"/>
                <a:gd name="T3" fmla="*/ 2147483647 h 406"/>
                <a:gd name="T4" fmla="*/ 2147483647 w 518"/>
                <a:gd name="T5" fmla="*/ 2147483647 h 406"/>
                <a:gd name="T6" fmla="*/ 2147483647 w 518"/>
                <a:gd name="T7" fmla="*/ 2147483647 h 406"/>
                <a:gd name="T8" fmla="*/ 2147483647 w 518"/>
                <a:gd name="T9" fmla="*/ 2147483647 h 406"/>
                <a:gd name="T10" fmla="*/ 2147483647 w 518"/>
                <a:gd name="T11" fmla="*/ 2147483647 h 406"/>
                <a:gd name="T12" fmla="*/ 2147483647 w 518"/>
                <a:gd name="T13" fmla="*/ 2147483647 h 406"/>
                <a:gd name="T14" fmla="*/ 2147483647 w 518"/>
                <a:gd name="T15" fmla="*/ 2147483647 h 406"/>
                <a:gd name="T16" fmla="*/ 2147483647 w 518"/>
                <a:gd name="T17" fmla="*/ 2147483647 h 406"/>
                <a:gd name="T18" fmla="*/ 2147483647 w 518"/>
                <a:gd name="T19" fmla="*/ 2147483647 h 406"/>
                <a:gd name="T20" fmla="*/ 2147483647 w 518"/>
                <a:gd name="T21" fmla="*/ 2147483647 h 406"/>
                <a:gd name="T22" fmla="*/ 2147483647 w 518"/>
                <a:gd name="T23" fmla="*/ 2147483647 h 406"/>
                <a:gd name="T24" fmla="*/ 2147483647 w 518"/>
                <a:gd name="T25" fmla="*/ 2147483647 h 406"/>
                <a:gd name="T26" fmla="*/ 2147483647 w 518"/>
                <a:gd name="T27" fmla="*/ 2147483647 h 406"/>
                <a:gd name="T28" fmla="*/ 2147483647 w 518"/>
                <a:gd name="T29" fmla="*/ 2147483647 h 406"/>
                <a:gd name="T30" fmla="*/ 2147483647 w 518"/>
                <a:gd name="T31" fmla="*/ 2147483647 h 406"/>
                <a:gd name="T32" fmla="*/ 2147483647 w 518"/>
                <a:gd name="T33" fmla="*/ 2147483647 h 406"/>
                <a:gd name="T34" fmla="*/ 2147483647 w 518"/>
                <a:gd name="T35" fmla="*/ 2147483647 h 406"/>
                <a:gd name="T36" fmla="*/ 2147483647 w 518"/>
                <a:gd name="T37" fmla="*/ 2147483647 h 406"/>
                <a:gd name="T38" fmla="*/ 2147483647 w 518"/>
                <a:gd name="T39" fmla="*/ 2147483647 h 406"/>
                <a:gd name="T40" fmla="*/ 2147483647 w 518"/>
                <a:gd name="T41" fmla="*/ 2147483647 h 406"/>
                <a:gd name="T42" fmla="*/ 2147483647 w 518"/>
                <a:gd name="T43" fmla="*/ 2147483647 h 406"/>
                <a:gd name="T44" fmla="*/ 2147483647 w 518"/>
                <a:gd name="T45" fmla="*/ 2147483647 h 406"/>
                <a:gd name="T46" fmla="*/ 2147483647 w 518"/>
                <a:gd name="T47" fmla="*/ 2147483647 h 406"/>
                <a:gd name="T48" fmla="*/ 2147483647 w 518"/>
                <a:gd name="T49" fmla="*/ 2147483647 h 406"/>
                <a:gd name="T50" fmla="*/ 2147483647 w 518"/>
                <a:gd name="T51" fmla="*/ 2147483647 h 406"/>
                <a:gd name="T52" fmla="*/ 2147483647 w 518"/>
                <a:gd name="T53" fmla="*/ 2147483647 h 406"/>
                <a:gd name="T54" fmla="*/ 2147483647 w 518"/>
                <a:gd name="T55" fmla="*/ 2147483647 h 406"/>
                <a:gd name="T56" fmla="*/ 2147483647 w 518"/>
                <a:gd name="T57" fmla="*/ 2147483647 h 406"/>
                <a:gd name="T58" fmla="*/ 2147483647 w 518"/>
                <a:gd name="T59" fmla="*/ 2147483647 h 406"/>
                <a:gd name="T60" fmla="*/ 2147483647 w 518"/>
                <a:gd name="T61" fmla="*/ 2147483647 h 406"/>
                <a:gd name="T62" fmla="*/ 2147483647 w 518"/>
                <a:gd name="T63" fmla="*/ 2147483647 h 406"/>
                <a:gd name="T64" fmla="*/ 2147483647 w 518"/>
                <a:gd name="T65" fmla="*/ 2147483647 h 406"/>
                <a:gd name="T66" fmla="*/ 2147483647 w 518"/>
                <a:gd name="T67" fmla="*/ 2147483647 h 406"/>
                <a:gd name="T68" fmla="*/ 2147483647 w 518"/>
                <a:gd name="T69" fmla="*/ 2147483647 h 406"/>
                <a:gd name="T70" fmla="*/ 2147483647 w 518"/>
                <a:gd name="T71" fmla="*/ 2147483647 h 406"/>
                <a:gd name="T72" fmla="*/ 2147483647 w 518"/>
                <a:gd name="T73" fmla="*/ 2147483647 h 406"/>
                <a:gd name="T74" fmla="*/ 2147483647 w 518"/>
                <a:gd name="T75" fmla="*/ 2147483647 h 406"/>
                <a:gd name="T76" fmla="*/ 2147483647 w 518"/>
                <a:gd name="T77" fmla="*/ 0 h 406"/>
                <a:gd name="T78" fmla="*/ 2147483647 w 518"/>
                <a:gd name="T79" fmla="*/ 2147483647 h 406"/>
                <a:gd name="T80" fmla="*/ 2147483647 w 518"/>
                <a:gd name="T81" fmla="*/ 2147483647 h 40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518" h="406">
                  <a:moveTo>
                    <a:pt x="518" y="110"/>
                  </a:moveTo>
                  <a:lnTo>
                    <a:pt x="326" y="110"/>
                  </a:lnTo>
                  <a:lnTo>
                    <a:pt x="312" y="104"/>
                  </a:lnTo>
                  <a:lnTo>
                    <a:pt x="326" y="259"/>
                  </a:lnTo>
                  <a:lnTo>
                    <a:pt x="323" y="261"/>
                  </a:lnTo>
                  <a:lnTo>
                    <a:pt x="315" y="264"/>
                  </a:lnTo>
                  <a:lnTo>
                    <a:pt x="304" y="267"/>
                  </a:lnTo>
                  <a:lnTo>
                    <a:pt x="291" y="271"/>
                  </a:lnTo>
                  <a:lnTo>
                    <a:pt x="263" y="277"/>
                  </a:lnTo>
                  <a:lnTo>
                    <a:pt x="246" y="283"/>
                  </a:lnTo>
                  <a:lnTo>
                    <a:pt x="250" y="292"/>
                  </a:lnTo>
                  <a:lnTo>
                    <a:pt x="253" y="302"/>
                  </a:lnTo>
                  <a:lnTo>
                    <a:pt x="258" y="314"/>
                  </a:lnTo>
                  <a:lnTo>
                    <a:pt x="265" y="326"/>
                  </a:lnTo>
                  <a:lnTo>
                    <a:pt x="267" y="335"/>
                  </a:lnTo>
                  <a:lnTo>
                    <a:pt x="269" y="353"/>
                  </a:lnTo>
                  <a:lnTo>
                    <a:pt x="271" y="373"/>
                  </a:lnTo>
                  <a:lnTo>
                    <a:pt x="272" y="382"/>
                  </a:lnTo>
                  <a:lnTo>
                    <a:pt x="67" y="382"/>
                  </a:lnTo>
                  <a:lnTo>
                    <a:pt x="52" y="394"/>
                  </a:lnTo>
                  <a:lnTo>
                    <a:pt x="39" y="406"/>
                  </a:lnTo>
                  <a:lnTo>
                    <a:pt x="22" y="406"/>
                  </a:lnTo>
                  <a:lnTo>
                    <a:pt x="10" y="404"/>
                  </a:lnTo>
                  <a:lnTo>
                    <a:pt x="5" y="403"/>
                  </a:lnTo>
                  <a:lnTo>
                    <a:pt x="2" y="401"/>
                  </a:lnTo>
                  <a:lnTo>
                    <a:pt x="1" y="398"/>
                  </a:lnTo>
                  <a:lnTo>
                    <a:pt x="0" y="394"/>
                  </a:lnTo>
                  <a:lnTo>
                    <a:pt x="1" y="385"/>
                  </a:lnTo>
                  <a:lnTo>
                    <a:pt x="2" y="378"/>
                  </a:lnTo>
                  <a:lnTo>
                    <a:pt x="4" y="371"/>
                  </a:lnTo>
                  <a:lnTo>
                    <a:pt x="6" y="365"/>
                  </a:lnTo>
                  <a:lnTo>
                    <a:pt x="11" y="354"/>
                  </a:lnTo>
                  <a:lnTo>
                    <a:pt x="13" y="344"/>
                  </a:lnTo>
                  <a:lnTo>
                    <a:pt x="20" y="341"/>
                  </a:lnTo>
                  <a:lnTo>
                    <a:pt x="26" y="337"/>
                  </a:lnTo>
                  <a:lnTo>
                    <a:pt x="30" y="334"/>
                  </a:lnTo>
                  <a:lnTo>
                    <a:pt x="35" y="330"/>
                  </a:lnTo>
                  <a:lnTo>
                    <a:pt x="38" y="326"/>
                  </a:lnTo>
                  <a:lnTo>
                    <a:pt x="41" y="321"/>
                  </a:lnTo>
                  <a:lnTo>
                    <a:pt x="44" y="317"/>
                  </a:lnTo>
                  <a:lnTo>
                    <a:pt x="46" y="313"/>
                  </a:lnTo>
                  <a:lnTo>
                    <a:pt x="49" y="292"/>
                  </a:lnTo>
                  <a:lnTo>
                    <a:pt x="52" y="271"/>
                  </a:lnTo>
                  <a:lnTo>
                    <a:pt x="56" y="265"/>
                  </a:lnTo>
                  <a:lnTo>
                    <a:pt x="59" y="261"/>
                  </a:lnTo>
                  <a:lnTo>
                    <a:pt x="62" y="257"/>
                  </a:lnTo>
                  <a:lnTo>
                    <a:pt x="66" y="253"/>
                  </a:lnTo>
                  <a:lnTo>
                    <a:pt x="74" y="246"/>
                  </a:lnTo>
                  <a:lnTo>
                    <a:pt x="83" y="242"/>
                  </a:lnTo>
                  <a:lnTo>
                    <a:pt x="92" y="238"/>
                  </a:lnTo>
                  <a:lnTo>
                    <a:pt x="100" y="235"/>
                  </a:lnTo>
                  <a:lnTo>
                    <a:pt x="107" y="231"/>
                  </a:lnTo>
                  <a:lnTo>
                    <a:pt x="113" y="227"/>
                  </a:lnTo>
                  <a:lnTo>
                    <a:pt x="122" y="218"/>
                  </a:lnTo>
                  <a:lnTo>
                    <a:pt x="129" y="207"/>
                  </a:lnTo>
                  <a:lnTo>
                    <a:pt x="136" y="195"/>
                  </a:lnTo>
                  <a:lnTo>
                    <a:pt x="141" y="182"/>
                  </a:lnTo>
                  <a:lnTo>
                    <a:pt x="150" y="156"/>
                  </a:lnTo>
                  <a:lnTo>
                    <a:pt x="158" y="129"/>
                  </a:lnTo>
                  <a:lnTo>
                    <a:pt x="162" y="117"/>
                  </a:lnTo>
                  <a:lnTo>
                    <a:pt x="168" y="105"/>
                  </a:lnTo>
                  <a:lnTo>
                    <a:pt x="172" y="94"/>
                  </a:lnTo>
                  <a:lnTo>
                    <a:pt x="179" y="83"/>
                  </a:lnTo>
                  <a:lnTo>
                    <a:pt x="186" y="73"/>
                  </a:lnTo>
                  <a:lnTo>
                    <a:pt x="195" y="66"/>
                  </a:lnTo>
                  <a:lnTo>
                    <a:pt x="201" y="62"/>
                  </a:lnTo>
                  <a:lnTo>
                    <a:pt x="206" y="59"/>
                  </a:lnTo>
                  <a:lnTo>
                    <a:pt x="213" y="57"/>
                  </a:lnTo>
                  <a:lnTo>
                    <a:pt x="219" y="55"/>
                  </a:lnTo>
                  <a:lnTo>
                    <a:pt x="219" y="44"/>
                  </a:lnTo>
                  <a:lnTo>
                    <a:pt x="220" y="36"/>
                  </a:lnTo>
                  <a:lnTo>
                    <a:pt x="223" y="28"/>
                  </a:lnTo>
                  <a:lnTo>
                    <a:pt x="225" y="21"/>
                  </a:lnTo>
                  <a:lnTo>
                    <a:pt x="228" y="16"/>
                  </a:lnTo>
                  <a:lnTo>
                    <a:pt x="233" y="11"/>
                  </a:lnTo>
                  <a:lnTo>
                    <a:pt x="239" y="8"/>
                  </a:lnTo>
                  <a:lnTo>
                    <a:pt x="246" y="6"/>
                  </a:lnTo>
                  <a:lnTo>
                    <a:pt x="511" y="0"/>
                  </a:lnTo>
                  <a:lnTo>
                    <a:pt x="513" y="13"/>
                  </a:lnTo>
                  <a:lnTo>
                    <a:pt x="515" y="46"/>
                  </a:lnTo>
                  <a:lnTo>
                    <a:pt x="517" y="83"/>
                  </a:lnTo>
                  <a:lnTo>
                    <a:pt x="518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84" name="Freeform 241"/>
            <p:cNvSpPr>
              <a:spLocks/>
            </p:cNvSpPr>
            <p:nvPr>
              <p:custDataLst>
                <p:tags r:id="rId169"/>
              </p:custDataLst>
            </p:nvPr>
          </p:nvSpPr>
          <p:spPr bwMode="auto">
            <a:xfrm>
              <a:off x="5664832" y="2268977"/>
              <a:ext cx="190500" cy="93662"/>
            </a:xfrm>
            <a:custGeom>
              <a:avLst/>
              <a:gdLst>
                <a:gd name="T0" fmla="*/ 2147483647 w 446"/>
                <a:gd name="T1" fmla="*/ 2147483647 h 178"/>
                <a:gd name="T2" fmla="*/ 2147483647 w 446"/>
                <a:gd name="T3" fmla="*/ 2147483647 h 178"/>
                <a:gd name="T4" fmla="*/ 2147483647 w 446"/>
                <a:gd name="T5" fmla="*/ 2147483647 h 178"/>
                <a:gd name="T6" fmla="*/ 2147483647 w 446"/>
                <a:gd name="T7" fmla="*/ 2147483647 h 178"/>
                <a:gd name="T8" fmla="*/ 2147483647 w 446"/>
                <a:gd name="T9" fmla="*/ 2147483647 h 178"/>
                <a:gd name="T10" fmla="*/ 2147483647 w 446"/>
                <a:gd name="T11" fmla="*/ 0 h 178"/>
                <a:gd name="T12" fmla="*/ 2147483647 w 446"/>
                <a:gd name="T13" fmla="*/ 2147483647 h 178"/>
                <a:gd name="T14" fmla="*/ 2147483647 w 446"/>
                <a:gd name="T15" fmla="*/ 2147483647 h 178"/>
                <a:gd name="T16" fmla="*/ 2147483647 w 446"/>
                <a:gd name="T17" fmla="*/ 2147483647 h 178"/>
                <a:gd name="T18" fmla="*/ 2147483647 w 446"/>
                <a:gd name="T19" fmla="*/ 2147483647 h 178"/>
                <a:gd name="T20" fmla="*/ 2147483647 w 446"/>
                <a:gd name="T21" fmla="*/ 2147483647 h 178"/>
                <a:gd name="T22" fmla="*/ 2147483647 w 446"/>
                <a:gd name="T23" fmla="*/ 2147483647 h 178"/>
                <a:gd name="T24" fmla="*/ 2147483647 w 446"/>
                <a:gd name="T25" fmla="*/ 2147483647 h 178"/>
                <a:gd name="T26" fmla="*/ 2147483647 w 446"/>
                <a:gd name="T27" fmla="*/ 2147483647 h 178"/>
                <a:gd name="T28" fmla="*/ 2147483647 w 446"/>
                <a:gd name="T29" fmla="*/ 2147483647 h 178"/>
                <a:gd name="T30" fmla="*/ 2147483647 w 446"/>
                <a:gd name="T31" fmla="*/ 2147483647 h 178"/>
                <a:gd name="T32" fmla="*/ 2147483647 w 446"/>
                <a:gd name="T33" fmla="*/ 2147483647 h 178"/>
                <a:gd name="T34" fmla="*/ 2147483647 w 446"/>
                <a:gd name="T35" fmla="*/ 2147483647 h 178"/>
                <a:gd name="T36" fmla="*/ 2147483647 w 446"/>
                <a:gd name="T37" fmla="*/ 2147483647 h 178"/>
                <a:gd name="T38" fmla="*/ 2147483647 w 446"/>
                <a:gd name="T39" fmla="*/ 2147483647 h 178"/>
                <a:gd name="T40" fmla="*/ 2147483647 w 446"/>
                <a:gd name="T41" fmla="*/ 2147483647 h 178"/>
                <a:gd name="T42" fmla="*/ 2147483647 w 446"/>
                <a:gd name="T43" fmla="*/ 2147483647 h 178"/>
                <a:gd name="T44" fmla="*/ 2147483647 w 446"/>
                <a:gd name="T45" fmla="*/ 2147483647 h 178"/>
                <a:gd name="T46" fmla="*/ 2147483647 w 446"/>
                <a:gd name="T47" fmla="*/ 2147483647 h 178"/>
                <a:gd name="T48" fmla="*/ 2147483647 w 446"/>
                <a:gd name="T49" fmla="*/ 2147483647 h 178"/>
                <a:gd name="T50" fmla="*/ 2147483647 w 446"/>
                <a:gd name="T51" fmla="*/ 2147483647 h 178"/>
                <a:gd name="T52" fmla="*/ 2147483647 w 446"/>
                <a:gd name="T53" fmla="*/ 2147483647 h 178"/>
                <a:gd name="T54" fmla="*/ 2147483647 w 446"/>
                <a:gd name="T55" fmla="*/ 2147483647 h 178"/>
                <a:gd name="T56" fmla="*/ 2147483647 w 446"/>
                <a:gd name="T57" fmla="*/ 2147483647 h 178"/>
                <a:gd name="T58" fmla="*/ 2147483647 w 446"/>
                <a:gd name="T59" fmla="*/ 2147483647 h 178"/>
                <a:gd name="T60" fmla="*/ 2147483647 w 446"/>
                <a:gd name="T61" fmla="*/ 2147483647 h 178"/>
                <a:gd name="T62" fmla="*/ 2147483647 w 446"/>
                <a:gd name="T63" fmla="*/ 2147483647 h 178"/>
                <a:gd name="T64" fmla="*/ 2147483647 w 446"/>
                <a:gd name="T65" fmla="*/ 2147483647 h 178"/>
                <a:gd name="T66" fmla="*/ 2147483647 w 446"/>
                <a:gd name="T67" fmla="*/ 2147483647 h 178"/>
                <a:gd name="T68" fmla="*/ 2147483647 w 446"/>
                <a:gd name="T69" fmla="*/ 2147483647 h 178"/>
                <a:gd name="T70" fmla="*/ 2147483647 w 446"/>
                <a:gd name="T71" fmla="*/ 2147483647 h 178"/>
                <a:gd name="T72" fmla="*/ 2147483647 w 446"/>
                <a:gd name="T73" fmla="*/ 2147483647 h 178"/>
                <a:gd name="T74" fmla="*/ 2147483647 w 446"/>
                <a:gd name="T75" fmla="*/ 2147483647 h 178"/>
                <a:gd name="T76" fmla="*/ 2147483647 w 446"/>
                <a:gd name="T77" fmla="*/ 2147483647 h 178"/>
                <a:gd name="T78" fmla="*/ 2147483647 w 446"/>
                <a:gd name="T79" fmla="*/ 2147483647 h 178"/>
                <a:gd name="T80" fmla="*/ 0 w 446"/>
                <a:gd name="T81" fmla="*/ 2147483647 h 178"/>
                <a:gd name="T82" fmla="*/ 2147483647 w 446"/>
                <a:gd name="T83" fmla="*/ 2147483647 h 178"/>
                <a:gd name="T84" fmla="*/ 2147483647 w 446"/>
                <a:gd name="T85" fmla="*/ 2147483647 h 178"/>
                <a:gd name="T86" fmla="*/ 2147483647 w 446"/>
                <a:gd name="T87" fmla="*/ 2147483647 h 178"/>
                <a:gd name="T88" fmla="*/ 2147483647 w 446"/>
                <a:gd name="T89" fmla="*/ 2147483647 h 17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446" h="178">
                  <a:moveTo>
                    <a:pt x="27" y="43"/>
                  </a:moveTo>
                  <a:lnTo>
                    <a:pt x="31" y="52"/>
                  </a:lnTo>
                  <a:lnTo>
                    <a:pt x="34" y="61"/>
                  </a:lnTo>
                  <a:lnTo>
                    <a:pt x="37" y="53"/>
                  </a:lnTo>
                  <a:lnTo>
                    <a:pt x="40" y="47"/>
                  </a:lnTo>
                  <a:lnTo>
                    <a:pt x="41" y="42"/>
                  </a:lnTo>
                  <a:lnTo>
                    <a:pt x="41" y="37"/>
                  </a:lnTo>
                  <a:lnTo>
                    <a:pt x="55" y="37"/>
                  </a:lnTo>
                  <a:lnTo>
                    <a:pt x="68" y="37"/>
                  </a:lnTo>
                  <a:lnTo>
                    <a:pt x="77" y="37"/>
                  </a:lnTo>
                  <a:lnTo>
                    <a:pt x="80" y="37"/>
                  </a:lnTo>
                  <a:lnTo>
                    <a:pt x="80" y="18"/>
                  </a:lnTo>
                  <a:lnTo>
                    <a:pt x="78" y="17"/>
                  </a:lnTo>
                  <a:lnTo>
                    <a:pt x="75" y="16"/>
                  </a:lnTo>
                  <a:lnTo>
                    <a:pt x="72" y="14"/>
                  </a:lnTo>
                  <a:lnTo>
                    <a:pt x="70" y="11"/>
                  </a:lnTo>
                  <a:lnTo>
                    <a:pt x="65" y="5"/>
                  </a:lnTo>
                  <a:lnTo>
                    <a:pt x="60" y="0"/>
                  </a:lnTo>
                  <a:lnTo>
                    <a:pt x="69" y="3"/>
                  </a:lnTo>
                  <a:lnTo>
                    <a:pt x="78" y="6"/>
                  </a:lnTo>
                  <a:lnTo>
                    <a:pt x="85" y="10"/>
                  </a:lnTo>
                  <a:lnTo>
                    <a:pt x="90" y="15"/>
                  </a:lnTo>
                  <a:lnTo>
                    <a:pt x="100" y="27"/>
                  </a:lnTo>
                  <a:lnTo>
                    <a:pt x="108" y="39"/>
                  </a:lnTo>
                  <a:lnTo>
                    <a:pt x="114" y="49"/>
                  </a:lnTo>
                  <a:lnTo>
                    <a:pt x="121" y="59"/>
                  </a:lnTo>
                  <a:lnTo>
                    <a:pt x="125" y="62"/>
                  </a:lnTo>
                  <a:lnTo>
                    <a:pt x="130" y="65"/>
                  </a:lnTo>
                  <a:lnTo>
                    <a:pt x="134" y="67"/>
                  </a:lnTo>
                  <a:lnTo>
                    <a:pt x="139" y="67"/>
                  </a:lnTo>
                  <a:lnTo>
                    <a:pt x="146" y="67"/>
                  </a:lnTo>
                  <a:lnTo>
                    <a:pt x="152" y="66"/>
                  </a:lnTo>
                  <a:lnTo>
                    <a:pt x="157" y="63"/>
                  </a:lnTo>
                  <a:lnTo>
                    <a:pt x="163" y="61"/>
                  </a:lnTo>
                  <a:lnTo>
                    <a:pt x="172" y="54"/>
                  </a:lnTo>
                  <a:lnTo>
                    <a:pt x="181" y="45"/>
                  </a:lnTo>
                  <a:lnTo>
                    <a:pt x="190" y="37"/>
                  </a:lnTo>
                  <a:lnTo>
                    <a:pt x="198" y="29"/>
                  </a:lnTo>
                  <a:lnTo>
                    <a:pt x="205" y="23"/>
                  </a:lnTo>
                  <a:lnTo>
                    <a:pt x="213" y="18"/>
                  </a:lnTo>
                  <a:lnTo>
                    <a:pt x="216" y="25"/>
                  </a:lnTo>
                  <a:lnTo>
                    <a:pt x="220" y="31"/>
                  </a:lnTo>
                  <a:lnTo>
                    <a:pt x="293" y="31"/>
                  </a:lnTo>
                  <a:lnTo>
                    <a:pt x="352" y="6"/>
                  </a:lnTo>
                  <a:lnTo>
                    <a:pt x="359" y="11"/>
                  </a:lnTo>
                  <a:lnTo>
                    <a:pt x="367" y="17"/>
                  </a:lnTo>
                  <a:lnTo>
                    <a:pt x="371" y="21"/>
                  </a:lnTo>
                  <a:lnTo>
                    <a:pt x="376" y="23"/>
                  </a:lnTo>
                  <a:lnTo>
                    <a:pt x="381" y="24"/>
                  </a:lnTo>
                  <a:lnTo>
                    <a:pt x="385" y="25"/>
                  </a:lnTo>
                  <a:lnTo>
                    <a:pt x="396" y="22"/>
                  </a:lnTo>
                  <a:lnTo>
                    <a:pt x="413" y="18"/>
                  </a:lnTo>
                  <a:lnTo>
                    <a:pt x="413" y="28"/>
                  </a:lnTo>
                  <a:lnTo>
                    <a:pt x="413" y="37"/>
                  </a:lnTo>
                  <a:lnTo>
                    <a:pt x="413" y="39"/>
                  </a:lnTo>
                  <a:lnTo>
                    <a:pt x="414" y="41"/>
                  </a:lnTo>
                  <a:lnTo>
                    <a:pt x="415" y="43"/>
                  </a:lnTo>
                  <a:lnTo>
                    <a:pt x="417" y="45"/>
                  </a:lnTo>
                  <a:lnTo>
                    <a:pt x="423" y="49"/>
                  </a:lnTo>
                  <a:lnTo>
                    <a:pt x="429" y="54"/>
                  </a:lnTo>
                  <a:lnTo>
                    <a:pt x="435" y="59"/>
                  </a:lnTo>
                  <a:lnTo>
                    <a:pt x="440" y="64"/>
                  </a:lnTo>
                  <a:lnTo>
                    <a:pt x="443" y="68"/>
                  </a:lnTo>
                  <a:lnTo>
                    <a:pt x="444" y="71"/>
                  </a:lnTo>
                  <a:lnTo>
                    <a:pt x="445" y="76"/>
                  </a:lnTo>
                  <a:lnTo>
                    <a:pt x="446" y="80"/>
                  </a:lnTo>
                  <a:lnTo>
                    <a:pt x="445" y="87"/>
                  </a:lnTo>
                  <a:lnTo>
                    <a:pt x="443" y="92"/>
                  </a:lnTo>
                  <a:lnTo>
                    <a:pt x="438" y="96"/>
                  </a:lnTo>
                  <a:lnTo>
                    <a:pt x="434" y="100"/>
                  </a:lnTo>
                  <a:lnTo>
                    <a:pt x="423" y="106"/>
                  </a:lnTo>
                  <a:lnTo>
                    <a:pt x="413" y="111"/>
                  </a:lnTo>
                  <a:lnTo>
                    <a:pt x="407" y="115"/>
                  </a:lnTo>
                  <a:lnTo>
                    <a:pt x="402" y="118"/>
                  </a:lnTo>
                  <a:lnTo>
                    <a:pt x="397" y="120"/>
                  </a:lnTo>
                  <a:lnTo>
                    <a:pt x="392" y="121"/>
                  </a:lnTo>
                  <a:lnTo>
                    <a:pt x="380" y="123"/>
                  </a:lnTo>
                  <a:lnTo>
                    <a:pt x="366" y="123"/>
                  </a:lnTo>
                  <a:lnTo>
                    <a:pt x="344" y="129"/>
                  </a:lnTo>
                  <a:lnTo>
                    <a:pt x="322" y="137"/>
                  </a:lnTo>
                  <a:lnTo>
                    <a:pt x="300" y="146"/>
                  </a:lnTo>
                  <a:lnTo>
                    <a:pt x="279" y="156"/>
                  </a:lnTo>
                  <a:lnTo>
                    <a:pt x="257" y="164"/>
                  </a:lnTo>
                  <a:lnTo>
                    <a:pt x="234" y="171"/>
                  </a:lnTo>
                  <a:lnTo>
                    <a:pt x="223" y="174"/>
                  </a:lnTo>
                  <a:lnTo>
                    <a:pt x="211" y="176"/>
                  </a:lnTo>
                  <a:lnTo>
                    <a:pt x="199" y="178"/>
                  </a:lnTo>
                  <a:lnTo>
                    <a:pt x="187" y="178"/>
                  </a:lnTo>
                  <a:lnTo>
                    <a:pt x="181" y="177"/>
                  </a:lnTo>
                  <a:lnTo>
                    <a:pt x="177" y="174"/>
                  </a:lnTo>
                  <a:lnTo>
                    <a:pt x="175" y="171"/>
                  </a:lnTo>
                  <a:lnTo>
                    <a:pt x="173" y="166"/>
                  </a:lnTo>
                  <a:lnTo>
                    <a:pt x="172" y="164"/>
                  </a:lnTo>
                  <a:lnTo>
                    <a:pt x="172" y="163"/>
                  </a:lnTo>
                  <a:lnTo>
                    <a:pt x="171" y="162"/>
                  </a:lnTo>
                  <a:lnTo>
                    <a:pt x="170" y="161"/>
                  </a:lnTo>
                  <a:lnTo>
                    <a:pt x="166" y="161"/>
                  </a:lnTo>
                  <a:lnTo>
                    <a:pt x="161" y="161"/>
                  </a:lnTo>
                  <a:lnTo>
                    <a:pt x="156" y="161"/>
                  </a:lnTo>
                  <a:lnTo>
                    <a:pt x="150" y="162"/>
                  </a:lnTo>
                  <a:lnTo>
                    <a:pt x="145" y="162"/>
                  </a:lnTo>
                  <a:lnTo>
                    <a:pt x="139" y="160"/>
                  </a:lnTo>
                  <a:lnTo>
                    <a:pt x="125" y="156"/>
                  </a:lnTo>
                  <a:lnTo>
                    <a:pt x="112" y="152"/>
                  </a:lnTo>
                  <a:lnTo>
                    <a:pt x="100" y="147"/>
                  </a:lnTo>
                  <a:lnTo>
                    <a:pt x="91" y="143"/>
                  </a:lnTo>
                  <a:lnTo>
                    <a:pt x="87" y="140"/>
                  </a:lnTo>
                  <a:lnTo>
                    <a:pt x="85" y="137"/>
                  </a:lnTo>
                  <a:lnTo>
                    <a:pt x="82" y="134"/>
                  </a:lnTo>
                  <a:lnTo>
                    <a:pt x="81" y="129"/>
                  </a:lnTo>
                  <a:lnTo>
                    <a:pt x="81" y="125"/>
                  </a:lnTo>
                  <a:lnTo>
                    <a:pt x="81" y="121"/>
                  </a:lnTo>
                  <a:lnTo>
                    <a:pt x="83" y="116"/>
                  </a:lnTo>
                  <a:lnTo>
                    <a:pt x="87" y="111"/>
                  </a:lnTo>
                  <a:lnTo>
                    <a:pt x="63" y="108"/>
                  </a:lnTo>
                  <a:lnTo>
                    <a:pt x="38" y="104"/>
                  </a:lnTo>
                  <a:lnTo>
                    <a:pt x="27" y="103"/>
                  </a:lnTo>
                  <a:lnTo>
                    <a:pt x="18" y="103"/>
                  </a:lnTo>
                  <a:lnTo>
                    <a:pt x="13" y="104"/>
                  </a:lnTo>
                  <a:lnTo>
                    <a:pt x="9" y="105"/>
                  </a:lnTo>
                  <a:lnTo>
                    <a:pt x="4" y="108"/>
                  </a:lnTo>
                  <a:lnTo>
                    <a:pt x="0" y="111"/>
                  </a:lnTo>
                  <a:lnTo>
                    <a:pt x="0" y="80"/>
                  </a:lnTo>
                  <a:lnTo>
                    <a:pt x="30" y="82"/>
                  </a:lnTo>
                  <a:lnTo>
                    <a:pt x="51" y="85"/>
                  </a:lnTo>
                  <a:lnTo>
                    <a:pt x="60" y="86"/>
                  </a:lnTo>
                  <a:lnTo>
                    <a:pt x="68" y="86"/>
                  </a:lnTo>
                  <a:lnTo>
                    <a:pt x="77" y="84"/>
                  </a:lnTo>
                  <a:lnTo>
                    <a:pt x="87" y="80"/>
                  </a:lnTo>
                  <a:lnTo>
                    <a:pt x="64" y="76"/>
                  </a:lnTo>
                  <a:lnTo>
                    <a:pt x="44" y="71"/>
                  </a:lnTo>
                  <a:lnTo>
                    <a:pt x="23" y="68"/>
                  </a:lnTo>
                  <a:lnTo>
                    <a:pt x="0" y="67"/>
                  </a:lnTo>
                  <a:lnTo>
                    <a:pt x="9" y="62"/>
                  </a:lnTo>
                  <a:lnTo>
                    <a:pt x="16" y="55"/>
                  </a:lnTo>
                  <a:lnTo>
                    <a:pt x="22" y="49"/>
                  </a:lnTo>
                  <a:lnTo>
                    <a:pt x="2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244" name="Freeform 242"/>
            <p:cNvSpPr>
              <a:spLocks/>
            </p:cNvSpPr>
            <p:nvPr>
              <p:custDataLst>
                <p:tags r:id="rId170"/>
              </p:custDataLst>
            </p:nvPr>
          </p:nvSpPr>
          <p:spPr bwMode="auto">
            <a:xfrm>
              <a:off x="6457324" y="2531937"/>
              <a:ext cx="14363" cy="57351"/>
            </a:xfrm>
            <a:custGeom>
              <a:avLst/>
              <a:gdLst>
                <a:gd name="T0" fmla="*/ 0 w 28"/>
                <a:gd name="T1" fmla="*/ 73 h 73"/>
                <a:gd name="T2" fmla="*/ 2 w 28"/>
                <a:gd name="T3" fmla="*/ 47 h 73"/>
                <a:gd name="T4" fmla="*/ 6 w 28"/>
                <a:gd name="T5" fmla="*/ 28 h 73"/>
                <a:gd name="T6" fmla="*/ 7 w 28"/>
                <a:gd name="T7" fmla="*/ 20 h 73"/>
                <a:gd name="T8" fmla="*/ 6 w 28"/>
                <a:gd name="T9" fmla="*/ 13 h 73"/>
                <a:gd name="T10" fmla="*/ 4 w 28"/>
                <a:gd name="T11" fmla="*/ 7 h 73"/>
                <a:gd name="T12" fmla="*/ 0 w 28"/>
                <a:gd name="T13" fmla="*/ 0 h 73"/>
                <a:gd name="T14" fmla="*/ 28 w 28"/>
                <a:gd name="T15" fmla="*/ 0 h 73"/>
                <a:gd name="T16" fmla="*/ 22 w 28"/>
                <a:gd name="T17" fmla="*/ 16 h 73"/>
                <a:gd name="T18" fmla="*/ 17 w 28"/>
                <a:gd name="T19" fmla="*/ 30 h 73"/>
                <a:gd name="T20" fmla="*/ 12 w 28"/>
                <a:gd name="T21" fmla="*/ 43 h 73"/>
                <a:gd name="T22" fmla="*/ 7 w 28"/>
                <a:gd name="T23" fmla="*/ 55 h 73"/>
                <a:gd name="T24" fmla="*/ 0 w 28"/>
                <a:gd name="T25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73">
                  <a:moveTo>
                    <a:pt x="0" y="73"/>
                  </a:moveTo>
                  <a:lnTo>
                    <a:pt x="2" y="47"/>
                  </a:lnTo>
                  <a:lnTo>
                    <a:pt x="6" y="28"/>
                  </a:lnTo>
                  <a:lnTo>
                    <a:pt x="7" y="20"/>
                  </a:lnTo>
                  <a:lnTo>
                    <a:pt x="6" y="13"/>
                  </a:lnTo>
                  <a:lnTo>
                    <a:pt x="4" y="7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2" y="16"/>
                  </a:lnTo>
                  <a:lnTo>
                    <a:pt x="17" y="30"/>
                  </a:lnTo>
                  <a:lnTo>
                    <a:pt x="12" y="43"/>
                  </a:lnTo>
                  <a:lnTo>
                    <a:pt x="7" y="55"/>
                  </a:lnTo>
                  <a:lnTo>
                    <a:pt x="0" y="7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86" name="Freeform 243"/>
            <p:cNvSpPr>
              <a:spLocks/>
            </p:cNvSpPr>
            <p:nvPr>
              <p:custDataLst>
                <p:tags r:id="rId171"/>
              </p:custDataLst>
            </p:nvPr>
          </p:nvSpPr>
          <p:spPr bwMode="auto">
            <a:xfrm>
              <a:off x="6344282" y="2195952"/>
              <a:ext cx="234950" cy="395287"/>
            </a:xfrm>
            <a:custGeom>
              <a:avLst/>
              <a:gdLst>
                <a:gd name="T0" fmla="*/ 2147483647 w 531"/>
                <a:gd name="T1" fmla="*/ 2147483647 h 757"/>
                <a:gd name="T2" fmla="*/ 2147483647 w 531"/>
                <a:gd name="T3" fmla="*/ 2147483647 h 757"/>
                <a:gd name="T4" fmla="*/ 2147483647 w 531"/>
                <a:gd name="T5" fmla="*/ 2147483647 h 757"/>
                <a:gd name="T6" fmla="*/ 2147483647 w 531"/>
                <a:gd name="T7" fmla="*/ 2147483647 h 757"/>
                <a:gd name="T8" fmla="*/ 2147483647 w 531"/>
                <a:gd name="T9" fmla="*/ 2147483647 h 757"/>
                <a:gd name="T10" fmla="*/ 2147483647 w 531"/>
                <a:gd name="T11" fmla="*/ 2147483647 h 757"/>
                <a:gd name="T12" fmla="*/ 2147483647 w 531"/>
                <a:gd name="T13" fmla="*/ 2147483647 h 757"/>
                <a:gd name="T14" fmla="*/ 2147483647 w 531"/>
                <a:gd name="T15" fmla="*/ 2147483647 h 757"/>
                <a:gd name="T16" fmla="*/ 2147483647 w 531"/>
                <a:gd name="T17" fmla="*/ 2147483647 h 757"/>
                <a:gd name="T18" fmla="*/ 2147483647 w 531"/>
                <a:gd name="T19" fmla="*/ 2147483647 h 757"/>
                <a:gd name="T20" fmla="*/ 2147483647 w 531"/>
                <a:gd name="T21" fmla="*/ 2147483647 h 757"/>
                <a:gd name="T22" fmla="*/ 2147483647 w 531"/>
                <a:gd name="T23" fmla="*/ 2147483647 h 757"/>
                <a:gd name="T24" fmla="*/ 2147483647 w 531"/>
                <a:gd name="T25" fmla="*/ 2147483647 h 757"/>
                <a:gd name="T26" fmla="*/ 2147483647 w 531"/>
                <a:gd name="T27" fmla="*/ 2147483647 h 757"/>
                <a:gd name="T28" fmla="*/ 2147483647 w 531"/>
                <a:gd name="T29" fmla="*/ 2147483647 h 757"/>
                <a:gd name="T30" fmla="*/ 2147483647 w 531"/>
                <a:gd name="T31" fmla="*/ 2147483647 h 757"/>
                <a:gd name="T32" fmla="*/ 2147483647 w 531"/>
                <a:gd name="T33" fmla="*/ 2147483647 h 757"/>
                <a:gd name="T34" fmla="*/ 2147483647 w 531"/>
                <a:gd name="T35" fmla="*/ 2147483647 h 757"/>
                <a:gd name="T36" fmla="*/ 2147483647 w 531"/>
                <a:gd name="T37" fmla="*/ 2147483647 h 757"/>
                <a:gd name="T38" fmla="*/ 2147483647 w 531"/>
                <a:gd name="T39" fmla="*/ 2147483647 h 757"/>
                <a:gd name="T40" fmla="*/ 2147483647 w 531"/>
                <a:gd name="T41" fmla="*/ 2147483647 h 757"/>
                <a:gd name="T42" fmla="*/ 2147483647 w 531"/>
                <a:gd name="T43" fmla="*/ 2147483647 h 757"/>
                <a:gd name="T44" fmla="*/ 2147483647 w 531"/>
                <a:gd name="T45" fmla="*/ 2147483647 h 757"/>
                <a:gd name="T46" fmla="*/ 2147483647 w 531"/>
                <a:gd name="T47" fmla="*/ 2147483647 h 757"/>
                <a:gd name="T48" fmla="*/ 2147483647 w 531"/>
                <a:gd name="T49" fmla="*/ 2147483647 h 757"/>
                <a:gd name="T50" fmla="*/ 2147483647 w 531"/>
                <a:gd name="T51" fmla="*/ 2147483647 h 757"/>
                <a:gd name="T52" fmla="*/ 2147483647 w 531"/>
                <a:gd name="T53" fmla="*/ 2147483647 h 757"/>
                <a:gd name="T54" fmla="*/ 2147483647 w 531"/>
                <a:gd name="T55" fmla="*/ 2147483647 h 757"/>
                <a:gd name="T56" fmla="*/ 2147483647 w 531"/>
                <a:gd name="T57" fmla="*/ 2147483647 h 757"/>
                <a:gd name="T58" fmla="*/ 2147483647 w 531"/>
                <a:gd name="T59" fmla="*/ 2147483647 h 757"/>
                <a:gd name="T60" fmla="*/ 2147483647 w 531"/>
                <a:gd name="T61" fmla="*/ 2147483647 h 757"/>
                <a:gd name="T62" fmla="*/ 2147483647 w 531"/>
                <a:gd name="T63" fmla="*/ 2147483647 h 757"/>
                <a:gd name="T64" fmla="*/ 2147483647 w 531"/>
                <a:gd name="T65" fmla="*/ 2147483647 h 757"/>
                <a:gd name="T66" fmla="*/ 2147483647 w 531"/>
                <a:gd name="T67" fmla="*/ 2147483647 h 757"/>
                <a:gd name="T68" fmla="*/ 2147483647 w 531"/>
                <a:gd name="T69" fmla="*/ 2147483647 h 757"/>
                <a:gd name="T70" fmla="*/ 2147483647 w 531"/>
                <a:gd name="T71" fmla="*/ 2147483647 h 757"/>
                <a:gd name="T72" fmla="*/ 2147483647 w 531"/>
                <a:gd name="T73" fmla="*/ 2147483647 h 757"/>
                <a:gd name="T74" fmla="*/ 2147483647 w 531"/>
                <a:gd name="T75" fmla="*/ 2147483647 h 757"/>
                <a:gd name="T76" fmla="*/ 2147483647 w 531"/>
                <a:gd name="T77" fmla="*/ 2147483647 h 757"/>
                <a:gd name="T78" fmla="*/ 2147483647 w 531"/>
                <a:gd name="T79" fmla="*/ 2147483647 h 757"/>
                <a:gd name="T80" fmla="*/ 2147483647 w 531"/>
                <a:gd name="T81" fmla="*/ 2147483647 h 757"/>
                <a:gd name="T82" fmla="*/ 2147483647 w 531"/>
                <a:gd name="T83" fmla="*/ 2147483647 h 757"/>
                <a:gd name="T84" fmla="*/ 2147483647 w 531"/>
                <a:gd name="T85" fmla="*/ 2147483647 h 757"/>
                <a:gd name="T86" fmla="*/ 2147483647 w 531"/>
                <a:gd name="T87" fmla="*/ 2147483647 h 757"/>
                <a:gd name="T88" fmla="*/ 2147483647 w 531"/>
                <a:gd name="T89" fmla="*/ 2147483647 h 757"/>
                <a:gd name="T90" fmla="*/ 2147483647 w 531"/>
                <a:gd name="T91" fmla="*/ 2147483647 h 757"/>
                <a:gd name="T92" fmla="*/ 2147483647 w 531"/>
                <a:gd name="T93" fmla="*/ 2147483647 h 757"/>
                <a:gd name="T94" fmla="*/ 2147483647 w 531"/>
                <a:gd name="T95" fmla="*/ 2147483647 h 757"/>
                <a:gd name="T96" fmla="*/ 2147483647 w 531"/>
                <a:gd name="T97" fmla="*/ 2147483647 h 75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531" h="757">
                  <a:moveTo>
                    <a:pt x="531" y="190"/>
                  </a:moveTo>
                  <a:lnTo>
                    <a:pt x="432" y="190"/>
                  </a:lnTo>
                  <a:lnTo>
                    <a:pt x="428" y="194"/>
                  </a:lnTo>
                  <a:lnTo>
                    <a:pt x="419" y="203"/>
                  </a:lnTo>
                  <a:lnTo>
                    <a:pt x="413" y="208"/>
                  </a:lnTo>
                  <a:lnTo>
                    <a:pt x="409" y="213"/>
                  </a:lnTo>
                  <a:lnTo>
                    <a:pt x="407" y="218"/>
                  </a:lnTo>
                  <a:lnTo>
                    <a:pt x="406" y="221"/>
                  </a:lnTo>
                  <a:lnTo>
                    <a:pt x="404" y="226"/>
                  </a:lnTo>
                  <a:lnTo>
                    <a:pt x="403" y="230"/>
                  </a:lnTo>
                  <a:lnTo>
                    <a:pt x="403" y="233"/>
                  </a:lnTo>
                  <a:lnTo>
                    <a:pt x="404" y="237"/>
                  </a:lnTo>
                  <a:lnTo>
                    <a:pt x="407" y="244"/>
                  </a:lnTo>
                  <a:lnTo>
                    <a:pt x="412" y="252"/>
                  </a:lnTo>
                  <a:lnTo>
                    <a:pt x="397" y="264"/>
                  </a:lnTo>
                  <a:lnTo>
                    <a:pt x="382" y="275"/>
                  </a:lnTo>
                  <a:lnTo>
                    <a:pt x="367" y="284"/>
                  </a:lnTo>
                  <a:lnTo>
                    <a:pt x="353" y="291"/>
                  </a:lnTo>
                  <a:lnTo>
                    <a:pt x="339" y="299"/>
                  </a:lnTo>
                  <a:lnTo>
                    <a:pt x="325" y="306"/>
                  </a:lnTo>
                  <a:lnTo>
                    <a:pt x="311" y="315"/>
                  </a:lnTo>
                  <a:lnTo>
                    <a:pt x="299" y="325"/>
                  </a:lnTo>
                  <a:lnTo>
                    <a:pt x="277" y="338"/>
                  </a:lnTo>
                  <a:lnTo>
                    <a:pt x="252" y="354"/>
                  </a:lnTo>
                  <a:lnTo>
                    <a:pt x="248" y="358"/>
                  </a:lnTo>
                  <a:lnTo>
                    <a:pt x="242" y="361"/>
                  </a:lnTo>
                  <a:lnTo>
                    <a:pt x="239" y="365"/>
                  </a:lnTo>
                  <a:lnTo>
                    <a:pt x="237" y="369"/>
                  </a:lnTo>
                  <a:lnTo>
                    <a:pt x="237" y="372"/>
                  </a:lnTo>
                  <a:lnTo>
                    <a:pt x="238" y="375"/>
                  </a:lnTo>
                  <a:lnTo>
                    <a:pt x="241" y="378"/>
                  </a:lnTo>
                  <a:lnTo>
                    <a:pt x="245" y="381"/>
                  </a:lnTo>
                  <a:lnTo>
                    <a:pt x="245" y="391"/>
                  </a:lnTo>
                  <a:lnTo>
                    <a:pt x="245" y="400"/>
                  </a:lnTo>
                  <a:lnTo>
                    <a:pt x="243" y="413"/>
                  </a:lnTo>
                  <a:lnTo>
                    <a:pt x="240" y="424"/>
                  </a:lnTo>
                  <a:lnTo>
                    <a:pt x="238" y="430"/>
                  </a:lnTo>
                  <a:lnTo>
                    <a:pt x="238" y="436"/>
                  </a:lnTo>
                  <a:lnTo>
                    <a:pt x="238" y="443"/>
                  </a:lnTo>
                  <a:lnTo>
                    <a:pt x="239" y="449"/>
                  </a:lnTo>
                  <a:lnTo>
                    <a:pt x="243" y="456"/>
                  </a:lnTo>
                  <a:lnTo>
                    <a:pt x="249" y="461"/>
                  </a:lnTo>
                  <a:lnTo>
                    <a:pt x="255" y="465"/>
                  </a:lnTo>
                  <a:lnTo>
                    <a:pt x="262" y="468"/>
                  </a:lnTo>
                  <a:lnTo>
                    <a:pt x="277" y="473"/>
                  </a:lnTo>
                  <a:lnTo>
                    <a:pt x="293" y="477"/>
                  </a:lnTo>
                  <a:lnTo>
                    <a:pt x="308" y="480"/>
                  </a:lnTo>
                  <a:lnTo>
                    <a:pt x="320" y="485"/>
                  </a:lnTo>
                  <a:lnTo>
                    <a:pt x="326" y="488"/>
                  </a:lnTo>
                  <a:lnTo>
                    <a:pt x="329" y="492"/>
                  </a:lnTo>
                  <a:lnTo>
                    <a:pt x="331" y="499"/>
                  </a:lnTo>
                  <a:lnTo>
                    <a:pt x="332" y="505"/>
                  </a:lnTo>
                  <a:lnTo>
                    <a:pt x="332" y="517"/>
                  </a:lnTo>
                  <a:lnTo>
                    <a:pt x="332" y="529"/>
                  </a:lnTo>
                  <a:lnTo>
                    <a:pt x="321" y="530"/>
                  </a:lnTo>
                  <a:lnTo>
                    <a:pt x="310" y="531"/>
                  </a:lnTo>
                  <a:lnTo>
                    <a:pt x="299" y="534"/>
                  </a:lnTo>
                  <a:lnTo>
                    <a:pt x="289" y="537"/>
                  </a:lnTo>
                  <a:lnTo>
                    <a:pt x="280" y="542"/>
                  </a:lnTo>
                  <a:lnTo>
                    <a:pt x="272" y="547"/>
                  </a:lnTo>
                  <a:lnTo>
                    <a:pt x="270" y="551"/>
                  </a:lnTo>
                  <a:lnTo>
                    <a:pt x="267" y="554"/>
                  </a:lnTo>
                  <a:lnTo>
                    <a:pt x="266" y="557"/>
                  </a:lnTo>
                  <a:lnTo>
                    <a:pt x="265" y="560"/>
                  </a:lnTo>
                  <a:lnTo>
                    <a:pt x="264" y="576"/>
                  </a:lnTo>
                  <a:lnTo>
                    <a:pt x="262" y="593"/>
                  </a:lnTo>
                  <a:lnTo>
                    <a:pt x="258" y="612"/>
                  </a:lnTo>
                  <a:lnTo>
                    <a:pt x="252" y="631"/>
                  </a:lnTo>
                  <a:lnTo>
                    <a:pt x="248" y="651"/>
                  </a:lnTo>
                  <a:lnTo>
                    <a:pt x="243" y="673"/>
                  </a:lnTo>
                  <a:lnTo>
                    <a:pt x="240" y="695"/>
                  </a:lnTo>
                  <a:lnTo>
                    <a:pt x="239" y="721"/>
                  </a:lnTo>
                  <a:lnTo>
                    <a:pt x="224" y="721"/>
                  </a:lnTo>
                  <a:lnTo>
                    <a:pt x="206" y="722"/>
                  </a:lnTo>
                  <a:lnTo>
                    <a:pt x="189" y="724"/>
                  </a:lnTo>
                  <a:lnTo>
                    <a:pt x="173" y="727"/>
                  </a:lnTo>
                  <a:lnTo>
                    <a:pt x="166" y="730"/>
                  </a:lnTo>
                  <a:lnTo>
                    <a:pt x="161" y="732"/>
                  </a:lnTo>
                  <a:lnTo>
                    <a:pt x="155" y="735"/>
                  </a:lnTo>
                  <a:lnTo>
                    <a:pt x="152" y="738"/>
                  </a:lnTo>
                  <a:lnTo>
                    <a:pt x="150" y="742"/>
                  </a:lnTo>
                  <a:lnTo>
                    <a:pt x="149" y="747"/>
                  </a:lnTo>
                  <a:lnTo>
                    <a:pt x="150" y="751"/>
                  </a:lnTo>
                  <a:lnTo>
                    <a:pt x="153" y="757"/>
                  </a:lnTo>
                  <a:lnTo>
                    <a:pt x="142" y="757"/>
                  </a:lnTo>
                  <a:lnTo>
                    <a:pt x="127" y="757"/>
                  </a:lnTo>
                  <a:lnTo>
                    <a:pt x="113" y="757"/>
                  </a:lnTo>
                  <a:lnTo>
                    <a:pt x="106" y="757"/>
                  </a:lnTo>
                  <a:lnTo>
                    <a:pt x="104" y="757"/>
                  </a:lnTo>
                  <a:lnTo>
                    <a:pt x="101" y="756"/>
                  </a:lnTo>
                  <a:lnTo>
                    <a:pt x="98" y="754"/>
                  </a:lnTo>
                  <a:lnTo>
                    <a:pt x="95" y="752"/>
                  </a:lnTo>
                  <a:lnTo>
                    <a:pt x="90" y="746"/>
                  </a:lnTo>
                  <a:lnTo>
                    <a:pt x="84" y="738"/>
                  </a:lnTo>
                  <a:lnTo>
                    <a:pt x="77" y="729"/>
                  </a:lnTo>
                  <a:lnTo>
                    <a:pt x="71" y="718"/>
                  </a:lnTo>
                  <a:lnTo>
                    <a:pt x="65" y="706"/>
                  </a:lnTo>
                  <a:lnTo>
                    <a:pt x="60" y="693"/>
                  </a:lnTo>
                  <a:lnTo>
                    <a:pt x="49" y="667"/>
                  </a:lnTo>
                  <a:lnTo>
                    <a:pt x="41" y="640"/>
                  </a:lnTo>
                  <a:lnTo>
                    <a:pt x="38" y="628"/>
                  </a:lnTo>
                  <a:lnTo>
                    <a:pt x="35" y="616"/>
                  </a:lnTo>
                  <a:lnTo>
                    <a:pt x="34" y="606"/>
                  </a:lnTo>
                  <a:lnTo>
                    <a:pt x="34" y="597"/>
                  </a:lnTo>
                  <a:lnTo>
                    <a:pt x="27" y="596"/>
                  </a:lnTo>
                  <a:lnTo>
                    <a:pt x="22" y="594"/>
                  </a:lnTo>
                  <a:lnTo>
                    <a:pt x="17" y="590"/>
                  </a:lnTo>
                  <a:lnTo>
                    <a:pt x="14" y="586"/>
                  </a:lnTo>
                  <a:lnTo>
                    <a:pt x="8" y="576"/>
                  </a:lnTo>
                  <a:lnTo>
                    <a:pt x="0" y="566"/>
                  </a:lnTo>
                  <a:lnTo>
                    <a:pt x="9" y="563"/>
                  </a:lnTo>
                  <a:lnTo>
                    <a:pt x="19" y="561"/>
                  </a:lnTo>
                  <a:lnTo>
                    <a:pt x="27" y="560"/>
                  </a:lnTo>
                  <a:lnTo>
                    <a:pt x="34" y="560"/>
                  </a:lnTo>
                  <a:lnTo>
                    <a:pt x="34" y="548"/>
                  </a:lnTo>
                  <a:lnTo>
                    <a:pt x="36" y="538"/>
                  </a:lnTo>
                  <a:lnTo>
                    <a:pt x="38" y="528"/>
                  </a:lnTo>
                  <a:lnTo>
                    <a:pt x="42" y="519"/>
                  </a:lnTo>
                  <a:lnTo>
                    <a:pt x="47" y="511"/>
                  </a:lnTo>
                  <a:lnTo>
                    <a:pt x="53" y="504"/>
                  </a:lnTo>
                  <a:lnTo>
                    <a:pt x="59" y="498"/>
                  </a:lnTo>
                  <a:lnTo>
                    <a:pt x="67" y="492"/>
                  </a:lnTo>
                  <a:lnTo>
                    <a:pt x="62" y="480"/>
                  </a:lnTo>
                  <a:lnTo>
                    <a:pt x="61" y="471"/>
                  </a:lnTo>
                  <a:lnTo>
                    <a:pt x="61" y="464"/>
                  </a:lnTo>
                  <a:lnTo>
                    <a:pt x="61" y="457"/>
                  </a:lnTo>
                  <a:lnTo>
                    <a:pt x="63" y="450"/>
                  </a:lnTo>
                  <a:lnTo>
                    <a:pt x="64" y="441"/>
                  </a:lnTo>
                  <a:lnTo>
                    <a:pt x="65" y="428"/>
                  </a:lnTo>
                  <a:lnTo>
                    <a:pt x="67" y="412"/>
                  </a:lnTo>
                  <a:lnTo>
                    <a:pt x="62" y="410"/>
                  </a:lnTo>
                  <a:lnTo>
                    <a:pt x="58" y="408"/>
                  </a:lnTo>
                  <a:lnTo>
                    <a:pt x="54" y="404"/>
                  </a:lnTo>
                  <a:lnTo>
                    <a:pt x="51" y="400"/>
                  </a:lnTo>
                  <a:lnTo>
                    <a:pt x="47" y="390"/>
                  </a:lnTo>
                  <a:lnTo>
                    <a:pt x="43" y="377"/>
                  </a:lnTo>
                  <a:lnTo>
                    <a:pt x="40" y="354"/>
                  </a:lnTo>
                  <a:lnTo>
                    <a:pt x="40" y="338"/>
                  </a:lnTo>
                  <a:lnTo>
                    <a:pt x="60" y="277"/>
                  </a:lnTo>
                  <a:lnTo>
                    <a:pt x="74" y="276"/>
                  </a:lnTo>
                  <a:lnTo>
                    <a:pt x="88" y="275"/>
                  </a:lnTo>
                  <a:lnTo>
                    <a:pt x="94" y="274"/>
                  </a:lnTo>
                  <a:lnTo>
                    <a:pt x="99" y="274"/>
                  </a:lnTo>
                  <a:lnTo>
                    <a:pt x="103" y="275"/>
                  </a:lnTo>
                  <a:lnTo>
                    <a:pt x="106" y="277"/>
                  </a:lnTo>
                  <a:lnTo>
                    <a:pt x="107" y="261"/>
                  </a:lnTo>
                  <a:lnTo>
                    <a:pt x="109" y="247"/>
                  </a:lnTo>
                  <a:lnTo>
                    <a:pt x="113" y="234"/>
                  </a:lnTo>
                  <a:lnTo>
                    <a:pt x="118" y="222"/>
                  </a:lnTo>
                  <a:lnTo>
                    <a:pt x="124" y="211"/>
                  </a:lnTo>
                  <a:lnTo>
                    <a:pt x="130" y="201"/>
                  </a:lnTo>
                  <a:lnTo>
                    <a:pt x="137" y="192"/>
                  </a:lnTo>
                  <a:lnTo>
                    <a:pt x="144" y="183"/>
                  </a:lnTo>
                  <a:lnTo>
                    <a:pt x="160" y="168"/>
                  </a:lnTo>
                  <a:lnTo>
                    <a:pt x="173" y="152"/>
                  </a:lnTo>
                  <a:lnTo>
                    <a:pt x="180" y="145"/>
                  </a:lnTo>
                  <a:lnTo>
                    <a:pt x="185" y="138"/>
                  </a:lnTo>
                  <a:lnTo>
                    <a:pt x="189" y="130"/>
                  </a:lnTo>
                  <a:lnTo>
                    <a:pt x="193" y="123"/>
                  </a:lnTo>
                  <a:lnTo>
                    <a:pt x="198" y="111"/>
                  </a:lnTo>
                  <a:lnTo>
                    <a:pt x="205" y="97"/>
                  </a:lnTo>
                  <a:lnTo>
                    <a:pt x="213" y="83"/>
                  </a:lnTo>
                  <a:lnTo>
                    <a:pt x="220" y="71"/>
                  </a:lnTo>
                  <a:lnTo>
                    <a:pt x="228" y="60"/>
                  </a:lnTo>
                  <a:lnTo>
                    <a:pt x="237" y="51"/>
                  </a:lnTo>
                  <a:lnTo>
                    <a:pt x="241" y="47"/>
                  </a:lnTo>
                  <a:lnTo>
                    <a:pt x="244" y="44"/>
                  </a:lnTo>
                  <a:lnTo>
                    <a:pt x="249" y="43"/>
                  </a:lnTo>
                  <a:lnTo>
                    <a:pt x="252" y="42"/>
                  </a:lnTo>
                  <a:lnTo>
                    <a:pt x="272" y="36"/>
                  </a:lnTo>
                  <a:lnTo>
                    <a:pt x="291" y="32"/>
                  </a:lnTo>
                  <a:lnTo>
                    <a:pt x="309" y="29"/>
                  </a:lnTo>
                  <a:lnTo>
                    <a:pt x="327" y="25"/>
                  </a:lnTo>
                  <a:lnTo>
                    <a:pt x="344" y="22"/>
                  </a:lnTo>
                  <a:lnTo>
                    <a:pt x="361" y="16"/>
                  </a:lnTo>
                  <a:lnTo>
                    <a:pt x="368" y="13"/>
                  </a:lnTo>
                  <a:lnTo>
                    <a:pt x="376" y="9"/>
                  </a:lnTo>
                  <a:lnTo>
                    <a:pt x="384" y="5"/>
                  </a:lnTo>
                  <a:lnTo>
                    <a:pt x="392" y="0"/>
                  </a:lnTo>
                  <a:lnTo>
                    <a:pt x="401" y="5"/>
                  </a:lnTo>
                  <a:lnTo>
                    <a:pt x="409" y="11"/>
                  </a:lnTo>
                  <a:lnTo>
                    <a:pt x="416" y="18"/>
                  </a:lnTo>
                  <a:lnTo>
                    <a:pt x="423" y="25"/>
                  </a:lnTo>
                  <a:lnTo>
                    <a:pt x="431" y="32"/>
                  </a:lnTo>
                  <a:lnTo>
                    <a:pt x="441" y="37"/>
                  </a:lnTo>
                  <a:lnTo>
                    <a:pt x="445" y="39"/>
                  </a:lnTo>
                  <a:lnTo>
                    <a:pt x="452" y="41"/>
                  </a:lnTo>
                  <a:lnTo>
                    <a:pt x="457" y="42"/>
                  </a:lnTo>
                  <a:lnTo>
                    <a:pt x="465" y="42"/>
                  </a:lnTo>
                  <a:lnTo>
                    <a:pt x="487" y="72"/>
                  </a:lnTo>
                  <a:lnTo>
                    <a:pt x="508" y="102"/>
                  </a:lnTo>
                  <a:lnTo>
                    <a:pt x="513" y="111"/>
                  </a:lnTo>
                  <a:lnTo>
                    <a:pt x="518" y="120"/>
                  </a:lnTo>
                  <a:lnTo>
                    <a:pt x="521" y="129"/>
                  </a:lnTo>
                  <a:lnTo>
                    <a:pt x="524" y="139"/>
                  </a:lnTo>
                  <a:lnTo>
                    <a:pt x="528" y="150"/>
                  </a:lnTo>
                  <a:lnTo>
                    <a:pt x="530" y="163"/>
                  </a:lnTo>
                  <a:lnTo>
                    <a:pt x="531" y="176"/>
                  </a:lnTo>
                  <a:lnTo>
                    <a:pt x="531" y="19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246" name="Freeform 244"/>
            <p:cNvSpPr>
              <a:spLocks/>
            </p:cNvSpPr>
            <p:nvPr>
              <p:custDataLst>
                <p:tags r:id="rId172"/>
              </p:custDataLst>
            </p:nvPr>
          </p:nvSpPr>
          <p:spPr bwMode="auto">
            <a:xfrm>
              <a:off x="6482859" y="2510009"/>
              <a:ext cx="27131" cy="57351"/>
            </a:xfrm>
            <a:custGeom>
              <a:avLst/>
              <a:gdLst>
                <a:gd name="T0" fmla="*/ 0 w 60"/>
                <a:gd name="T1" fmla="*/ 37 h 51"/>
                <a:gd name="T2" fmla="*/ 6 w 60"/>
                <a:gd name="T3" fmla="*/ 30 h 51"/>
                <a:gd name="T4" fmla="*/ 15 w 60"/>
                <a:gd name="T5" fmla="*/ 19 h 51"/>
                <a:gd name="T6" fmla="*/ 20 w 60"/>
                <a:gd name="T7" fmla="*/ 13 h 51"/>
                <a:gd name="T8" fmla="*/ 27 w 60"/>
                <a:gd name="T9" fmla="*/ 8 h 51"/>
                <a:gd name="T10" fmla="*/ 33 w 60"/>
                <a:gd name="T11" fmla="*/ 4 h 51"/>
                <a:gd name="T12" fmla="*/ 40 w 60"/>
                <a:gd name="T13" fmla="*/ 0 h 51"/>
                <a:gd name="T14" fmla="*/ 50 w 60"/>
                <a:gd name="T15" fmla="*/ 7 h 51"/>
                <a:gd name="T16" fmla="*/ 60 w 60"/>
                <a:gd name="T17" fmla="*/ 13 h 51"/>
                <a:gd name="T18" fmla="*/ 59 w 60"/>
                <a:gd name="T19" fmla="*/ 20 h 51"/>
                <a:gd name="T20" fmla="*/ 56 w 60"/>
                <a:gd name="T21" fmla="*/ 29 h 51"/>
                <a:gd name="T22" fmla="*/ 54 w 60"/>
                <a:gd name="T23" fmla="*/ 34 h 51"/>
                <a:gd name="T24" fmla="*/ 52 w 60"/>
                <a:gd name="T25" fmla="*/ 38 h 51"/>
                <a:gd name="T26" fmla="*/ 49 w 60"/>
                <a:gd name="T27" fmla="*/ 42 h 51"/>
                <a:gd name="T28" fmla="*/ 45 w 60"/>
                <a:gd name="T29" fmla="*/ 45 h 51"/>
                <a:gd name="T30" fmla="*/ 41 w 60"/>
                <a:gd name="T31" fmla="*/ 48 h 51"/>
                <a:gd name="T32" fmla="*/ 37 w 60"/>
                <a:gd name="T33" fmla="*/ 50 h 51"/>
                <a:gd name="T34" fmla="*/ 31 w 60"/>
                <a:gd name="T35" fmla="*/ 51 h 51"/>
                <a:gd name="T36" fmla="*/ 27 w 60"/>
                <a:gd name="T37" fmla="*/ 51 h 51"/>
                <a:gd name="T38" fmla="*/ 20 w 60"/>
                <a:gd name="T39" fmla="*/ 50 h 51"/>
                <a:gd name="T40" fmla="*/ 15 w 60"/>
                <a:gd name="T41" fmla="*/ 47 h 51"/>
                <a:gd name="T42" fmla="*/ 7 w 60"/>
                <a:gd name="T43" fmla="*/ 43 h 51"/>
                <a:gd name="T44" fmla="*/ 0 w 60"/>
                <a:gd name="T4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0" h="51">
                  <a:moveTo>
                    <a:pt x="0" y="37"/>
                  </a:moveTo>
                  <a:lnTo>
                    <a:pt x="6" y="30"/>
                  </a:lnTo>
                  <a:lnTo>
                    <a:pt x="15" y="19"/>
                  </a:lnTo>
                  <a:lnTo>
                    <a:pt x="20" y="13"/>
                  </a:lnTo>
                  <a:lnTo>
                    <a:pt x="27" y="8"/>
                  </a:lnTo>
                  <a:lnTo>
                    <a:pt x="33" y="4"/>
                  </a:lnTo>
                  <a:lnTo>
                    <a:pt x="40" y="0"/>
                  </a:lnTo>
                  <a:lnTo>
                    <a:pt x="50" y="7"/>
                  </a:lnTo>
                  <a:lnTo>
                    <a:pt x="60" y="13"/>
                  </a:lnTo>
                  <a:lnTo>
                    <a:pt x="59" y="20"/>
                  </a:lnTo>
                  <a:lnTo>
                    <a:pt x="56" y="29"/>
                  </a:lnTo>
                  <a:lnTo>
                    <a:pt x="54" y="34"/>
                  </a:lnTo>
                  <a:lnTo>
                    <a:pt x="52" y="38"/>
                  </a:lnTo>
                  <a:lnTo>
                    <a:pt x="49" y="42"/>
                  </a:lnTo>
                  <a:lnTo>
                    <a:pt x="45" y="45"/>
                  </a:lnTo>
                  <a:lnTo>
                    <a:pt x="41" y="48"/>
                  </a:lnTo>
                  <a:lnTo>
                    <a:pt x="37" y="50"/>
                  </a:lnTo>
                  <a:lnTo>
                    <a:pt x="31" y="51"/>
                  </a:lnTo>
                  <a:lnTo>
                    <a:pt x="27" y="51"/>
                  </a:lnTo>
                  <a:lnTo>
                    <a:pt x="20" y="50"/>
                  </a:lnTo>
                  <a:lnTo>
                    <a:pt x="15" y="47"/>
                  </a:lnTo>
                  <a:lnTo>
                    <a:pt x="7" y="43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47" name="Freeform 245"/>
            <p:cNvSpPr>
              <a:spLocks/>
            </p:cNvSpPr>
            <p:nvPr>
              <p:custDataLst>
                <p:tags r:id="rId173"/>
              </p:custDataLst>
            </p:nvPr>
          </p:nvSpPr>
          <p:spPr bwMode="auto">
            <a:xfrm>
              <a:off x="5927471" y="2671942"/>
              <a:ext cx="27131" cy="57351"/>
            </a:xfrm>
            <a:custGeom>
              <a:avLst/>
              <a:gdLst>
                <a:gd name="T0" fmla="*/ 59 w 66"/>
                <a:gd name="T1" fmla="*/ 48 h 51"/>
                <a:gd name="T2" fmla="*/ 42 w 66"/>
                <a:gd name="T3" fmla="*/ 50 h 51"/>
                <a:gd name="T4" fmla="*/ 22 w 66"/>
                <a:gd name="T5" fmla="*/ 51 h 51"/>
                <a:gd name="T6" fmla="*/ 17 w 66"/>
                <a:gd name="T7" fmla="*/ 50 h 51"/>
                <a:gd name="T8" fmla="*/ 13 w 66"/>
                <a:gd name="T9" fmla="*/ 49 h 51"/>
                <a:gd name="T10" fmla="*/ 10 w 66"/>
                <a:gd name="T11" fmla="*/ 48 h 51"/>
                <a:gd name="T12" fmla="*/ 7 w 66"/>
                <a:gd name="T13" fmla="*/ 46 h 51"/>
                <a:gd name="T14" fmla="*/ 3 w 66"/>
                <a:gd name="T15" fmla="*/ 43 h 51"/>
                <a:gd name="T16" fmla="*/ 1 w 66"/>
                <a:gd name="T17" fmla="*/ 40 h 51"/>
                <a:gd name="T18" fmla="*/ 0 w 66"/>
                <a:gd name="T19" fmla="*/ 35 h 51"/>
                <a:gd name="T20" fmla="*/ 0 w 66"/>
                <a:gd name="T21" fmla="*/ 30 h 51"/>
                <a:gd name="T22" fmla="*/ 4 w 66"/>
                <a:gd name="T23" fmla="*/ 29 h 51"/>
                <a:gd name="T24" fmla="*/ 10 w 66"/>
                <a:gd name="T25" fmla="*/ 27 h 51"/>
                <a:gd name="T26" fmla="*/ 14 w 66"/>
                <a:gd name="T27" fmla="*/ 24 h 51"/>
                <a:gd name="T28" fmla="*/ 19 w 66"/>
                <a:gd name="T29" fmla="*/ 20 h 51"/>
                <a:gd name="T30" fmla="*/ 26 w 66"/>
                <a:gd name="T31" fmla="*/ 10 h 51"/>
                <a:gd name="T32" fmla="*/ 33 w 66"/>
                <a:gd name="T33" fmla="*/ 0 h 51"/>
                <a:gd name="T34" fmla="*/ 46 w 66"/>
                <a:gd name="T35" fmla="*/ 1 h 51"/>
                <a:gd name="T36" fmla="*/ 52 w 66"/>
                <a:gd name="T37" fmla="*/ 2 h 51"/>
                <a:gd name="T38" fmla="*/ 56 w 66"/>
                <a:gd name="T39" fmla="*/ 3 h 51"/>
                <a:gd name="T40" fmla="*/ 66 w 66"/>
                <a:gd name="T41" fmla="*/ 0 h 51"/>
                <a:gd name="T42" fmla="*/ 65 w 66"/>
                <a:gd name="T43" fmla="*/ 13 h 51"/>
                <a:gd name="T44" fmla="*/ 63 w 66"/>
                <a:gd name="T45" fmla="*/ 24 h 51"/>
                <a:gd name="T46" fmla="*/ 60 w 66"/>
                <a:gd name="T47" fmla="*/ 36 h 51"/>
                <a:gd name="T48" fmla="*/ 59 w 66"/>
                <a:gd name="T49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6" h="51">
                  <a:moveTo>
                    <a:pt x="59" y="48"/>
                  </a:moveTo>
                  <a:lnTo>
                    <a:pt x="42" y="50"/>
                  </a:lnTo>
                  <a:lnTo>
                    <a:pt x="22" y="51"/>
                  </a:lnTo>
                  <a:lnTo>
                    <a:pt x="17" y="50"/>
                  </a:lnTo>
                  <a:lnTo>
                    <a:pt x="13" y="49"/>
                  </a:lnTo>
                  <a:lnTo>
                    <a:pt x="10" y="48"/>
                  </a:lnTo>
                  <a:lnTo>
                    <a:pt x="7" y="46"/>
                  </a:lnTo>
                  <a:lnTo>
                    <a:pt x="3" y="43"/>
                  </a:lnTo>
                  <a:lnTo>
                    <a:pt x="1" y="40"/>
                  </a:lnTo>
                  <a:lnTo>
                    <a:pt x="0" y="35"/>
                  </a:lnTo>
                  <a:lnTo>
                    <a:pt x="0" y="30"/>
                  </a:lnTo>
                  <a:lnTo>
                    <a:pt x="4" y="29"/>
                  </a:lnTo>
                  <a:lnTo>
                    <a:pt x="10" y="27"/>
                  </a:lnTo>
                  <a:lnTo>
                    <a:pt x="14" y="24"/>
                  </a:lnTo>
                  <a:lnTo>
                    <a:pt x="19" y="20"/>
                  </a:lnTo>
                  <a:lnTo>
                    <a:pt x="26" y="10"/>
                  </a:lnTo>
                  <a:lnTo>
                    <a:pt x="33" y="0"/>
                  </a:lnTo>
                  <a:lnTo>
                    <a:pt x="46" y="1"/>
                  </a:lnTo>
                  <a:lnTo>
                    <a:pt x="52" y="2"/>
                  </a:lnTo>
                  <a:lnTo>
                    <a:pt x="56" y="3"/>
                  </a:lnTo>
                  <a:lnTo>
                    <a:pt x="66" y="0"/>
                  </a:lnTo>
                  <a:lnTo>
                    <a:pt x="65" y="13"/>
                  </a:lnTo>
                  <a:lnTo>
                    <a:pt x="63" y="24"/>
                  </a:lnTo>
                  <a:lnTo>
                    <a:pt x="60" y="36"/>
                  </a:lnTo>
                  <a:lnTo>
                    <a:pt x="59" y="4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789" name="Freeform 246"/>
            <p:cNvSpPr>
              <a:spLocks/>
            </p:cNvSpPr>
            <p:nvPr>
              <p:custDataLst>
                <p:tags r:id="rId174"/>
              </p:custDataLst>
            </p:nvPr>
          </p:nvSpPr>
          <p:spPr bwMode="auto">
            <a:xfrm>
              <a:off x="6879269" y="3200839"/>
              <a:ext cx="50800" cy="57150"/>
            </a:xfrm>
            <a:custGeom>
              <a:avLst/>
              <a:gdLst>
                <a:gd name="T0" fmla="*/ 0 w 113"/>
                <a:gd name="T1" fmla="*/ 2147483647 h 74"/>
                <a:gd name="T2" fmla="*/ 2147483647 w 113"/>
                <a:gd name="T3" fmla="*/ 2147483647 h 74"/>
                <a:gd name="T4" fmla="*/ 2147483647 w 113"/>
                <a:gd name="T5" fmla="*/ 2147483647 h 74"/>
                <a:gd name="T6" fmla="*/ 2147483647 w 113"/>
                <a:gd name="T7" fmla="*/ 2147483647 h 74"/>
                <a:gd name="T8" fmla="*/ 2147483647 w 113"/>
                <a:gd name="T9" fmla="*/ 2147483647 h 74"/>
                <a:gd name="T10" fmla="*/ 2147483647 w 113"/>
                <a:gd name="T11" fmla="*/ 2147483647 h 74"/>
                <a:gd name="T12" fmla="*/ 2147483647 w 113"/>
                <a:gd name="T13" fmla="*/ 2147483647 h 74"/>
                <a:gd name="T14" fmla="*/ 2147483647 w 113"/>
                <a:gd name="T15" fmla="*/ 2147483647 h 74"/>
                <a:gd name="T16" fmla="*/ 2147483647 w 113"/>
                <a:gd name="T17" fmla="*/ 2147483647 h 74"/>
                <a:gd name="T18" fmla="*/ 2147483647 w 113"/>
                <a:gd name="T19" fmla="*/ 2147483647 h 74"/>
                <a:gd name="T20" fmla="*/ 2147483647 w 113"/>
                <a:gd name="T21" fmla="*/ 2147483647 h 74"/>
                <a:gd name="T22" fmla="*/ 2147483647 w 113"/>
                <a:gd name="T23" fmla="*/ 2147483647 h 74"/>
                <a:gd name="T24" fmla="*/ 2147483647 w 113"/>
                <a:gd name="T25" fmla="*/ 2147483647 h 74"/>
                <a:gd name="T26" fmla="*/ 2147483647 w 113"/>
                <a:gd name="T27" fmla="*/ 2147483647 h 74"/>
                <a:gd name="T28" fmla="*/ 2147483647 w 113"/>
                <a:gd name="T29" fmla="*/ 2147483647 h 74"/>
                <a:gd name="T30" fmla="*/ 2147483647 w 113"/>
                <a:gd name="T31" fmla="*/ 2147483647 h 74"/>
                <a:gd name="T32" fmla="*/ 2147483647 w 113"/>
                <a:gd name="T33" fmla="*/ 2147483647 h 74"/>
                <a:gd name="T34" fmla="*/ 2147483647 w 113"/>
                <a:gd name="T35" fmla="*/ 2147483647 h 74"/>
                <a:gd name="T36" fmla="*/ 2147483647 w 113"/>
                <a:gd name="T37" fmla="*/ 2147483647 h 74"/>
                <a:gd name="T38" fmla="*/ 2147483647 w 113"/>
                <a:gd name="T39" fmla="*/ 0 h 74"/>
                <a:gd name="T40" fmla="*/ 2147483647 w 113"/>
                <a:gd name="T41" fmla="*/ 2147483647 h 74"/>
                <a:gd name="T42" fmla="*/ 2147483647 w 113"/>
                <a:gd name="T43" fmla="*/ 2147483647 h 74"/>
                <a:gd name="T44" fmla="*/ 2147483647 w 113"/>
                <a:gd name="T45" fmla="*/ 2147483647 h 74"/>
                <a:gd name="T46" fmla="*/ 2147483647 w 113"/>
                <a:gd name="T47" fmla="*/ 2147483647 h 74"/>
                <a:gd name="T48" fmla="*/ 2147483647 w 113"/>
                <a:gd name="T49" fmla="*/ 2147483647 h 74"/>
                <a:gd name="T50" fmla="*/ 0 w 113"/>
                <a:gd name="T51" fmla="*/ 2147483647 h 7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13" h="74">
                  <a:moveTo>
                    <a:pt x="0" y="44"/>
                  </a:moveTo>
                  <a:lnTo>
                    <a:pt x="20" y="74"/>
                  </a:lnTo>
                  <a:lnTo>
                    <a:pt x="37" y="69"/>
                  </a:lnTo>
                  <a:lnTo>
                    <a:pt x="51" y="65"/>
                  </a:lnTo>
                  <a:lnTo>
                    <a:pt x="64" y="59"/>
                  </a:lnTo>
                  <a:lnTo>
                    <a:pt x="74" y="53"/>
                  </a:lnTo>
                  <a:lnTo>
                    <a:pt x="78" y="49"/>
                  </a:lnTo>
                  <a:lnTo>
                    <a:pt x="83" y="45"/>
                  </a:lnTo>
                  <a:lnTo>
                    <a:pt x="86" y="41"/>
                  </a:lnTo>
                  <a:lnTo>
                    <a:pt x="88" y="37"/>
                  </a:lnTo>
                  <a:lnTo>
                    <a:pt x="90" y="32"/>
                  </a:lnTo>
                  <a:lnTo>
                    <a:pt x="91" y="26"/>
                  </a:lnTo>
                  <a:lnTo>
                    <a:pt x="93" y="19"/>
                  </a:lnTo>
                  <a:lnTo>
                    <a:pt x="94" y="13"/>
                  </a:lnTo>
                  <a:lnTo>
                    <a:pt x="99" y="12"/>
                  </a:lnTo>
                  <a:lnTo>
                    <a:pt x="106" y="9"/>
                  </a:lnTo>
                  <a:lnTo>
                    <a:pt x="108" y="7"/>
                  </a:lnTo>
                  <a:lnTo>
                    <a:pt x="111" y="5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98" y="4"/>
                  </a:lnTo>
                  <a:lnTo>
                    <a:pt x="82" y="8"/>
                  </a:lnTo>
                  <a:lnTo>
                    <a:pt x="65" y="13"/>
                  </a:lnTo>
                  <a:lnTo>
                    <a:pt x="49" y="19"/>
                  </a:lnTo>
                  <a:lnTo>
                    <a:pt x="20" y="33"/>
                  </a:lnTo>
                  <a:lnTo>
                    <a:pt x="0" y="4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0" name="Freeform 247"/>
            <p:cNvSpPr>
              <a:spLocks/>
            </p:cNvSpPr>
            <p:nvPr>
              <p:custDataLst>
                <p:tags r:id="rId175"/>
              </p:custDataLst>
            </p:nvPr>
          </p:nvSpPr>
          <p:spPr bwMode="auto">
            <a:xfrm>
              <a:off x="6487157" y="3993002"/>
              <a:ext cx="325437" cy="244475"/>
            </a:xfrm>
            <a:custGeom>
              <a:avLst/>
              <a:gdLst>
                <a:gd name="T0" fmla="*/ 2147483647 w 746"/>
                <a:gd name="T1" fmla="*/ 2147483647 h 469"/>
                <a:gd name="T2" fmla="*/ 2147483647 w 746"/>
                <a:gd name="T3" fmla="*/ 2147483647 h 469"/>
                <a:gd name="T4" fmla="*/ 2147483647 w 746"/>
                <a:gd name="T5" fmla="*/ 2147483647 h 469"/>
                <a:gd name="T6" fmla="*/ 2147483647 w 746"/>
                <a:gd name="T7" fmla="*/ 2147483647 h 469"/>
                <a:gd name="T8" fmla="*/ 0 w 746"/>
                <a:gd name="T9" fmla="*/ 2147483647 h 469"/>
                <a:gd name="T10" fmla="*/ 2147483647 w 746"/>
                <a:gd name="T11" fmla="*/ 2147483647 h 469"/>
                <a:gd name="T12" fmla="*/ 2147483647 w 746"/>
                <a:gd name="T13" fmla="*/ 2147483647 h 469"/>
                <a:gd name="T14" fmla="*/ 2147483647 w 746"/>
                <a:gd name="T15" fmla="*/ 2147483647 h 469"/>
                <a:gd name="T16" fmla="*/ 2147483647 w 746"/>
                <a:gd name="T17" fmla="*/ 2147483647 h 469"/>
                <a:gd name="T18" fmla="*/ 2147483647 w 746"/>
                <a:gd name="T19" fmla="*/ 2147483647 h 469"/>
                <a:gd name="T20" fmla="*/ 2147483647 w 746"/>
                <a:gd name="T21" fmla="*/ 2147483647 h 469"/>
                <a:gd name="T22" fmla="*/ 2147483647 w 746"/>
                <a:gd name="T23" fmla="*/ 2147483647 h 469"/>
                <a:gd name="T24" fmla="*/ 2147483647 w 746"/>
                <a:gd name="T25" fmla="*/ 2147483647 h 469"/>
                <a:gd name="T26" fmla="*/ 2147483647 w 746"/>
                <a:gd name="T27" fmla="*/ 2147483647 h 469"/>
                <a:gd name="T28" fmla="*/ 2147483647 w 746"/>
                <a:gd name="T29" fmla="*/ 2147483647 h 469"/>
                <a:gd name="T30" fmla="*/ 2147483647 w 746"/>
                <a:gd name="T31" fmla="*/ 2147483647 h 469"/>
                <a:gd name="T32" fmla="*/ 2147483647 w 746"/>
                <a:gd name="T33" fmla="*/ 2147483647 h 469"/>
                <a:gd name="T34" fmla="*/ 2147483647 w 746"/>
                <a:gd name="T35" fmla="*/ 2147483647 h 469"/>
                <a:gd name="T36" fmla="*/ 2147483647 w 746"/>
                <a:gd name="T37" fmla="*/ 2147483647 h 469"/>
                <a:gd name="T38" fmla="*/ 2147483647 w 746"/>
                <a:gd name="T39" fmla="*/ 0 h 469"/>
                <a:gd name="T40" fmla="*/ 2147483647 w 746"/>
                <a:gd name="T41" fmla="*/ 2147483647 h 469"/>
                <a:gd name="T42" fmla="*/ 2147483647 w 746"/>
                <a:gd name="T43" fmla="*/ 2147483647 h 469"/>
                <a:gd name="T44" fmla="*/ 2147483647 w 746"/>
                <a:gd name="T45" fmla="*/ 2147483647 h 469"/>
                <a:gd name="T46" fmla="*/ 2147483647 w 746"/>
                <a:gd name="T47" fmla="*/ 2147483647 h 469"/>
                <a:gd name="T48" fmla="*/ 2147483647 w 746"/>
                <a:gd name="T49" fmla="*/ 2147483647 h 469"/>
                <a:gd name="T50" fmla="*/ 2147483647 w 746"/>
                <a:gd name="T51" fmla="*/ 2147483647 h 469"/>
                <a:gd name="T52" fmla="*/ 2147483647 w 746"/>
                <a:gd name="T53" fmla="*/ 2147483647 h 469"/>
                <a:gd name="T54" fmla="*/ 2147483647 w 746"/>
                <a:gd name="T55" fmla="*/ 2147483647 h 469"/>
                <a:gd name="T56" fmla="*/ 2147483647 w 746"/>
                <a:gd name="T57" fmla="*/ 2147483647 h 469"/>
                <a:gd name="T58" fmla="*/ 2147483647 w 746"/>
                <a:gd name="T59" fmla="*/ 2147483647 h 469"/>
                <a:gd name="T60" fmla="*/ 2147483647 w 746"/>
                <a:gd name="T61" fmla="*/ 2147483647 h 469"/>
                <a:gd name="T62" fmla="*/ 2147483647 w 746"/>
                <a:gd name="T63" fmla="*/ 2147483647 h 469"/>
                <a:gd name="T64" fmla="*/ 2147483647 w 746"/>
                <a:gd name="T65" fmla="*/ 2147483647 h 469"/>
                <a:gd name="T66" fmla="*/ 2147483647 w 746"/>
                <a:gd name="T67" fmla="*/ 2147483647 h 469"/>
                <a:gd name="T68" fmla="*/ 2147483647 w 746"/>
                <a:gd name="T69" fmla="*/ 2147483647 h 469"/>
                <a:gd name="T70" fmla="*/ 2147483647 w 746"/>
                <a:gd name="T71" fmla="*/ 2147483647 h 469"/>
                <a:gd name="T72" fmla="*/ 2147483647 w 746"/>
                <a:gd name="T73" fmla="*/ 2147483647 h 469"/>
                <a:gd name="T74" fmla="*/ 2147483647 w 746"/>
                <a:gd name="T75" fmla="*/ 2147483647 h 469"/>
                <a:gd name="T76" fmla="*/ 2147483647 w 746"/>
                <a:gd name="T77" fmla="*/ 2147483647 h 469"/>
                <a:gd name="T78" fmla="*/ 2147483647 w 746"/>
                <a:gd name="T79" fmla="*/ 2147483647 h 469"/>
                <a:gd name="T80" fmla="*/ 2147483647 w 746"/>
                <a:gd name="T81" fmla="*/ 2147483647 h 469"/>
                <a:gd name="T82" fmla="*/ 2147483647 w 746"/>
                <a:gd name="T83" fmla="*/ 2147483647 h 469"/>
                <a:gd name="T84" fmla="*/ 2147483647 w 746"/>
                <a:gd name="T85" fmla="*/ 2147483647 h 469"/>
                <a:gd name="T86" fmla="*/ 2147483647 w 746"/>
                <a:gd name="T87" fmla="*/ 2147483647 h 469"/>
                <a:gd name="T88" fmla="*/ 2147483647 w 746"/>
                <a:gd name="T89" fmla="*/ 2147483647 h 469"/>
                <a:gd name="T90" fmla="*/ 2147483647 w 746"/>
                <a:gd name="T91" fmla="*/ 2147483647 h 469"/>
                <a:gd name="T92" fmla="*/ 2147483647 w 746"/>
                <a:gd name="T93" fmla="*/ 2147483647 h 469"/>
                <a:gd name="T94" fmla="*/ 2147483647 w 746"/>
                <a:gd name="T95" fmla="*/ 2147483647 h 46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746" h="469">
                  <a:moveTo>
                    <a:pt x="114" y="469"/>
                  </a:moveTo>
                  <a:lnTo>
                    <a:pt x="109" y="463"/>
                  </a:lnTo>
                  <a:lnTo>
                    <a:pt x="103" y="456"/>
                  </a:lnTo>
                  <a:lnTo>
                    <a:pt x="98" y="452"/>
                  </a:lnTo>
                  <a:lnTo>
                    <a:pt x="92" y="449"/>
                  </a:lnTo>
                  <a:lnTo>
                    <a:pt x="79" y="445"/>
                  </a:lnTo>
                  <a:lnTo>
                    <a:pt x="67" y="442"/>
                  </a:lnTo>
                  <a:lnTo>
                    <a:pt x="54" y="440"/>
                  </a:lnTo>
                  <a:lnTo>
                    <a:pt x="39" y="437"/>
                  </a:lnTo>
                  <a:lnTo>
                    <a:pt x="33" y="435"/>
                  </a:lnTo>
                  <a:lnTo>
                    <a:pt x="26" y="433"/>
                  </a:lnTo>
                  <a:lnTo>
                    <a:pt x="21" y="429"/>
                  </a:lnTo>
                  <a:lnTo>
                    <a:pt x="14" y="425"/>
                  </a:lnTo>
                  <a:lnTo>
                    <a:pt x="11" y="422"/>
                  </a:lnTo>
                  <a:lnTo>
                    <a:pt x="8" y="418"/>
                  </a:lnTo>
                  <a:lnTo>
                    <a:pt x="5" y="413"/>
                  </a:lnTo>
                  <a:lnTo>
                    <a:pt x="3" y="408"/>
                  </a:lnTo>
                  <a:lnTo>
                    <a:pt x="1" y="396"/>
                  </a:lnTo>
                  <a:lnTo>
                    <a:pt x="0" y="385"/>
                  </a:lnTo>
                  <a:lnTo>
                    <a:pt x="0" y="363"/>
                  </a:lnTo>
                  <a:lnTo>
                    <a:pt x="1" y="345"/>
                  </a:lnTo>
                  <a:lnTo>
                    <a:pt x="1" y="332"/>
                  </a:lnTo>
                  <a:lnTo>
                    <a:pt x="3" y="320"/>
                  </a:lnTo>
                  <a:lnTo>
                    <a:pt x="5" y="309"/>
                  </a:lnTo>
                  <a:lnTo>
                    <a:pt x="10" y="299"/>
                  </a:lnTo>
                  <a:lnTo>
                    <a:pt x="13" y="289"/>
                  </a:lnTo>
                  <a:lnTo>
                    <a:pt x="19" y="281"/>
                  </a:lnTo>
                  <a:lnTo>
                    <a:pt x="23" y="273"/>
                  </a:lnTo>
                  <a:lnTo>
                    <a:pt x="30" y="265"/>
                  </a:lnTo>
                  <a:lnTo>
                    <a:pt x="41" y="251"/>
                  </a:lnTo>
                  <a:lnTo>
                    <a:pt x="52" y="236"/>
                  </a:lnTo>
                  <a:lnTo>
                    <a:pt x="56" y="228"/>
                  </a:lnTo>
                  <a:lnTo>
                    <a:pt x="60" y="220"/>
                  </a:lnTo>
                  <a:lnTo>
                    <a:pt x="65" y="212"/>
                  </a:lnTo>
                  <a:lnTo>
                    <a:pt x="67" y="204"/>
                  </a:lnTo>
                  <a:lnTo>
                    <a:pt x="121" y="204"/>
                  </a:lnTo>
                  <a:lnTo>
                    <a:pt x="131" y="198"/>
                  </a:lnTo>
                  <a:lnTo>
                    <a:pt x="142" y="194"/>
                  </a:lnTo>
                  <a:lnTo>
                    <a:pt x="154" y="191"/>
                  </a:lnTo>
                  <a:lnTo>
                    <a:pt x="166" y="188"/>
                  </a:lnTo>
                  <a:lnTo>
                    <a:pt x="190" y="184"/>
                  </a:lnTo>
                  <a:lnTo>
                    <a:pt x="213" y="178"/>
                  </a:lnTo>
                  <a:lnTo>
                    <a:pt x="224" y="176"/>
                  </a:lnTo>
                  <a:lnTo>
                    <a:pt x="235" y="173"/>
                  </a:lnTo>
                  <a:lnTo>
                    <a:pt x="244" y="170"/>
                  </a:lnTo>
                  <a:lnTo>
                    <a:pt x="251" y="165"/>
                  </a:lnTo>
                  <a:lnTo>
                    <a:pt x="258" y="160"/>
                  </a:lnTo>
                  <a:lnTo>
                    <a:pt x="262" y="153"/>
                  </a:lnTo>
                  <a:lnTo>
                    <a:pt x="265" y="150"/>
                  </a:lnTo>
                  <a:lnTo>
                    <a:pt x="266" y="145"/>
                  </a:lnTo>
                  <a:lnTo>
                    <a:pt x="267" y="141"/>
                  </a:lnTo>
                  <a:lnTo>
                    <a:pt x="267" y="136"/>
                  </a:lnTo>
                  <a:lnTo>
                    <a:pt x="267" y="126"/>
                  </a:lnTo>
                  <a:lnTo>
                    <a:pt x="267" y="117"/>
                  </a:lnTo>
                  <a:lnTo>
                    <a:pt x="280" y="119"/>
                  </a:lnTo>
                  <a:lnTo>
                    <a:pt x="292" y="120"/>
                  </a:lnTo>
                  <a:lnTo>
                    <a:pt x="303" y="120"/>
                  </a:lnTo>
                  <a:lnTo>
                    <a:pt x="313" y="119"/>
                  </a:lnTo>
                  <a:lnTo>
                    <a:pt x="323" y="117"/>
                  </a:lnTo>
                  <a:lnTo>
                    <a:pt x="332" y="115"/>
                  </a:lnTo>
                  <a:lnTo>
                    <a:pt x="339" y="112"/>
                  </a:lnTo>
                  <a:lnTo>
                    <a:pt x="347" y="109"/>
                  </a:lnTo>
                  <a:lnTo>
                    <a:pt x="354" y="105"/>
                  </a:lnTo>
                  <a:lnTo>
                    <a:pt x="359" y="101"/>
                  </a:lnTo>
                  <a:lnTo>
                    <a:pt x="366" y="96"/>
                  </a:lnTo>
                  <a:lnTo>
                    <a:pt x="370" y="91"/>
                  </a:lnTo>
                  <a:lnTo>
                    <a:pt x="380" y="80"/>
                  </a:lnTo>
                  <a:lnTo>
                    <a:pt x="389" y="67"/>
                  </a:lnTo>
                  <a:lnTo>
                    <a:pt x="397" y="56"/>
                  </a:lnTo>
                  <a:lnTo>
                    <a:pt x="405" y="44"/>
                  </a:lnTo>
                  <a:lnTo>
                    <a:pt x="414" y="32"/>
                  </a:lnTo>
                  <a:lnTo>
                    <a:pt x="425" y="22"/>
                  </a:lnTo>
                  <a:lnTo>
                    <a:pt x="430" y="18"/>
                  </a:lnTo>
                  <a:lnTo>
                    <a:pt x="436" y="13"/>
                  </a:lnTo>
                  <a:lnTo>
                    <a:pt x="442" y="9"/>
                  </a:lnTo>
                  <a:lnTo>
                    <a:pt x="450" y="6"/>
                  </a:lnTo>
                  <a:lnTo>
                    <a:pt x="458" y="3"/>
                  </a:lnTo>
                  <a:lnTo>
                    <a:pt x="467" y="1"/>
                  </a:lnTo>
                  <a:lnTo>
                    <a:pt x="475" y="0"/>
                  </a:lnTo>
                  <a:lnTo>
                    <a:pt x="486" y="0"/>
                  </a:lnTo>
                  <a:lnTo>
                    <a:pt x="486" y="6"/>
                  </a:lnTo>
                  <a:lnTo>
                    <a:pt x="492" y="14"/>
                  </a:lnTo>
                  <a:lnTo>
                    <a:pt x="498" y="22"/>
                  </a:lnTo>
                  <a:lnTo>
                    <a:pt x="507" y="29"/>
                  </a:lnTo>
                  <a:lnTo>
                    <a:pt x="515" y="35"/>
                  </a:lnTo>
                  <a:lnTo>
                    <a:pt x="523" y="41"/>
                  </a:lnTo>
                  <a:lnTo>
                    <a:pt x="530" y="49"/>
                  </a:lnTo>
                  <a:lnTo>
                    <a:pt x="532" y="53"/>
                  </a:lnTo>
                  <a:lnTo>
                    <a:pt x="536" y="57"/>
                  </a:lnTo>
                  <a:lnTo>
                    <a:pt x="538" y="62"/>
                  </a:lnTo>
                  <a:lnTo>
                    <a:pt x="539" y="67"/>
                  </a:lnTo>
                  <a:lnTo>
                    <a:pt x="553" y="107"/>
                  </a:lnTo>
                  <a:lnTo>
                    <a:pt x="564" y="141"/>
                  </a:lnTo>
                  <a:lnTo>
                    <a:pt x="569" y="148"/>
                  </a:lnTo>
                  <a:lnTo>
                    <a:pt x="573" y="154"/>
                  </a:lnTo>
                  <a:lnTo>
                    <a:pt x="579" y="159"/>
                  </a:lnTo>
                  <a:lnTo>
                    <a:pt x="585" y="164"/>
                  </a:lnTo>
                  <a:lnTo>
                    <a:pt x="593" y="168"/>
                  </a:lnTo>
                  <a:lnTo>
                    <a:pt x="602" y="170"/>
                  </a:lnTo>
                  <a:lnTo>
                    <a:pt x="613" y="172"/>
                  </a:lnTo>
                  <a:lnTo>
                    <a:pt x="626" y="172"/>
                  </a:lnTo>
                  <a:lnTo>
                    <a:pt x="626" y="179"/>
                  </a:lnTo>
                  <a:lnTo>
                    <a:pt x="627" y="187"/>
                  </a:lnTo>
                  <a:lnTo>
                    <a:pt x="628" y="193"/>
                  </a:lnTo>
                  <a:lnTo>
                    <a:pt x="630" y="199"/>
                  </a:lnTo>
                  <a:lnTo>
                    <a:pt x="636" y="211"/>
                  </a:lnTo>
                  <a:lnTo>
                    <a:pt x="642" y="222"/>
                  </a:lnTo>
                  <a:lnTo>
                    <a:pt x="650" y="233"/>
                  </a:lnTo>
                  <a:lnTo>
                    <a:pt x="660" y="244"/>
                  </a:lnTo>
                  <a:lnTo>
                    <a:pt x="670" y="254"/>
                  </a:lnTo>
                  <a:lnTo>
                    <a:pt x="681" y="263"/>
                  </a:lnTo>
                  <a:lnTo>
                    <a:pt x="702" y="279"/>
                  </a:lnTo>
                  <a:lnTo>
                    <a:pt x="720" y="294"/>
                  </a:lnTo>
                  <a:lnTo>
                    <a:pt x="729" y="302"/>
                  </a:lnTo>
                  <a:lnTo>
                    <a:pt x="736" y="309"/>
                  </a:lnTo>
                  <a:lnTo>
                    <a:pt x="741" y="315"/>
                  </a:lnTo>
                  <a:lnTo>
                    <a:pt x="746" y="321"/>
                  </a:lnTo>
                  <a:lnTo>
                    <a:pt x="738" y="345"/>
                  </a:lnTo>
                  <a:lnTo>
                    <a:pt x="728" y="345"/>
                  </a:lnTo>
                  <a:lnTo>
                    <a:pt x="711" y="345"/>
                  </a:lnTo>
                  <a:lnTo>
                    <a:pt x="706" y="345"/>
                  </a:lnTo>
                  <a:lnTo>
                    <a:pt x="700" y="344"/>
                  </a:lnTo>
                  <a:lnTo>
                    <a:pt x="695" y="343"/>
                  </a:lnTo>
                  <a:lnTo>
                    <a:pt x="691" y="342"/>
                  </a:lnTo>
                  <a:lnTo>
                    <a:pt x="685" y="339"/>
                  </a:lnTo>
                  <a:lnTo>
                    <a:pt x="682" y="335"/>
                  </a:lnTo>
                  <a:lnTo>
                    <a:pt x="680" y="329"/>
                  </a:lnTo>
                  <a:lnTo>
                    <a:pt x="679" y="321"/>
                  </a:lnTo>
                  <a:lnTo>
                    <a:pt x="666" y="321"/>
                  </a:lnTo>
                  <a:lnTo>
                    <a:pt x="659" y="321"/>
                  </a:lnTo>
                  <a:lnTo>
                    <a:pt x="654" y="325"/>
                  </a:lnTo>
                  <a:lnTo>
                    <a:pt x="651" y="330"/>
                  </a:lnTo>
                  <a:lnTo>
                    <a:pt x="648" y="334"/>
                  </a:lnTo>
                  <a:lnTo>
                    <a:pt x="647" y="338"/>
                  </a:lnTo>
                  <a:lnTo>
                    <a:pt x="642" y="345"/>
                  </a:lnTo>
                  <a:lnTo>
                    <a:pt x="639" y="352"/>
                  </a:lnTo>
                  <a:lnTo>
                    <a:pt x="630" y="354"/>
                  </a:lnTo>
                  <a:lnTo>
                    <a:pt x="621" y="355"/>
                  </a:lnTo>
                  <a:lnTo>
                    <a:pt x="613" y="355"/>
                  </a:lnTo>
                  <a:lnTo>
                    <a:pt x="604" y="356"/>
                  </a:lnTo>
                  <a:lnTo>
                    <a:pt x="586" y="355"/>
                  </a:lnTo>
                  <a:lnTo>
                    <a:pt x="570" y="355"/>
                  </a:lnTo>
                  <a:lnTo>
                    <a:pt x="561" y="355"/>
                  </a:lnTo>
                  <a:lnTo>
                    <a:pt x="553" y="356"/>
                  </a:lnTo>
                  <a:lnTo>
                    <a:pt x="545" y="357"/>
                  </a:lnTo>
                  <a:lnTo>
                    <a:pt x="537" y="359"/>
                  </a:lnTo>
                  <a:lnTo>
                    <a:pt x="529" y="361"/>
                  </a:lnTo>
                  <a:lnTo>
                    <a:pt x="522" y="365"/>
                  </a:lnTo>
                  <a:lnTo>
                    <a:pt x="514" y="370"/>
                  </a:lnTo>
                  <a:lnTo>
                    <a:pt x="506" y="376"/>
                  </a:lnTo>
                  <a:lnTo>
                    <a:pt x="501" y="381"/>
                  </a:lnTo>
                  <a:lnTo>
                    <a:pt x="496" y="387"/>
                  </a:lnTo>
                  <a:lnTo>
                    <a:pt x="493" y="390"/>
                  </a:lnTo>
                  <a:lnTo>
                    <a:pt x="491" y="392"/>
                  </a:lnTo>
                  <a:lnTo>
                    <a:pt x="489" y="394"/>
                  </a:lnTo>
                  <a:lnTo>
                    <a:pt x="486" y="394"/>
                  </a:lnTo>
                  <a:lnTo>
                    <a:pt x="466" y="395"/>
                  </a:lnTo>
                  <a:lnTo>
                    <a:pt x="451" y="397"/>
                  </a:lnTo>
                  <a:lnTo>
                    <a:pt x="439" y="399"/>
                  </a:lnTo>
                  <a:lnTo>
                    <a:pt x="426" y="400"/>
                  </a:lnTo>
                  <a:lnTo>
                    <a:pt x="417" y="400"/>
                  </a:lnTo>
                  <a:lnTo>
                    <a:pt x="410" y="398"/>
                  </a:lnTo>
                  <a:lnTo>
                    <a:pt x="403" y="395"/>
                  </a:lnTo>
                  <a:lnTo>
                    <a:pt x="396" y="392"/>
                  </a:lnTo>
                  <a:lnTo>
                    <a:pt x="384" y="383"/>
                  </a:lnTo>
                  <a:lnTo>
                    <a:pt x="373" y="373"/>
                  </a:lnTo>
                  <a:lnTo>
                    <a:pt x="361" y="363"/>
                  </a:lnTo>
                  <a:lnTo>
                    <a:pt x="349" y="354"/>
                  </a:lnTo>
                  <a:lnTo>
                    <a:pt x="343" y="351"/>
                  </a:lnTo>
                  <a:lnTo>
                    <a:pt x="336" y="347"/>
                  </a:lnTo>
                  <a:lnTo>
                    <a:pt x="328" y="345"/>
                  </a:lnTo>
                  <a:lnTo>
                    <a:pt x="319" y="345"/>
                  </a:lnTo>
                  <a:lnTo>
                    <a:pt x="313" y="345"/>
                  </a:lnTo>
                  <a:lnTo>
                    <a:pt x="305" y="347"/>
                  </a:lnTo>
                  <a:lnTo>
                    <a:pt x="299" y="351"/>
                  </a:lnTo>
                  <a:lnTo>
                    <a:pt x="291" y="355"/>
                  </a:lnTo>
                  <a:lnTo>
                    <a:pt x="284" y="360"/>
                  </a:lnTo>
                  <a:lnTo>
                    <a:pt x="278" y="365"/>
                  </a:lnTo>
                  <a:lnTo>
                    <a:pt x="272" y="371"/>
                  </a:lnTo>
                  <a:lnTo>
                    <a:pt x="266" y="377"/>
                  </a:lnTo>
                  <a:lnTo>
                    <a:pt x="255" y="392"/>
                  </a:lnTo>
                  <a:lnTo>
                    <a:pt x="244" y="408"/>
                  </a:lnTo>
                  <a:lnTo>
                    <a:pt x="235" y="423"/>
                  </a:lnTo>
                  <a:lnTo>
                    <a:pt x="227" y="437"/>
                  </a:lnTo>
                  <a:lnTo>
                    <a:pt x="197" y="437"/>
                  </a:lnTo>
                  <a:lnTo>
                    <a:pt x="176" y="437"/>
                  </a:lnTo>
                  <a:lnTo>
                    <a:pt x="160" y="437"/>
                  </a:lnTo>
                  <a:lnTo>
                    <a:pt x="150" y="439"/>
                  </a:lnTo>
                  <a:lnTo>
                    <a:pt x="146" y="440"/>
                  </a:lnTo>
                  <a:lnTo>
                    <a:pt x="143" y="442"/>
                  </a:lnTo>
                  <a:lnTo>
                    <a:pt x="139" y="445"/>
                  </a:lnTo>
                  <a:lnTo>
                    <a:pt x="135" y="448"/>
                  </a:lnTo>
                  <a:lnTo>
                    <a:pt x="126" y="456"/>
                  </a:lnTo>
                  <a:lnTo>
                    <a:pt x="114" y="46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1" name="Freeform 248"/>
            <p:cNvSpPr>
              <a:spLocks/>
            </p:cNvSpPr>
            <p:nvPr>
              <p:custDataLst>
                <p:tags r:id="rId176"/>
              </p:custDataLst>
            </p:nvPr>
          </p:nvSpPr>
          <p:spPr bwMode="auto">
            <a:xfrm>
              <a:off x="6423657" y="4161277"/>
              <a:ext cx="500062" cy="552450"/>
            </a:xfrm>
            <a:custGeom>
              <a:avLst/>
              <a:gdLst>
                <a:gd name="T0" fmla="*/ 2147483647 w 1145"/>
                <a:gd name="T1" fmla="*/ 2147483647 h 1053"/>
                <a:gd name="T2" fmla="*/ 2147483647 w 1145"/>
                <a:gd name="T3" fmla="*/ 2147483647 h 1053"/>
                <a:gd name="T4" fmla="*/ 2147483647 w 1145"/>
                <a:gd name="T5" fmla="*/ 2147483647 h 1053"/>
                <a:gd name="T6" fmla="*/ 2147483647 w 1145"/>
                <a:gd name="T7" fmla="*/ 2147483647 h 1053"/>
                <a:gd name="T8" fmla="*/ 2147483647 w 1145"/>
                <a:gd name="T9" fmla="*/ 2147483647 h 1053"/>
                <a:gd name="T10" fmla="*/ 2147483647 w 1145"/>
                <a:gd name="T11" fmla="*/ 2147483647 h 1053"/>
                <a:gd name="T12" fmla="*/ 2147483647 w 1145"/>
                <a:gd name="T13" fmla="*/ 2147483647 h 1053"/>
                <a:gd name="T14" fmla="*/ 2147483647 w 1145"/>
                <a:gd name="T15" fmla="*/ 2147483647 h 1053"/>
                <a:gd name="T16" fmla="*/ 2147483647 w 1145"/>
                <a:gd name="T17" fmla="*/ 2147483647 h 1053"/>
                <a:gd name="T18" fmla="*/ 2147483647 w 1145"/>
                <a:gd name="T19" fmla="*/ 2147483647 h 1053"/>
                <a:gd name="T20" fmla="*/ 2147483647 w 1145"/>
                <a:gd name="T21" fmla="*/ 2147483647 h 1053"/>
                <a:gd name="T22" fmla="*/ 2147483647 w 1145"/>
                <a:gd name="T23" fmla="*/ 2147483647 h 1053"/>
                <a:gd name="T24" fmla="*/ 2147483647 w 1145"/>
                <a:gd name="T25" fmla="*/ 2147483647 h 1053"/>
                <a:gd name="T26" fmla="*/ 2147483647 w 1145"/>
                <a:gd name="T27" fmla="*/ 2147483647 h 1053"/>
                <a:gd name="T28" fmla="*/ 2147483647 w 1145"/>
                <a:gd name="T29" fmla="*/ 2147483647 h 1053"/>
                <a:gd name="T30" fmla="*/ 2147483647 w 1145"/>
                <a:gd name="T31" fmla="*/ 2147483647 h 1053"/>
                <a:gd name="T32" fmla="*/ 2147483647 w 1145"/>
                <a:gd name="T33" fmla="*/ 2147483647 h 1053"/>
                <a:gd name="T34" fmla="*/ 2147483647 w 1145"/>
                <a:gd name="T35" fmla="*/ 2147483647 h 1053"/>
                <a:gd name="T36" fmla="*/ 2147483647 w 1145"/>
                <a:gd name="T37" fmla="*/ 2147483647 h 1053"/>
                <a:gd name="T38" fmla="*/ 2147483647 w 1145"/>
                <a:gd name="T39" fmla="*/ 2147483647 h 1053"/>
                <a:gd name="T40" fmla="*/ 2147483647 w 1145"/>
                <a:gd name="T41" fmla="*/ 2147483647 h 1053"/>
                <a:gd name="T42" fmla="*/ 2147483647 w 1145"/>
                <a:gd name="T43" fmla="*/ 2147483647 h 1053"/>
                <a:gd name="T44" fmla="*/ 2147483647 w 1145"/>
                <a:gd name="T45" fmla="*/ 2147483647 h 1053"/>
                <a:gd name="T46" fmla="*/ 2147483647 w 1145"/>
                <a:gd name="T47" fmla="*/ 2147483647 h 1053"/>
                <a:gd name="T48" fmla="*/ 2147483647 w 1145"/>
                <a:gd name="T49" fmla="*/ 2147483647 h 1053"/>
                <a:gd name="T50" fmla="*/ 2147483647 w 1145"/>
                <a:gd name="T51" fmla="*/ 2147483647 h 1053"/>
                <a:gd name="T52" fmla="*/ 2147483647 w 1145"/>
                <a:gd name="T53" fmla="*/ 2147483647 h 1053"/>
                <a:gd name="T54" fmla="*/ 2147483647 w 1145"/>
                <a:gd name="T55" fmla="*/ 2147483647 h 1053"/>
                <a:gd name="T56" fmla="*/ 2147483647 w 1145"/>
                <a:gd name="T57" fmla="*/ 2147483647 h 1053"/>
                <a:gd name="T58" fmla="*/ 2147483647 w 1145"/>
                <a:gd name="T59" fmla="*/ 2147483647 h 1053"/>
                <a:gd name="T60" fmla="*/ 2147483647 w 1145"/>
                <a:gd name="T61" fmla="*/ 2147483647 h 1053"/>
                <a:gd name="T62" fmla="*/ 2147483647 w 1145"/>
                <a:gd name="T63" fmla="*/ 2147483647 h 1053"/>
                <a:gd name="T64" fmla="*/ 2147483647 w 1145"/>
                <a:gd name="T65" fmla="*/ 2147483647 h 1053"/>
                <a:gd name="T66" fmla="*/ 2147483647 w 1145"/>
                <a:gd name="T67" fmla="*/ 2147483647 h 1053"/>
                <a:gd name="T68" fmla="*/ 2147483647 w 1145"/>
                <a:gd name="T69" fmla="*/ 2147483647 h 1053"/>
                <a:gd name="T70" fmla="*/ 2147483647 w 1145"/>
                <a:gd name="T71" fmla="*/ 2147483647 h 1053"/>
                <a:gd name="T72" fmla="*/ 2147483647 w 1145"/>
                <a:gd name="T73" fmla="*/ 2147483647 h 1053"/>
                <a:gd name="T74" fmla="*/ 2147483647 w 1145"/>
                <a:gd name="T75" fmla="*/ 2147483647 h 1053"/>
                <a:gd name="T76" fmla="*/ 2147483647 w 1145"/>
                <a:gd name="T77" fmla="*/ 2147483647 h 1053"/>
                <a:gd name="T78" fmla="*/ 2147483647 w 1145"/>
                <a:gd name="T79" fmla="*/ 2147483647 h 1053"/>
                <a:gd name="T80" fmla="*/ 2147483647 w 1145"/>
                <a:gd name="T81" fmla="*/ 2147483647 h 1053"/>
                <a:gd name="T82" fmla="*/ 2147483647 w 1145"/>
                <a:gd name="T83" fmla="*/ 2147483647 h 1053"/>
                <a:gd name="T84" fmla="*/ 2147483647 w 1145"/>
                <a:gd name="T85" fmla="*/ 2147483647 h 1053"/>
                <a:gd name="T86" fmla="*/ 2147483647 w 1145"/>
                <a:gd name="T87" fmla="*/ 2147483647 h 1053"/>
                <a:gd name="T88" fmla="*/ 2147483647 w 1145"/>
                <a:gd name="T89" fmla="*/ 2147483647 h 1053"/>
                <a:gd name="T90" fmla="*/ 2147483647 w 1145"/>
                <a:gd name="T91" fmla="*/ 2147483647 h 1053"/>
                <a:gd name="T92" fmla="*/ 2147483647 w 1145"/>
                <a:gd name="T93" fmla="*/ 2147483647 h 1053"/>
                <a:gd name="T94" fmla="*/ 2147483647 w 1145"/>
                <a:gd name="T95" fmla="*/ 2147483647 h 1053"/>
                <a:gd name="T96" fmla="*/ 2147483647 w 1145"/>
                <a:gd name="T97" fmla="*/ 2147483647 h 1053"/>
                <a:gd name="T98" fmla="*/ 2147483647 w 1145"/>
                <a:gd name="T99" fmla="*/ 2147483647 h 1053"/>
                <a:gd name="T100" fmla="*/ 2147483647 w 1145"/>
                <a:gd name="T101" fmla="*/ 2147483647 h 1053"/>
                <a:gd name="T102" fmla="*/ 2147483647 w 1145"/>
                <a:gd name="T103" fmla="*/ 2147483647 h 1053"/>
                <a:gd name="T104" fmla="*/ 2147483647 w 1145"/>
                <a:gd name="T105" fmla="*/ 2147483647 h 1053"/>
                <a:gd name="T106" fmla="*/ 2147483647 w 1145"/>
                <a:gd name="T107" fmla="*/ 2147483647 h 1053"/>
                <a:gd name="T108" fmla="*/ 2147483647 w 1145"/>
                <a:gd name="T109" fmla="*/ 2147483647 h 1053"/>
                <a:gd name="T110" fmla="*/ 2147483647 w 1145"/>
                <a:gd name="T111" fmla="*/ 2147483647 h 1053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145" h="1053">
                  <a:moveTo>
                    <a:pt x="894" y="24"/>
                  </a:moveTo>
                  <a:lnTo>
                    <a:pt x="894" y="32"/>
                  </a:lnTo>
                  <a:lnTo>
                    <a:pt x="895" y="38"/>
                  </a:lnTo>
                  <a:lnTo>
                    <a:pt x="896" y="44"/>
                  </a:lnTo>
                  <a:lnTo>
                    <a:pt x="897" y="49"/>
                  </a:lnTo>
                  <a:lnTo>
                    <a:pt x="900" y="53"/>
                  </a:lnTo>
                  <a:lnTo>
                    <a:pt x="902" y="57"/>
                  </a:lnTo>
                  <a:lnTo>
                    <a:pt x="906" y="61"/>
                  </a:lnTo>
                  <a:lnTo>
                    <a:pt x="909" y="64"/>
                  </a:lnTo>
                  <a:lnTo>
                    <a:pt x="918" y="68"/>
                  </a:lnTo>
                  <a:lnTo>
                    <a:pt x="926" y="71"/>
                  </a:lnTo>
                  <a:lnTo>
                    <a:pt x="936" y="72"/>
                  </a:lnTo>
                  <a:lnTo>
                    <a:pt x="947" y="72"/>
                  </a:lnTo>
                  <a:lnTo>
                    <a:pt x="993" y="66"/>
                  </a:lnTo>
                  <a:lnTo>
                    <a:pt x="1033" y="61"/>
                  </a:lnTo>
                  <a:lnTo>
                    <a:pt x="1038" y="61"/>
                  </a:lnTo>
                  <a:lnTo>
                    <a:pt x="1045" y="63"/>
                  </a:lnTo>
                  <a:lnTo>
                    <a:pt x="1051" y="64"/>
                  </a:lnTo>
                  <a:lnTo>
                    <a:pt x="1057" y="67"/>
                  </a:lnTo>
                  <a:lnTo>
                    <a:pt x="1069" y="73"/>
                  </a:lnTo>
                  <a:lnTo>
                    <a:pt x="1080" y="81"/>
                  </a:lnTo>
                  <a:lnTo>
                    <a:pt x="1099" y="98"/>
                  </a:lnTo>
                  <a:lnTo>
                    <a:pt x="1112" y="110"/>
                  </a:lnTo>
                  <a:lnTo>
                    <a:pt x="1113" y="124"/>
                  </a:lnTo>
                  <a:lnTo>
                    <a:pt x="1114" y="138"/>
                  </a:lnTo>
                  <a:lnTo>
                    <a:pt x="1117" y="152"/>
                  </a:lnTo>
                  <a:lnTo>
                    <a:pt x="1122" y="164"/>
                  </a:lnTo>
                  <a:lnTo>
                    <a:pt x="1126" y="175"/>
                  </a:lnTo>
                  <a:lnTo>
                    <a:pt x="1132" y="183"/>
                  </a:lnTo>
                  <a:lnTo>
                    <a:pt x="1135" y="186"/>
                  </a:lnTo>
                  <a:lnTo>
                    <a:pt x="1138" y="188"/>
                  </a:lnTo>
                  <a:lnTo>
                    <a:pt x="1142" y="190"/>
                  </a:lnTo>
                  <a:lnTo>
                    <a:pt x="1145" y="190"/>
                  </a:lnTo>
                  <a:lnTo>
                    <a:pt x="1139" y="202"/>
                  </a:lnTo>
                  <a:lnTo>
                    <a:pt x="1133" y="211"/>
                  </a:lnTo>
                  <a:lnTo>
                    <a:pt x="1125" y="220"/>
                  </a:lnTo>
                  <a:lnTo>
                    <a:pt x="1117" y="227"/>
                  </a:lnTo>
                  <a:lnTo>
                    <a:pt x="1100" y="240"/>
                  </a:lnTo>
                  <a:lnTo>
                    <a:pt x="1082" y="253"/>
                  </a:lnTo>
                  <a:lnTo>
                    <a:pt x="1074" y="259"/>
                  </a:lnTo>
                  <a:lnTo>
                    <a:pt x="1066" y="266"/>
                  </a:lnTo>
                  <a:lnTo>
                    <a:pt x="1058" y="272"/>
                  </a:lnTo>
                  <a:lnTo>
                    <a:pt x="1052" y="280"/>
                  </a:lnTo>
                  <a:lnTo>
                    <a:pt x="1046" y="288"/>
                  </a:lnTo>
                  <a:lnTo>
                    <a:pt x="1043" y="297"/>
                  </a:lnTo>
                  <a:lnTo>
                    <a:pt x="1040" y="308"/>
                  </a:lnTo>
                  <a:lnTo>
                    <a:pt x="1040" y="320"/>
                  </a:lnTo>
                  <a:lnTo>
                    <a:pt x="1041" y="339"/>
                  </a:lnTo>
                  <a:lnTo>
                    <a:pt x="1045" y="360"/>
                  </a:lnTo>
                  <a:lnTo>
                    <a:pt x="1046" y="371"/>
                  </a:lnTo>
                  <a:lnTo>
                    <a:pt x="1047" y="381"/>
                  </a:lnTo>
                  <a:lnTo>
                    <a:pt x="1047" y="391"/>
                  </a:lnTo>
                  <a:lnTo>
                    <a:pt x="1046" y="400"/>
                  </a:lnTo>
                  <a:lnTo>
                    <a:pt x="1034" y="410"/>
                  </a:lnTo>
                  <a:lnTo>
                    <a:pt x="1013" y="430"/>
                  </a:lnTo>
                  <a:lnTo>
                    <a:pt x="1003" y="440"/>
                  </a:lnTo>
                  <a:lnTo>
                    <a:pt x="995" y="450"/>
                  </a:lnTo>
                  <a:lnTo>
                    <a:pt x="991" y="455"/>
                  </a:lnTo>
                  <a:lnTo>
                    <a:pt x="988" y="460"/>
                  </a:lnTo>
                  <a:lnTo>
                    <a:pt x="987" y="464"/>
                  </a:lnTo>
                  <a:lnTo>
                    <a:pt x="986" y="467"/>
                  </a:lnTo>
                  <a:lnTo>
                    <a:pt x="987" y="470"/>
                  </a:lnTo>
                  <a:lnTo>
                    <a:pt x="990" y="476"/>
                  </a:lnTo>
                  <a:lnTo>
                    <a:pt x="995" y="481"/>
                  </a:lnTo>
                  <a:lnTo>
                    <a:pt x="999" y="486"/>
                  </a:lnTo>
                  <a:lnTo>
                    <a:pt x="1009" y="495"/>
                  </a:lnTo>
                  <a:lnTo>
                    <a:pt x="1012" y="499"/>
                  </a:lnTo>
                  <a:lnTo>
                    <a:pt x="1016" y="524"/>
                  </a:lnTo>
                  <a:lnTo>
                    <a:pt x="1019" y="550"/>
                  </a:lnTo>
                  <a:lnTo>
                    <a:pt x="1019" y="576"/>
                  </a:lnTo>
                  <a:lnTo>
                    <a:pt x="1019" y="610"/>
                  </a:lnTo>
                  <a:lnTo>
                    <a:pt x="1020" y="618"/>
                  </a:lnTo>
                  <a:lnTo>
                    <a:pt x="1022" y="625"/>
                  </a:lnTo>
                  <a:lnTo>
                    <a:pt x="1025" y="632"/>
                  </a:lnTo>
                  <a:lnTo>
                    <a:pt x="1026" y="640"/>
                  </a:lnTo>
                  <a:lnTo>
                    <a:pt x="1026" y="650"/>
                  </a:lnTo>
                  <a:lnTo>
                    <a:pt x="1026" y="664"/>
                  </a:lnTo>
                  <a:lnTo>
                    <a:pt x="1027" y="679"/>
                  </a:lnTo>
                  <a:lnTo>
                    <a:pt x="1031" y="696"/>
                  </a:lnTo>
                  <a:lnTo>
                    <a:pt x="1033" y="705"/>
                  </a:lnTo>
                  <a:lnTo>
                    <a:pt x="1035" y="713"/>
                  </a:lnTo>
                  <a:lnTo>
                    <a:pt x="1038" y="720"/>
                  </a:lnTo>
                  <a:lnTo>
                    <a:pt x="1043" y="726"/>
                  </a:lnTo>
                  <a:lnTo>
                    <a:pt x="1047" y="731"/>
                  </a:lnTo>
                  <a:lnTo>
                    <a:pt x="1053" y="735"/>
                  </a:lnTo>
                  <a:lnTo>
                    <a:pt x="1058" y="738"/>
                  </a:lnTo>
                  <a:lnTo>
                    <a:pt x="1066" y="739"/>
                  </a:lnTo>
                  <a:lnTo>
                    <a:pt x="1067" y="745"/>
                  </a:lnTo>
                  <a:lnTo>
                    <a:pt x="1070" y="751"/>
                  </a:lnTo>
                  <a:lnTo>
                    <a:pt x="1074" y="759"/>
                  </a:lnTo>
                  <a:lnTo>
                    <a:pt x="1079" y="765"/>
                  </a:lnTo>
                  <a:lnTo>
                    <a:pt x="1083" y="772"/>
                  </a:lnTo>
                  <a:lnTo>
                    <a:pt x="1088" y="780"/>
                  </a:lnTo>
                  <a:lnTo>
                    <a:pt x="1091" y="790"/>
                  </a:lnTo>
                  <a:lnTo>
                    <a:pt x="1092" y="800"/>
                  </a:lnTo>
                  <a:lnTo>
                    <a:pt x="1092" y="807"/>
                  </a:lnTo>
                  <a:lnTo>
                    <a:pt x="1092" y="816"/>
                  </a:lnTo>
                  <a:lnTo>
                    <a:pt x="1092" y="825"/>
                  </a:lnTo>
                  <a:lnTo>
                    <a:pt x="1092" y="831"/>
                  </a:lnTo>
                  <a:lnTo>
                    <a:pt x="1092" y="837"/>
                  </a:lnTo>
                  <a:lnTo>
                    <a:pt x="1080" y="836"/>
                  </a:lnTo>
                  <a:lnTo>
                    <a:pt x="1069" y="837"/>
                  </a:lnTo>
                  <a:lnTo>
                    <a:pt x="1059" y="840"/>
                  </a:lnTo>
                  <a:lnTo>
                    <a:pt x="1049" y="842"/>
                  </a:lnTo>
                  <a:lnTo>
                    <a:pt x="1040" y="844"/>
                  </a:lnTo>
                  <a:lnTo>
                    <a:pt x="1029" y="844"/>
                  </a:lnTo>
                  <a:lnTo>
                    <a:pt x="1023" y="844"/>
                  </a:lnTo>
                  <a:lnTo>
                    <a:pt x="1018" y="842"/>
                  </a:lnTo>
                  <a:lnTo>
                    <a:pt x="1012" y="840"/>
                  </a:lnTo>
                  <a:lnTo>
                    <a:pt x="1005" y="837"/>
                  </a:lnTo>
                  <a:lnTo>
                    <a:pt x="1001" y="846"/>
                  </a:lnTo>
                  <a:lnTo>
                    <a:pt x="997" y="856"/>
                  </a:lnTo>
                  <a:lnTo>
                    <a:pt x="993" y="869"/>
                  </a:lnTo>
                  <a:lnTo>
                    <a:pt x="990" y="883"/>
                  </a:lnTo>
                  <a:lnTo>
                    <a:pt x="982" y="914"/>
                  </a:lnTo>
                  <a:lnTo>
                    <a:pt x="975" y="947"/>
                  </a:lnTo>
                  <a:lnTo>
                    <a:pt x="970" y="962"/>
                  </a:lnTo>
                  <a:lnTo>
                    <a:pt x="966" y="978"/>
                  </a:lnTo>
                  <a:lnTo>
                    <a:pt x="960" y="992"/>
                  </a:lnTo>
                  <a:lnTo>
                    <a:pt x="955" y="1004"/>
                  </a:lnTo>
                  <a:lnTo>
                    <a:pt x="951" y="1009"/>
                  </a:lnTo>
                  <a:lnTo>
                    <a:pt x="947" y="1014"/>
                  </a:lnTo>
                  <a:lnTo>
                    <a:pt x="944" y="1018"/>
                  </a:lnTo>
                  <a:lnTo>
                    <a:pt x="940" y="1021"/>
                  </a:lnTo>
                  <a:lnTo>
                    <a:pt x="935" y="1024"/>
                  </a:lnTo>
                  <a:lnTo>
                    <a:pt x="930" y="1026"/>
                  </a:lnTo>
                  <a:lnTo>
                    <a:pt x="925" y="1028"/>
                  </a:lnTo>
                  <a:lnTo>
                    <a:pt x="920" y="1028"/>
                  </a:lnTo>
                  <a:lnTo>
                    <a:pt x="918" y="1029"/>
                  </a:lnTo>
                  <a:lnTo>
                    <a:pt x="912" y="1031"/>
                  </a:lnTo>
                  <a:lnTo>
                    <a:pt x="909" y="1032"/>
                  </a:lnTo>
                  <a:lnTo>
                    <a:pt x="906" y="1032"/>
                  </a:lnTo>
                  <a:lnTo>
                    <a:pt x="902" y="1031"/>
                  </a:lnTo>
                  <a:lnTo>
                    <a:pt x="900" y="1028"/>
                  </a:lnTo>
                  <a:lnTo>
                    <a:pt x="888" y="1035"/>
                  </a:lnTo>
                  <a:lnTo>
                    <a:pt x="873" y="1043"/>
                  </a:lnTo>
                  <a:lnTo>
                    <a:pt x="864" y="1047"/>
                  </a:lnTo>
                  <a:lnTo>
                    <a:pt x="856" y="1050"/>
                  </a:lnTo>
                  <a:lnTo>
                    <a:pt x="847" y="1052"/>
                  </a:lnTo>
                  <a:lnTo>
                    <a:pt x="840" y="1053"/>
                  </a:lnTo>
                  <a:lnTo>
                    <a:pt x="828" y="1053"/>
                  </a:lnTo>
                  <a:lnTo>
                    <a:pt x="816" y="1052"/>
                  </a:lnTo>
                  <a:lnTo>
                    <a:pt x="805" y="1049"/>
                  </a:lnTo>
                  <a:lnTo>
                    <a:pt x="795" y="1046"/>
                  </a:lnTo>
                  <a:lnTo>
                    <a:pt x="789" y="1043"/>
                  </a:lnTo>
                  <a:lnTo>
                    <a:pt x="786" y="1040"/>
                  </a:lnTo>
                  <a:lnTo>
                    <a:pt x="782" y="1037"/>
                  </a:lnTo>
                  <a:lnTo>
                    <a:pt x="779" y="1033"/>
                  </a:lnTo>
                  <a:lnTo>
                    <a:pt x="777" y="1027"/>
                  </a:lnTo>
                  <a:lnTo>
                    <a:pt x="775" y="1022"/>
                  </a:lnTo>
                  <a:lnTo>
                    <a:pt x="774" y="1016"/>
                  </a:lnTo>
                  <a:lnTo>
                    <a:pt x="774" y="1010"/>
                  </a:lnTo>
                  <a:lnTo>
                    <a:pt x="761" y="1011"/>
                  </a:lnTo>
                  <a:lnTo>
                    <a:pt x="743" y="1014"/>
                  </a:lnTo>
                  <a:lnTo>
                    <a:pt x="734" y="1014"/>
                  </a:lnTo>
                  <a:lnTo>
                    <a:pt x="727" y="1012"/>
                  </a:lnTo>
                  <a:lnTo>
                    <a:pt x="723" y="1011"/>
                  </a:lnTo>
                  <a:lnTo>
                    <a:pt x="719" y="1009"/>
                  </a:lnTo>
                  <a:lnTo>
                    <a:pt x="717" y="1007"/>
                  </a:lnTo>
                  <a:lnTo>
                    <a:pt x="713" y="1004"/>
                  </a:lnTo>
                  <a:lnTo>
                    <a:pt x="707" y="997"/>
                  </a:lnTo>
                  <a:lnTo>
                    <a:pt x="701" y="993"/>
                  </a:lnTo>
                  <a:lnTo>
                    <a:pt x="697" y="992"/>
                  </a:lnTo>
                  <a:lnTo>
                    <a:pt x="694" y="992"/>
                  </a:lnTo>
                  <a:lnTo>
                    <a:pt x="689" y="993"/>
                  </a:lnTo>
                  <a:lnTo>
                    <a:pt x="686" y="993"/>
                  </a:lnTo>
                  <a:lnTo>
                    <a:pt x="680" y="991"/>
                  </a:lnTo>
                  <a:lnTo>
                    <a:pt x="674" y="986"/>
                  </a:lnTo>
                  <a:lnTo>
                    <a:pt x="662" y="987"/>
                  </a:lnTo>
                  <a:lnTo>
                    <a:pt x="653" y="989"/>
                  </a:lnTo>
                  <a:lnTo>
                    <a:pt x="643" y="991"/>
                  </a:lnTo>
                  <a:lnTo>
                    <a:pt x="627" y="992"/>
                  </a:lnTo>
                  <a:lnTo>
                    <a:pt x="618" y="991"/>
                  </a:lnTo>
                  <a:lnTo>
                    <a:pt x="611" y="988"/>
                  </a:lnTo>
                  <a:lnTo>
                    <a:pt x="608" y="987"/>
                  </a:lnTo>
                  <a:lnTo>
                    <a:pt x="605" y="984"/>
                  </a:lnTo>
                  <a:lnTo>
                    <a:pt x="603" y="982"/>
                  </a:lnTo>
                  <a:lnTo>
                    <a:pt x="600" y="979"/>
                  </a:lnTo>
                  <a:lnTo>
                    <a:pt x="597" y="971"/>
                  </a:lnTo>
                  <a:lnTo>
                    <a:pt x="596" y="963"/>
                  </a:lnTo>
                  <a:lnTo>
                    <a:pt x="595" y="953"/>
                  </a:lnTo>
                  <a:lnTo>
                    <a:pt x="594" y="942"/>
                  </a:lnTo>
                  <a:lnTo>
                    <a:pt x="593" y="933"/>
                  </a:lnTo>
                  <a:lnTo>
                    <a:pt x="590" y="925"/>
                  </a:lnTo>
                  <a:lnTo>
                    <a:pt x="587" y="916"/>
                  </a:lnTo>
                  <a:lnTo>
                    <a:pt x="584" y="908"/>
                  </a:lnTo>
                  <a:lnTo>
                    <a:pt x="581" y="900"/>
                  </a:lnTo>
                  <a:lnTo>
                    <a:pt x="577" y="892"/>
                  </a:lnTo>
                  <a:lnTo>
                    <a:pt x="575" y="884"/>
                  </a:lnTo>
                  <a:lnTo>
                    <a:pt x="574" y="875"/>
                  </a:lnTo>
                  <a:lnTo>
                    <a:pt x="575" y="870"/>
                  </a:lnTo>
                  <a:lnTo>
                    <a:pt x="577" y="866"/>
                  </a:lnTo>
                  <a:lnTo>
                    <a:pt x="581" y="860"/>
                  </a:lnTo>
                  <a:lnTo>
                    <a:pt x="584" y="856"/>
                  </a:lnTo>
                  <a:lnTo>
                    <a:pt x="587" y="851"/>
                  </a:lnTo>
                  <a:lnTo>
                    <a:pt x="590" y="846"/>
                  </a:lnTo>
                  <a:lnTo>
                    <a:pt x="593" y="842"/>
                  </a:lnTo>
                  <a:lnTo>
                    <a:pt x="594" y="837"/>
                  </a:lnTo>
                  <a:lnTo>
                    <a:pt x="593" y="825"/>
                  </a:lnTo>
                  <a:lnTo>
                    <a:pt x="589" y="809"/>
                  </a:lnTo>
                  <a:lnTo>
                    <a:pt x="588" y="798"/>
                  </a:lnTo>
                  <a:lnTo>
                    <a:pt x="588" y="789"/>
                  </a:lnTo>
                  <a:lnTo>
                    <a:pt x="590" y="779"/>
                  </a:lnTo>
                  <a:lnTo>
                    <a:pt x="594" y="770"/>
                  </a:lnTo>
                  <a:lnTo>
                    <a:pt x="571" y="766"/>
                  </a:lnTo>
                  <a:lnTo>
                    <a:pt x="521" y="759"/>
                  </a:lnTo>
                  <a:lnTo>
                    <a:pt x="494" y="756"/>
                  </a:lnTo>
                  <a:lnTo>
                    <a:pt x="471" y="755"/>
                  </a:lnTo>
                  <a:lnTo>
                    <a:pt x="461" y="754"/>
                  </a:lnTo>
                  <a:lnTo>
                    <a:pt x="454" y="755"/>
                  </a:lnTo>
                  <a:lnTo>
                    <a:pt x="450" y="756"/>
                  </a:lnTo>
                  <a:lnTo>
                    <a:pt x="448" y="758"/>
                  </a:lnTo>
                  <a:lnTo>
                    <a:pt x="448" y="762"/>
                  </a:lnTo>
                  <a:lnTo>
                    <a:pt x="448" y="770"/>
                  </a:lnTo>
                  <a:lnTo>
                    <a:pt x="447" y="775"/>
                  </a:lnTo>
                  <a:lnTo>
                    <a:pt x="446" y="780"/>
                  </a:lnTo>
                  <a:lnTo>
                    <a:pt x="443" y="785"/>
                  </a:lnTo>
                  <a:lnTo>
                    <a:pt x="440" y="790"/>
                  </a:lnTo>
                  <a:lnTo>
                    <a:pt x="437" y="796"/>
                  </a:lnTo>
                  <a:lnTo>
                    <a:pt x="431" y="801"/>
                  </a:lnTo>
                  <a:lnTo>
                    <a:pt x="425" y="806"/>
                  </a:lnTo>
                  <a:lnTo>
                    <a:pt x="417" y="811"/>
                  </a:lnTo>
                  <a:lnTo>
                    <a:pt x="407" y="814"/>
                  </a:lnTo>
                  <a:lnTo>
                    <a:pt x="396" y="817"/>
                  </a:lnTo>
                  <a:lnTo>
                    <a:pt x="383" y="819"/>
                  </a:lnTo>
                  <a:lnTo>
                    <a:pt x="369" y="819"/>
                  </a:lnTo>
                  <a:lnTo>
                    <a:pt x="362" y="818"/>
                  </a:lnTo>
                  <a:lnTo>
                    <a:pt x="355" y="816"/>
                  </a:lnTo>
                  <a:lnTo>
                    <a:pt x="349" y="811"/>
                  </a:lnTo>
                  <a:lnTo>
                    <a:pt x="342" y="804"/>
                  </a:lnTo>
                  <a:lnTo>
                    <a:pt x="337" y="797"/>
                  </a:lnTo>
                  <a:lnTo>
                    <a:pt x="330" y="789"/>
                  </a:lnTo>
                  <a:lnTo>
                    <a:pt x="325" y="780"/>
                  </a:lnTo>
                  <a:lnTo>
                    <a:pt x="319" y="771"/>
                  </a:lnTo>
                  <a:lnTo>
                    <a:pt x="309" y="749"/>
                  </a:lnTo>
                  <a:lnTo>
                    <a:pt x="302" y="728"/>
                  </a:lnTo>
                  <a:lnTo>
                    <a:pt x="298" y="718"/>
                  </a:lnTo>
                  <a:lnTo>
                    <a:pt x="297" y="708"/>
                  </a:lnTo>
                  <a:lnTo>
                    <a:pt x="295" y="699"/>
                  </a:lnTo>
                  <a:lnTo>
                    <a:pt x="295" y="689"/>
                  </a:lnTo>
                  <a:lnTo>
                    <a:pt x="3" y="689"/>
                  </a:lnTo>
                  <a:lnTo>
                    <a:pt x="2" y="683"/>
                  </a:lnTo>
                  <a:lnTo>
                    <a:pt x="0" y="680"/>
                  </a:lnTo>
                  <a:lnTo>
                    <a:pt x="0" y="677"/>
                  </a:lnTo>
                  <a:lnTo>
                    <a:pt x="3" y="671"/>
                  </a:lnTo>
                  <a:lnTo>
                    <a:pt x="10" y="669"/>
                  </a:lnTo>
                  <a:lnTo>
                    <a:pt x="16" y="668"/>
                  </a:lnTo>
                  <a:lnTo>
                    <a:pt x="23" y="668"/>
                  </a:lnTo>
                  <a:lnTo>
                    <a:pt x="28" y="668"/>
                  </a:lnTo>
                  <a:lnTo>
                    <a:pt x="34" y="668"/>
                  </a:lnTo>
                  <a:lnTo>
                    <a:pt x="39" y="668"/>
                  </a:lnTo>
                  <a:lnTo>
                    <a:pt x="45" y="667"/>
                  </a:lnTo>
                  <a:lnTo>
                    <a:pt x="49" y="665"/>
                  </a:lnTo>
                  <a:lnTo>
                    <a:pt x="49" y="640"/>
                  </a:lnTo>
                  <a:lnTo>
                    <a:pt x="36" y="640"/>
                  </a:lnTo>
                  <a:lnTo>
                    <a:pt x="27" y="640"/>
                  </a:lnTo>
                  <a:lnTo>
                    <a:pt x="18" y="640"/>
                  </a:lnTo>
                  <a:lnTo>
                    <a:pt x="10" y="640"/>
                  </a:lnTo>
                  <a:lnTo>
                    <a:pt x="26" y="631"/>
                  </a:lnTo>
                  <a:lnTo>
                    <a:pt x="39" y="622"/>
                  </a:lnTo>
                  <a:lnTo>
                    <a:pt x="46" y="619"/>
                  </a:lnTo>
                  <a:lnTo>
                    <a:pt x="52" y="615"/>
                  </a:lnTo>
                  <a:lnTo>
                    <a:pt x="60" y="612"/>
                  </a:lnTo>
                  <a:lnTo>
                    <a:pt x="69" y="610"/>
                  </a:lnTo>
                  <a:lnTo>
                    <a:pt x="72" y="613"/>
                  </a:lnTo>
                  <a:lnTo>
                    <a:pt x="75" y="615"/>
                  </a:lnTo>
                  <a:lnTo>
                    <a:pt x="79" y="616"/>
                  </a:lnTo>
                  <a:lnTo>
                    <a:pt x="82" y="617"/>
                  </a:lnTo>
                  <a:lnTo>
                    <a:pt x="91" y="618"/>
                  </a:lnTo>
                  <a:lnTo>
                    <a:pt x="101" y="616"/>
                  </a:lnTo>
                  <a:lnTo>
                    <a:pt x="122" y="612"/>
                  </a:lnTo>
                  <a:lnTo>
                    <a:pt x="142" y="610"/>
                  </a:lnTo>
                  <a:lnTo>
                    <a:pt x="145" y="614"/>
                  </a:lnTo>
                  <a:lnTo>
                    <a:pt x="148" y="617"/>
                  </a:lnTo>
                  <a:lnTo>
                    <a:pt x="152" y="619"/>
                  </a:lnTo>
                  <a:lnTo>
                    <a:pt x="157" y="620"/>
                  </a:lnTo>
                  <a:lnTo>
                    <a:pt x="166" y="621"/>
                  </a:lnTo>
                  <a:lnTo>
                    <a:pt x="175" y="622"/>
                  </a:lnTo>
                  <a:lnTo>
                    <a:pt x="179" y="621"/>
                  </a:lnTo>
                  <a:lnTo>
                    <a:pt x="183" y="620"/>
                  </a:lnTo>
                  <a:lnTo>
                    <a:pt x="186" y="618"/>
                  </a:lnTo>
                  <a:lnTo>
                    <a:pt x="190" y="616"/>
                  </a:lnTo>
                  <a:lnTo>
                    <a:pt x="195" y="610"/>
                  </a:lnTo>
                  <a:lnTo>
                    <a:pt x="201" y="603"/>
                  </a:lnTo>
                  <a:lnTo>
                    <a:pt x="209" y="588"/>
                  </a:lnTo>
                  <a:lnTo>
                    <a:pt x="215" y="578"/>
                  </a:lnTo>
                  <a:lnTo>
                    <a:pt x="220" y="574"/>
                  </a:lnTo>
                  <a:lnTo>
                    <a:pt x="225" y="571"/>
                  </a:lnTo>
                  <a:lnTo>
                    <a:pt x="230" y="569"/>
                  </a:lnTo>
                  <a:lnTo>
                    <a:pt x="236" y="567"/>
                  </a:lnTo>
                  <a:lnTo>
                    <a:pt x="246" y="564"/>
                  </a:lnTo>
                  <a:lnTo>
                    <a:pt x="256" y="560"/>
                  </a:lnTo>
                  <a:lnTo>
                    <a:pt x="258" y="558"/>
                  </a:lnTo>
                  <a:lnTo>
                    <a:pt x="260" y="555"/>
                  </a:lnTo>
                  <a:lnTo>
                    <a:pt x="262" y="550"/>
                  </a:lnTo>
                  <a:lnTo>
                    <a:pt x="264" y="544"/>
                  </a:lnTo>
                  <a:lnTo>
                    <a:pt x="268" y="528"/>
                  </a:lnTo>
                  <a:lnTo>
                    <a:pt x="270" y="511"/>
                  </a:lnTo>
                  <a:lnTo>
                    <a:pt x="274" y="477"/>
                  </a:lnTo>
                  <a:lnTo>
                    <a:pt x="275" y="449"/>
                  </a:lnTo>
                  <a:lnTo>
                    <a:pt x="281" y="440"/>
                  </a:lnTo>
                  <a:lnTo>
                    <a:pt x="287" y="432"/>
                  </a:lnTo>
                  <a:lnTo>
                    <a:pt x="294" y="425"/>
                  </a:lnTo>
                  <a:lnTo>
                    <a:pt x="302" y="416"/>
                  </a:lnTo>
                  <a:lnTo>
                    <a:pt x="316" y="404"/>
                  </a:lnTo>
                  <a:lnTo>
                    <a:pt x="328" y="394"/>
                  </a:lnTo>
                  <a:lnTo>
                    <a:pt x="338" y="382"/>
                  </a:lnTo>
                  <a:lnTo>
                    <a:pt x="346" y="370"/>
                  </a:lnTo>
                  <a:lnTo>
                    <a:pt x="352" y="357"/>
                  </a:lnTo>
                  <a:lnTo>
                    <a:pt x="357" y="345"/>
                  </a:lnTo>
                  <a:lnTo>
                    <a:pt x="361" y="334"/>
                  </a:lnTo>
                  <a:lnTo>
                    <a:pt x="364" y="323"/>
                  </a:lnTo>
                  <a:lnTo>
                    <a:pt x="366" y="312"/>
                  </a:lnTo>
                  <a:lnTo>
                    <a:pt x="369" y="299"/>
                  </a:lnTo>
                  <a:lnTo>
                    <a:pt x="370" y="276"/>
                  </a:lnTo>
                  <a:lnTo>
                    <a:pt x="370" y="251"/>
                  </a:lnTo>
                  <a:lnTo>
                    <a:pt x="369" y="225"/>
                  </a:lnTo>
                  <a:lnTo>
                    <a:pt x="369" y="197"/>
                  </a:lnTo>
                  <a:lnTo>
                    <a:pt x="369" y="191"/>
                  </a:lnTo>
                  <a:lnTo>
                    <a:pt x="369" y="187"/>
                  </a:lnTo>
                  <a:lnTo>
                    <a:pt x="371" y="183"/>
                  </a:lnTo>
                  <a:lnTo>
                    <a:pt x="372" y="180"/>
                  </a:lnTo>
                  <a:lnTo>
                    <a:pt x="375" y="174"/>
                  </a:lnTo>
                  <a:lnTo>
                    <a:pt x="380" y="167"/>
                  </a:lnTo>
                  <a:lnTo>
                    <a:pt x="383" y="160"/>
                  </a:lnTo>
                  <a:lnTo>
                    <a:pt x="385" y="149"/>
                  </a:lnTo>
                  <a:lnTo>
                    <a:pt x="385" y="140"/>
                  </a:lnTo>
                  <a:lnTo>
                    <a:pt x="385" y="132"/>
                  </a:lnTo>
                  <a:lnTo>
                    <a:pt x="383" y="122"/>
                  </a:lnTo>
                  <a:lnTo>
                    <a:pt x="382" y="110"/>
                  </a:lnTo>
                  <a:lnTo>
                    <a:pt x="397" y="87"/>
                  </a:lnTo>
                  <a:lnTo>
                    <a:pt x="417" y="58"/>
                  </a:lnTo>
                  <a:lnTo>
                    <a:pt x="422" y="51"/>
                  </a:lnTo>
                  <a:lnTo>
                    <a:pt x="428" y="45"/>
                  </a:lnTo>
                  <a:lnTo>
                    <a:pt x="435" y="40"/>
                  </a:lnTo>
                  <a:lnTo>
                    <a:pt x="440" y="35"/>
                  </a:lnTo>
                  <a:lnTo>
                    <a:pt x="447" y="31"/>
                  </a:lnTo>
                  <a:lnTo>
                    <a:pt x="453" y="26"/>
                  </a:lnTo>
                  <a:lnTo>
                    <a:pt x="461" y="24"/>
                  </a:lnTo>
                  <a:lnTo>
                    <a:pt x="467" y="24"/>
                  </a:lnTo>
                  <a:lnTo>
                    <a:pt x="476" y="24"/>
                  </a:lnTo>
                  <a:lnTo>
                    <a:pt x="484" y="26"/>
                  </a:lnTo>
                  <a:lnTo>
                    <a:pt x="491" y="30"/>
                  </a:lnTo>
                  <a:lnTo>
                    <a:pt x="497" y="33"/>
                  </a:lnTo>
                  <a:lnTo>
                    <a:pt x="509" y="42"/>
                  </a:lnTo>
                  <a:lnTo>
                    <a:pt x="521" y="52"/>
                  </a:lnTo>
                  <a:lnTo>
                    <a:pt x="532" y="62"/>
                  </a:lnTo>
                  <a:lnTo>
                    <a:pt x="544" y="71"/>
                  </a:lnTo>
                  <a:lnTo>
                    <a:pt x="551" y="74"/>
                  </a:lnTo>
                  <a:lnTo>
                    <a:pt x="558" y="77"/>
                  </a:lnTo>
                  <a:lnTo>
                    <a:pt x="565" y="79"/>
                  </a:lnTo>
                  <a:lnTo>
                    <a:pt x="574" y="79"/>
                  </a:lnTo>
                  <a:lnTo>
                    <a:pt x="587" y="78"/>
                  </a:lnTo>
                  <a:lnTo>
                    <a:pt x="599" y="76"/>
                  </a:lnTo>
                  <a:lnTo>
                    <a:pt x="614" y="74"/>
                  </a:lnTo>
                  <a:lnTo>
                    <a:pt x="634" y="73"/>
                  </a:lnTo>
                  <a:lnTo>
                    <a:pt x="637" y="73"/>
                  </a:lnTo>
                  <a:lnTo>
                    <a:pt x="639" y="71"/>
                  </a:lnTo>
                  <a:lnTo>
                    <a:pt x="641" y="69"/>
                  </a:lnTo>
                  <a:lnTo>
                    <a:pt x="644" y="66"/>
                  </a:lnTo>
                  <a:lnTo>
                    <a:pt x="649" y="60"/>
                  </a:lnTo>
                  <a:lnTo>
                    <a:pt x="654" y="55"/>
                  </a:lnTo>
                  <a:lnTo>
                    <a:pt x="662" y="49"/>
                  </a:lnTo>
                  <a:lnTo>
                    <a:pt x="670" y="44"/>
                  </a:lnTo>
                  <a:lnTo>
                    <a:pt x="677" y="40"/>
                  </a:lnTo>
                  <a:lnTo>
                    <a:pt x="685" y="38"/>
                  </a:lnTo>
                  <a:lnTo>
                    <a:pt x="693" y="36"/>
                  </a:lnTo>
                  <a:lnTo>
                    <a:pt x="701" y="35"/>
                  </a:lnTo>
                  <a:lnTo>
                    <a:pt x="709" y="34"/>
                  </a:lnTo>
                  <a:lnTo>
                    <a:pt x="718" y="34"/>
                  </a:lnTo>
                  <a:lnTo>
                    <a:pt x="734" y="34"/>
                  </a:lnTo>
                  <a:lnTo>
                    <a:pt x="752" y="35"/>
                  </a:lnTo>
                  <a:lnTo>
                    <a:pt x="761" y="34"/>
                  </a:lnTo>
                  <a:lnTo>
                    <a:pt x="769" y="34"/>
                  </a:lnTo>
                  <a:lnTo>
                    <a:pt x="778" y="33"/>
                  </a:lnTo>
                  <a:lnTo>
                    <a:pt x="787" y="31"/>
                  </a:lnTo>
                  <a:lnTo>
                    <a:pt x="790" y="24"/>
                  </a:lnTo>
                  <a:lnTo>
                    <a:pt x="795" y="17"/>
                  </a:lnTo>
                  <a:lnTo>
                    <a:pt x="796" y="13"/>
                  </a:lnTo>
                  <a:lnTo>
                    <a:pt x="799" y="9"/>
                  </a:lnTo>
                  <a:lnTo>
                    <a:pt x="802" y="4"/>
                  </a:lnTo>
                  <a:lnTo>
                    <a:pt x="807" y="0"/>
                  </a:lnTo>
                  <a:lnTo>
                    <a:pt x="814" y="0"/>
                  </a:lnTo>
                  <a:lnTo>
                    <a:pt x="827" y="0"/>
                  </a:lnTo>
                  <a:lnTo>
                    <a:pt x="828" y="8"/>
                  </a:lnTo>
                  <a:lnTo>
                    <a:pt x="830" y="14"/>
                  </a:lnTo>
                  <a:lnTo>
                    <a:pt x="833" y="18"/>
                  </a:lnTo>
                  <a:lnTo>
                    <a:pt x="839" y="21"/>
                  </a:lnTo>
                  <a:lnTo>
                    <a:pt x="843" y="22"/>
                  </a:lnTo>
                  <a:lnTo>
                    <a:pt x="848" y="23"/>
                  </a:lnTo>
                  <a:lnTo>
                    <a:pt x="854" y="24"/>
                  </a:lnTo>
                  <a:lnTo>
                    <a:pt x="859" y="24"/>
                  </a:lnTo>
                  <a:lnTo>
                    <a:pt x="869" y="24"/>
                  </a:lnTo>
                  <a:lnTo>
                    <a:pt x="879" y="24"/>
                  </a:lnTo>
                  <a:lnTo>
                    <a:pt x="887" y="24"/>
                  </a:lnTo>
                  <a:lnTo>
                    <a:pt x="894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2" name="Freeform 249"/>
            <p:cNvSpPr>
              <a:spLocks/>
            </p:cNvSpPr>
            <p:nvPr>
              <p:custDataLst>
                <p:tags r:id="rId177"/>
              </p:custDataLst>
            </p:nvPr>
          </p:nvSpPr>
          <p:spPr bwMode="auto">
            <a:xfrm>
              <a:off x="6360157" y="4261289"/>
              <a:ext cx="55562" cy="55563"/>
            </a:xfrm>
            <a:custGeom>
              <a:avLst/>
              <a:gdLst>
                <a:gd name="T0" fmla="*/ 2147483647 w 125"/>
                <a:gd name="T1" fmla="*/ 0 h 81"/>
                <a:gd name="T2" fmla="*/ 2147483647 w 125"/>
                <a:gd name="T3" fmla="*/ 2147483647 h 81"/>
                <a:gd name="T4" fmla="*/ 2147483647 w 125"/>
                <a:gd name="T5" fmla="*/ 2147483647 h 81"/>
                <a:gd name="T6" fmla="*/ 2147483647 w 125"/>
                <a:gd name="T7" fmla="*/ 2147483647 h 81"/>
                <a:gd name="T8" fmla="*/ 2147483647 w 125"/>
                <a:gd name="T9" fmla="*/ 2147483647 h 81"/>
                <a:gd name="T10" fmla="*/ 2147483647 w 125"/>
                <a:gd name="T11" fmla="*/ 2147483647 h 81"/>
                <a:gd name="T12" fmla="*/ 2147483647 w 125"/>
                <a:gd name="T13" fmla="*/ 2147483647 h 81"/>
                <a:gd name="T14" fmla="*/ 2147483647 w 125"/>
                <a:gd name="T15" fmla="*/ 2147483647 h 81"/>
                <a:gd name="T16" fmla="*/ 2147483647 w 125"/>
                <a:gd name="T17" fmla="*/ 2147483647 h 81"/>
                <a:gd name="T18" fmla="*/ 2147483647 w 125"/>
                <a:gd name="T19" fmla="*/ 2147483647 h 81"/>
                <a:gd name="T20" fmla="*/ 2147483647 w 125"/>
                <a:gd name="T21" fmla="*/ 2147483647 h 81"/>
                <a:gd name="T22" fmla="*/ 2147483647 w 125"/>
                <a:gd name="T23" fmla="*/ 2147483647 h 81"/>
                <a:gd name="T24" fmla="*/ 2147483647 w 125"/>
                <a:gd name="T25" fmla="*/ 2147483647 h 81"/>
                <a:gd name="T26" fmla="*/ 2147483647 w 125"/>
                <a:gd name="T27" fmla="*/ 2147483647 h 81"/>
                <a:gd name="T28" fmla="*/ 2147483647 w 125"/>
                <a:gd name="T29" fmla="*/ 2147483647 h 81"/>
                <a:gd name="T30" fmla="*/ 2147483647 w 125"/>
                <a:gd name="T31" fmla="*/ 2147483647 h 81"/>
                <a:gd name="T32" fmla="*/ 0 w 125"/>
                <a:gd name="T33" fmla="*/ 2147483647 h 81"/>
                <a:gd name="T34" fmla="*/ 0 w 125"/>
                <a:gd name="T35" fmla="*/ 2147483647 h 81"/>
                <a:gd name="T36" fmla="*/ 2147483647 w 125"/>
                <a:gd name="T37" fmla="*/ 2147483647 h 81"/>
                <a:gd name="T38" fmla="*/ 2147483647 w 125"/>
                <a:gd name="T39" fmla="*/ 2147483647 h 81"/>
                <a:gd name="T40" fmla="*/ 2147483647 w 125"/>
                <a:gd name="T41" fmla="*/ 2147483647 h 81"/>
                <a:gd name="T42" fmla="*/ 2147483647 w 125"/>
                <a:gd name="T43" fmla="*/ 2147483647 h 81"/>
                <a:gd name="T44" fmla="*/ 2147483647 w 125"/>
                <a:gd name="T45" fmla="*/ 2147483647 h 81"/>
                <a:gd name="T46" fmla="*/ 2147483647 w 125"/>
                <a:gd name="T47" fmla="*/ 2147483647 h 81"/>
                <a:gd name="T48" fmla="*/ 2147483647 w 125"/>
                <a:gd name="T49" fmla="*/ 0 h 81"/>
                <a:gd name="T50" fmla="*/ 2147483647 w 125"/>
                <a:gd name="T51" fmla="*/ 0 h 8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25" h="81">
                  <a:moveTo>
                    <a:pt x="120" y="0"/>
                  </a:moveTo>
                  <a:lnTo>
                    <a:pt x="121" y="27"/>
                  </a:lnTo>
                  <a:lnTo>
                    <a:pt x="124" y="46"/>
                  </a:lnTo>
                  <a:lnTo>
                    <a:pt x="125" y="53"/>
                  </a:lnTo>
                  <a:lnTo>
                    <a:pt x="125" y="59"/>
                  </a:lnTo>
                  <a:lnTo>
                    <a:pt x="125" y="65"/>
                  </a:lnTo>
                  <a:lnTo>
                    <a:pt x="123" y="69"/>
                  </a:lnTo>
                  <a:lnTo>
                    <a:pt x="119" y="72"/>
                  </a:lnTo>
                  <a:lnTo>
                    <a:pt x="112" y="74"/>
                  </a:lnTo>
                  <a:lnTo>
                    <a:pt x="103" y="76"/>
                  </a:lnTo>
                  <a:lnTo>
                    <a:pt x="91" y="77"/>
                  </a:lnTo>
                  <a:lnTo>
                    <a:pt x="57" y="79"/>
                  </a:lnTo>
                  <a:lnTo>
                    <a:pt x="7" y="81"/>
                  </a:lnTo>
                  <a:lnTo>
                    <a:pt x="5" y="79"/>
                  </a:lnTo>
                  <a:lnTo>
                    <a:pt x="3" y="72"/>
                  </a:lnTo>
                  <a:lnTo>
                    <a:pt x="1" y="59"/>
                  </a:lnTo>
                  <a:lnTo>
                    <a:pt x="0" y="43"/>
                  </a:lnTo>
                  <a:lnTo>
                    <a:pt x="0" y="37"/>
                  </a:lnTo>
                  <a:lnTo>
                    <a:pt x="1" y="31"/>
                  </a:lnTo>
                  <a:lnTo>
                    <a:pt x="2" y="25"/>
                  </a:lnTo>
                  <a:lnTo>
                    <a:pt x="4" y="20"/>
                  </a:lnTo>
                  <a:lnTo>
                    <a:pt x="8" y="15"/>
                  </a:lnTo>
                  <a:lnTo>
                    <a:pt x="11" y="10"/>
                  </a:lnTo>
                  <a:lnTo>
                    <a:pt x="14" y="5"/>
                  </a:lnTo>
                  <a:lnTo>
                    <a:pt x="20" y="0"/>
                  </a:lnTo>
                  <a:lnTo>
                    <a:pt x="1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3" name="Freeform 250"/>
            <p:cNvSpPr>
              <a:spLocks/>
            </p:cNvSpPr>
            <p:nvPr>
              <p:custDataLst>
                <p:tags r:id="rId178"/>
              </p:custDataLst>
            </p:nvPr>
          </p:nvSpPr>
          <p:spPr bwMode="auto">
            <a:xfrm>
              <a:off x="6342694" y="4261289"/>
              <a:ext cx="152400" cy="201613"/>
            </a:xfrm>
            <a:custGeom>
              <a:avLst/>
              <a:gdLst>
                <a:gd name="T0" fmla="*/ 2147483647 w 355"/>
                <a:gd name="T1" fmla="*/ 2147483647 h 388"/>
                <a:gd name="T2" fmla="*/ 2147483647 w 355"/>
                <a:gd name="T3" fmla="*/ 2147483647 h 388"/>
                <a:gd name="T4" fmla="*/ 2147483647 w 355"/>
                <a:gd name="T5" fmla="*/ 2147483647 h 388"/>
                <a:gd name="T6" fmla="*/ 2147483647 w 355"/>
                <a:gd name="T7" fmla="*/ 2147483647 h 388"/>
                <a:gd name="T8" fmla="*/ 2147483647 w 355"/>
                <a:gd name="T9" fmla="*/ 2147483647 h 388"/>
                <a:gd name="T10" fmla="*/ 2147483647 w 355"/>
                <a:gd name="T11" fmla="*/ 2147483647 h 388"/>
                <a:gd name="T12" fmla="*/ 2147483647 w 355"/>
                <a:gd name="T13" fmla="*/ 2147483647 h 388"/>
                <a:gd name="T14" fmla="*/ 2147483647 w 355"/>
                <a:gd name="T15" fmla="*/ 2147483647 h 388"/>
                <a:gd name="T16" fmla="*/ 2147483647 w 355"/>
                <a:gd name="T17" fmla="*/ 2147483647 h 388"/>
                <a:gd name="T18" fmla="*/ 2147483647 w 355"/>
                <a:gd name="T19" fmla="*/ 2147483647 h 388"/>
                <a:gd name="T20" fmla="*/ 2147483647 w 355"/>
                <a:gd name="T21" fmla="*/ 2147483647 h 388"/>
                <a:gd name="T22" fmla="*/ 2147483647 w 355"/>
                <a:gd name="T23" fmla="*/ 2147483647 h 388"/>
                <a:gd name="T24" fmla="*/ 2147483647 w 355"/>
                <a:gd name="T25" fmla="*/ 2147483647 h 388"/>
                <a:gd name="T26" fmla="*/ 2147483647 w 355"/>
                <a:gd name="T27" fmla="*/ 2147483647 h 388"/>
                <a:gd name="T28" fmla="*/ 2147483647 w 355"/>
                <a:gd name="T29" fmla="*/ 2147483647 h 388"/>
                <a:gd name="T30" fmla="*/ 2147483647 w 355"/>
                <a:gd name="T31" fmla="*/ 2147483647 h 388"/>
                <a:gd name="T32" fmla="*/ 2147483647 w 355"/>
                <a:gd name="T33" fmla="*/ 2147483647 h 388"/>
                <a:gd name="T34" fmla="*/ 2147483647 w 355"/>
                <a:gd name="T35" fmla="*/ 2147483647 h 388"/>
                <a:gd name="T36" fmla="*/ 2147483647 w 355"/>
                <a:gd name="T37" fmla="*/ 2147483647 h 388"/>
                <a:gd name="T38" fmla="*/ 2147483647 w 355"/>
                <a:gd name="T39" fmla="*/ 2147483647 h 388"/>
                <a:gd name="T40" fmla="*/ 2147483647 w 355"/>
                <a:gd name="T41" fmla="*/ 2147483647 h 388"/>
                <a:gd name="T42" fmla="*/ 2147483647 w 355"/>
                <a:gd name="T43" fmla="*/ 2147483647 h 388"/>
                <a:gd name="T44" fmla="*/ 2147483647 w 355"/>
                <a:gd name="T45" fmla="*/ 2147483647 h 388"/>
                <a:gd name="T46" fmla="*/ 2147483647 w 355"/>
                <a:gd name="T47" fmla="*/ 2147483647 h 388"/>
                <a:gd name="T48" fmla="*/ 2147483647 w 355"/>
                <a:gd name="T49" fmla="*/ 2147483647 h 388"/>
                <a:gd name="T50" fmla="*/ 2147483647 w 355"/>
                <a:gd name="T51" fmla="*/ 2147483647 h 388"/>
                <a:gd name="T52" fmla="*/ 2147483647 w 355"/>
                <a:gd name="T53" fmla="*/ 2147483647 h 388"/>
                <a:gd name="T54" fmla="*/ 2147483647 w 355"/>
                <a:gd name="T55" fmla="*/ 2147483647 h 388"/>
                <a:gd name="T56" fmla="*/ 2147483647 w 355"/>
                <a:gd name="T57" fmla="*/ 2147483647 h 388"/>
                <a:gd name="T58" fmla="*/ 2147483647 w 355"/>
                <a:gd name="T59" fmla="*/ 2147483647 h 388"/>
                <a:gd name="T60" fmla="*/ 2147483647 w 355"/>
                <a:gd name="T61" fmla="*/ 2147483647 h 388"/>
                <a:gd name="T62" fmla="*/ 2147483647 w 355"/>
                <a:gd name="T63" fmla="*/ 2147483647 h 388"/>
                <a:gd name="T64" fmla="*/ 2147483647 w 355"/>
                <a:gd name="T65" fmla="*/ 2147483647 h 388"/>
                <a:gd name="T66" fmla="*/ 2147483647 w 355"/>
                <a:gd name="T67" fmla="*/ 2147483647 h 388"/>
                <a:gd name="T68" fmla="*/ 2147483647 w 355"/>
                <a:gd name="T69" fmla="*/ 2147483647 h 388"/>
                <a:gd name="T70" fmla="*/ 2147483647 w 355"/>
                <a:gd name="T71" fmla="*/ 2147483647 h 388"/>
                <a:gd name="T72" fmla="*/ 2147483647 w 355"/>
                <a:gd name="T73" fmla="*/ 2147483647 h 388"/>
                <a:gd name="T74" fmla="*/ 2147483647 w 355"/>
                <a:gd name="T75" fmla="*/ 2147483647 h 388"/>
                <a:gd name="T76" fmla="*/ 2147483647 w 355"/>
                <a:gd name="T77" fmla="*/ 2147483647 h 388"/>
                <a:gd name="T78" fmla="*/ 2147483647 w 355"/>
                <a:gd name="T79" fmla="*/ 2147483647 h 388"/>
                <a:gd name="T80" fmla="*/ 2147483647 w 355"/>
                <a:gd name="T81" fmla="*/ 2147483647 h 388"/>
                <a:gd name="T82" fmla="*/ 2147483647 w 355"/>
                <a:gd name="T83" fmla="*/ 2147483647 h 388"/>
                <a:gd name="T84" fmla="*/ 2147483647 w 355"/>
                <a:gd name="T85" fmla="*/ 2147483647 h 388"/>
                <a:gd name="T86" fmla="*/ 2147483647 w 355"/>
                <a:gd name="T87" fmla="*/ 2147483647 h 388"/>
                <a:gd name="T88" fmla="*/ 2147483647 w 355"/>
                <a:gd name="T89" fmla="*/ 2147483647 h 388"/>
                <a:gd name="T90" fmla="*/ 2147483647 w 355"/>
                <a:gd name="T91" fmla="*/ 2147483647 h 388"/>
                <a:gd name="T92" fmla="*/ 2147483647 w 355"/>
                <a:gd name="T93" fmla="*/ 2147483647 h 388"/>
                <a:gd name="T94" fmla="*/ 2147483647 w 355"/>
                <a:gd name="T95" fmla="*/ 2147483647 h 3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55" h="388">
                  <a:moveTo>
                    <a:pt x="266" y="7"/>
                  </a:moveTo>
                  <a:lnTo>
                    <a:pt x="265" y="9"/>
                  </a:lnTo>
                  <a:lnTo>
                    <a:pt x="262" y="15"/>
                  </a:lnTo>
                  <a:lnTo>
                    <a:pt x="259" y="23"/>
                  </a:lnTo>
                  <a:lnTo>
                    <a:pt x="257" y="32"/>
                  </a:lnTo>
                  <a:lnTo>
                    <a:pt x="257" y="37"/>
                  </a:lnTo>
                  <a:lnTo>
                    <a:pt x="258" y="42"/>
                  </a:lnTo>
                  <a:lnTo>
                    <a:pt x="261" y="46"/>
                  </a:lnTo>
                  <a:lnTo>
                    <a:pt x="264" y="51"/>
                  </a:lnTo>
                  <a:lnTo>
                    <a:pt x="268" y="54"/>
                  </a:lnTo>
                  <a:lnTo>
                    <a:pt x="275" y="58"/>
                  </a:lnTo>
                  <a:lnTo>
                    <a:pt x="283" y="60"/>
                  </a:lnTo>
                  <a:lnTo>
                    <a:pt x="294" y="63"/>
                  </a:lnTo>
                  <a:lnTo>
                    <a:pt x="301" y="58"/>
                  </a:lnTo>
                  <a:lnTo>
                    <a:pt x="319" y="55"/>
                  </a:lnTo>
                  <a:lnTo>
                    <a:pt x="323" y="55"/>
                  </a:lnTo>
                  <a:lnTo>
                    <a:pt x="328" y="55"/>
                  </a:lnTo>
                  <a:lnTo>
                    <a:pt x="332" y="57"/>
                  </a:lnTo>
                  <a:lnTo>
                    <a:pt x="335" y="59"/>
                  </a:lnTo>
                  <a:lnTo>
                    <a:pt x="337" y="63"/>
                  </a:lnTo>
                  <a:lnTo>
                    <a:pt x="340" y="68"/>
                  </a:lnTo>
                  <a:lnTo>
                    <a:pt x="340" y="74"/>
                  </a:lnTo>
                  <a:lnTo>
                    <a:pt x="340" y="81"/>
                  </a:lnTo>
                  <a:lnTo>
                    <a:pt x="345" y="83"/>
                  </a:lnTo>
                  <a:lnTo>
                    <a:pt x="348" y="87"/>
                  </a:lnTo>
                  <a:lnTo>
                    <a:pt x="350" y="90"/>
                  </a:lnTo>
                  <a:lnTo>
                    <a:pt x="351" y="94"/>
                  </a:lnTo>
                  <a:lnTo>
                    <a:pt x="350" y="99"/>
                  </a:lnTo>
                  <a:lnTo>
                    <a:pt x="347" y="103"/>
                  </a:lnTo>
                  <a:lnTo>
                    <a:pt x="345" y="108"/>
                  </a:lnTo>
                  <a:lnTo>
                    <a:pt x="342" y="113"/>
                  </a:lnTo>
                  <a:lnTo>
                    <a:pt x="328" y="129"/>
                  </a:lnTo>
                  <a:lnTo>
                    <a:pt x="320" y="136"/>
                  </a:lnTo>
                  <a:lnTo>
                    <a:pt x="326" y="143"/>
                  </a:lnTo>
                  <a:lnTo>
                    <a:pt x="341" y="162"/>
                  </a:lnTo>
                  <a:lnTo>
                    <a:pt x="348" y="175"/>
                  </a:lnTo>
                  <a:lnTo>
                    <a:pt x="353" y="188"/>
                  </a:lnTo>
                  <a:lnTo>
                    <a:pt x="355" y="195"/>
                  </a:lnTo>
                  <a:lnTo>
                    <a:pt x="355" y="202"/>
                  </a:lnTo>
                  <a:lnTo>
                    <a:pt x="355" y="209"/>
                  </a:lnTo>
                  <a:lnTo>
                    <a:pt x="353" y="216"/>
                  </a:lnTo>
                  <a:lnTo>
                    <a:pt x="353" y="219"/>
                  </a:lnTo>
                  <a:lnTo>
                    <a:pt x="352" y="228"/>
                  </a:lnTo>
                  <a:lnTo>
                    <a:pt x="350" y="241"/>
                  </a:lnTo>
                  <a:lnTo>
                    <a:pt x="345" y="254"/>
                  </a:lnTo>
                  <a:lnTo>
                    <a:pt x="342" y="260"/>
                  </a:lnTo>
                  <a:lnTo>
                    <a:pt x="339" y="266"/>
                  </a:lnTo>
                  <a:lnTo>
                    <a:pt x="333" y="271"/>
                  </a:lnTo>
                  <a:lnTo>
                    <a:pt x="328" y="276"/>
                  </a:lnTo>
                  <a:lnTo>
                    <a:pt x="321" y="279"/>
                  </a:lnTo>
                  <a:lnTo>
                    <a:pt x="312" y="280"/>
                  </a:lnTo>
                  <a:lnTo>
                    <a:pt x="303" y="280"/>
                  </a:lnTo>
                  <a:lnTo>
                    <a:pt x="294" y="277"/>
                  </a:lnTo>
                  <a:lnTo>
                    <a:pt x="286" y="282"/>
                  </a:lnTo>
                  <a:lnTo>
                    <a:pt x="280" y="285"/>
                  </a:lnTo>
                  <a:lnTo>
                    <a:pt x="275" y="285"/>
                  </a:lnTo>
                  <a:lnTo>
                    <a:pt x="270" y="282"/>
                  </a:lnTo>
                  <a:lnTo>
                    <a:pt x="263" y="276"/>
                  </a:lnTo>
                  <a:lnTo>
                    <a:pt x="255" y="268"/>
                  </a:lnTo>
                  <a:lnTo>
                    <a:pt x="252" y="265"/>
                  </a:lnTo>
                  <a:lnTo>
                    <a:pt x="249" y="261"/>
                  </a:lnTo>
                  <a:lnTo>
                    <a:pt x="244" y="259"/>
                  </a:lnTo>
                  <a:lnTo>
                    <a:pt x="240" y="259"/>
                  </a:lnTo>
                  <a:lnTo>
                    <a:pt x="234" y="260"/>
                  </a:lnTo>
                  <a:lnTo>
                    <a:pt x="229" y="263"/>
                  </a:lnTo>
                  <a:lnTo>
                    <a:pt x="221" y="269"/>
                  </a:lnTo>
                  <a:lnTo>
                    <a:pt x="213" y="277"/>
                  </a:lnTo>
                  <a:lnTo>
                    <a:pt x="211" y="278"/>
                  </a:lnTo>
                  <a:lnTo>
                    <a:pt x="205" y="279"/>
                  </a:lnTo>
                  <a:lnTo>
                    <a:pt x="201" y="280"/>
                  </a:lnTo>
                  <a:lnTo>
                    <a:pt x="197" y="282"/>
                  </a:lnTo>
                  <a:lnTo>
                    <a:pt x="194" y="285"/>
                  </a:lnTo>
                  <a:lnTo>
                    <a:pt x="190" y="288"/>
                  </a:lnTo>
                  <a:lnTo>
                    <a:pt x="187" y="292"/>
                  </a:lnTo>
                  <a:lnTo>
                    <a:pt x="185" y="298"/>
                  </a:lnTo>
                  <a:lnTo>
                    <a:pt x="185" y="304"/>
                  </a:lnTo>
                  <a:lnTo>
                    <a:pt x="185" y="312"/>
                  </a:lnTo>
                  <a:lnTo>
                    <a:pt x="187" y="321"/>
                  </a:lnTo>
                  <a:lnTo>
                    <a:pt x="191" y="331"/>
                  </a:lnTo>
                  <a:lnTo>
                    <a:pt x="198" y="344"/>
                  </a:lnTo>
                  <a:lnTo>
                    <a:pt x="207" y="358"/>
                  </a:lnTo>
                  <a:lnTo>
                    <a:pt x="206" y="357"/>
                  </a:lnTo>
                  <a:lnTo>
                    <a:pt x="201" y="355"/>
                  </a:lnTo>
                  <a:lnTo>
                    <a:pt x="195" y="353"/>
                  </a:lnTo>
                  <a:lnTo>
                    <a:pt x="187" y="353"/>
                  </a:lnTo>
                  <a:lnTo>
                    <a:pt x="183" y="353"/>
                  </a:lnTo>
                  <a:lnTo>
                    <a:pt x="177" y="355"/>
                  </a:lnTo>
                  <a:lnTo>
                    <a:pt x="173" y="357"/>
                  </a:lnTo>
                  <a:lnTo>
                    <a:pt x="167" y="361"/>
                  </a:lnTo>
                  <a:lnTo>
                    <a:pt x="162" y="365"/>
                  </a:lnTo>
                  <a:lnTo>
                    <a:pt x="157" y="371"/>
                  </a:lnTo>
                  <a:lnTo>
                    <a:pt x="152" y="379"/>
                  </a:lnTo>
                  <a:lnTo>
                    <a:pt x="146" y="388"/>
                  </a:lnTo>
                  <a:lnTo>
                    <a:pt x="137" y="380"/>
                  </a:lnTo>
                  <a:lnTo>
                    <a:pt x="128" y="373"/>
                  </a:lnTo>
                  <a:lnTo>
                    <a:pt x="123" y="370"/>
                  </a:lnTo>
                  <a:lnTo>
                    <a:pt x="120" y="366"/>
                  </a:lnTo>
                  <a:lnTo>
                    <a:pt x="117" y="362"/>
                  </a:lnTo>
                  <a:lnTo>
                    <a:pt x="113" y="358"/>
                  </a:lnTo>
                  <a:lnTo>
                    <a:pt x="109" y="346"/>
                  </a:lnTo>
                  <a:lnTo>
                    <a:pt x="102" y="334"/>
                  </a:lnTo>
                  <a:lnTo>
                    <a:pt x="96" y="324"/>
                  </a:lnTo>
                  <a:lnTo>
                    <a:pt x="87" y="315"/>
                  </a:lnTo>
                  <a:lnTo>
                    <a:pt x="70" y="297"/>
                  </a:lnTo>
                  <a:lnTo>
                    <a:pt x="50" y="280"/>
                  </a:lnTo>
                  <a:lnTo>
                    <a:pt x="40" y="271"/>
                  </a:lnTo>
                  <a:lnTo>
                    <a:pt x="31" y="263"/>
                  </a:lnTo>
                  <a:lnTo>
                    <a:pt x="22" y="254"/>
                  </a:lnTo>
                  <a:lnTo>
                    <a:pt x="16" y="245"/>
                  </a:lnTo>
                  <a:lnTo>
                    <a:pt x="9" y="235"/>
                  </a:lnTo>
                  <a:lnTo>
                    <a:pt x="5" y="223"/>
                  </a:lnTo>
                  <a:lnTo>
                    <a:pt x="1" y="211"/>
                  </a:lnTo>
                  <a:lnTo>
                    <a:pt x="0" y="198"/>
                  </a:lnTo>
                  <a:lnTo>
                    <a:pt x="1" y="187"/>
                  </a:lnTo>
                  <a:lnTo>
                    <a:pt x="4" y="178"/>
                  </a:lnTo>
                  <a:lnTo>
                    <a:pt x="7" y="169"/>
                  </a:lnTo>
                  <a:lnTo>
                    <a:pt x="11" y="162"/>
                  </a:lnTo>
                  <a:lnTo>
                    <a:pt x="22" y="150"/>
                  </a:lnTo>
                  <a:lnTo>
                    <a:pt x="34" y="139"/>
                  </a:lnTo>
                  <a:lnTo>
                    <a:pt x="41" y="134"/>
                  </a:lnTo>
                  <a:lnTo>
                    <a:pt x="45" y="129"/>
                  </a:lnTo>
                  <a:lnTo>
                    <a:pt x="50" y="123"/>
                  </a:lnTo>
                  <a:lnTo>
                    <a:pt x="54" y="116"/>
                  </a:lnTo>
                  <a:lnTo>
                    <a:pt x="56" y="109"/>
                  </a:lnTo>
                  <a:lnTo>
                    <a:pt x="57" y="101"/>
                  </a:lnTo>
                  <a:lnTo>
                    <a:pt x="56" y="91"/>
                  </a:lnTo>
                  <a:lnTo>
                    <a:pt x="54" y="81"/>
                  </a:lnTo>
                  <a:lnTo>
                    <a:pt x="84" y="83"/>
                  </a:lnTo>
                  <a:lnTo>
                    <a:pt x="108" y="83"/>
                  </a:lnTo>
                  <a:lnTo>
                    <a:pt x="129" y="83"/>
                  </a:lnTo>
                  <a:lnTo>
                    <a:pt x="144" y="82"/>
                  </a:lnTo>
                  <a:lnTo>
                    <a:pt x="156" y="80"/>
                  </a:lnTo>
                  <a:lnTo>
                    <a:pt x="165" y="77"/>
                  </a:lnTo>
                  <a:lnTo>
                    <a:pt x="168" y="75"/>
                  </a:lnTo>
                  <a:lnTo>
                    <a:pt x="172" y="73"/>
                  </a:lnTo>
                  <a:lnTo>
                    <a:pt x="174" y="71"/>
                  </a:lnTo>
                  <a:lnTo>
                    <a:pt x="175" y="69"/>
                  </a:lnTo>
                  <a:lnTo>
                    <a:pt x="177" y="63"/>
                  </a:lnTo>
                  <a:lnTo>
                    <a:pt x="176" y="56"/>
                  </a:lnTo>
                  <a:lnTo>
                    <a:pt x="175" y="49"/>
                  </a:lnTo>
                  <a:lnTo>
                    <a:pt x="174" y="41"/>
                  </a:lnTo>
                  <a:lnTo>
                    <a:pt x="172" y="32"/>
                  </a:lnTo>
                  <a:lnTo>
                    <a:pt x="169" y="22"/>
                  </a:lnTo>
                  <a:lnTo>
                    <a:pt x="167" y="12"/>
                  </a:lnTo>
                  <a:lnTo>
                    <a:pt x="167" y="0"/>
                  </a:lnTo>
                  <a:lnTo>
                    <a:pt x="266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4" name="Freeform 251"/>
            <p:cNvSpPr>
              <a:spLocks/>
            </p:cNvSpPr>
            <p:nvPr>
              <p:custDataLst>
                <p:tags r:id="rId179"/>
              </p:custDataLst>
            </p:nvPr>
          </p:nvSpPr>
          <p:spPr bwMode="auto">
            <a:xfrm>
              <a:off x="6876094" y="4666102"/>
              <a:ext cx="260350" cy="520700"/>
            </a:xfrm>
            <a:custGeom>
              <a:avLst/>
              <a:gdLst>
                <a:gd name="T0" fmla="*/ 0 w 599"/>
                <a:gd name="T1" fmla="*/ 2147483647 h 993"/>
                <a:gd name="T2" fmla="*/ 2147483647 w 599"/>
                <a:gd name="T3" fmla="*/ 2147483647 h 993"/>
                <a:gd name="T4" fmla="*/ 2147483647 w 599"/>
                <a:gd name="T5" fmla="*/ 2147483647 h 993"/>
                <a:gd name="T6" fmla="*/ 2147483647 w 599"/>
                <a:gd name="T7" fmla="*/ 2147483647 h 993"/>
                <a:gd name="T8" fmla="*/ 2147483647 w 599"/>
                <a:gd name="T9" fmla="*/ 2147483647 h 993"/>
                <a:gd name="T10" fmla="*/ 2147483647 w 599"/>
                <a:gd name="T11" fmla="*/ 2147483647 h 993"/>
                <a:gd name="T12" fmla="*/ 2147483647 w 599"/>
                <a:gd name="T13" fmla="*/ 2147483647 h 993"/>
                <a:gd name="T14" fmla="*/ 2147483647 w 599"/>
                <a:gd name="T15" fmla="*/ 2147483647 h 993"/>
                <a:gd name="T16" fmla="*/ 2147483647 w 599"/>
                <a:gd name="T17" fmla="*/ 2147483647 h 993"/>
                <a:gd name="T18" fmla="*/ 2147483647 w 599"/>
                <a:gd name="T19" fmla="*/ 2147483647 h 993"/>
                <a:gd name="T20" fmla="*/ 2147483647 w 599"/>
                <a:gd name="T21" fmla="*/ 2147483647 h 993"/>
                <a:gd name="T22" fmla="*/ 2147483647 w 599"/>
                <a:gd name="T23" fmla="*/ 2147483647 h 993"/>
                <a:gd name="T24" fmla="*/ 2147483647 w 599"/>
                <a:gd name="T25" fmla="*/ 2147483647 h 993"/>
                <a:gd name="T26" fmla="*/ 2147483647 w 599"/>
                <a:gd name="T27" fmla="*/ 2147483647 h 993"/>
                <a:gd name="T28" fmla="*/ 2147483647 w 599"/>
                <a:gd name="T29" fmla="*/ 2147483647 h 993"/>
                <a:gd name="T30" fmla="*/ 2147483647 w 599"/>
                <a:gd name="T31" fmla="*/ 2147483647 h 993"/>
                <a:gd name="T32" fmla="*/ 2147483647 w 599"/>
                <a:gd name="T33" fmla="*/ 2147483647 h 993"/>
                <a:gd name="T34" fmla="*/ 2147483647 w 599"/>
                <a:gd name="T35" fmla="*/ 2147483647 h 993"/>
                <a:gd name="T36" fmla="*/ 2147483647 w 599"/>
                <a:gd name="T37" fmla="*/ 2147483647 h 993"/>
                <a:gd name="T38" fmla="*/ 2147483647 w 599"/>
                <a:gd name="T39" fmla="*/ 2147483647 h 993"/>
                <a:gd name="T40" fmla="*/ 2147483647 w 599"/>
                <a:gd name="T41" fmla="*/ 2147483647 h 993"/>
                <a:gd name="T42" fmla="*/ 2147483647 w 599"/>
                <a:gd name="T43" fmla="*/ 2147483647 h 993"/>
                <a:gd name="T44" fmla="*/ 2147483647 w 599"/>
                <a:gd name="T45" fmla="*/ 2147483647 h 993"/>
                <a:gd name="T46" fmla="*/ 2147483647 w 599"/>
                <a:gd name="T47" fmla="*/ 2147483647 h 993"/>
                <a:gd name="T48" fmla="*/ 2147483647 w 599"/>
                <a:gd name="T49" fmla="*/ 2147483647 h 993"/>
                <a:gd name="T50" fmla="*/ 2147483647 w 599"/>
                <a:gd name="T51" fmla="*/ 2147483647 h 993"/>
                <a:gd name="T52" fmla="*/ 2147483647 w 599"/>
                <a:gd name="T53" fmla="*/ 2147483647 h 993"/>
                <a:gd name="T54" fmla="*/ 2147483647 w 599"/>
                <a:gd name="T55" fmla="*/ 2147483647 h 993"/>
                <a:gd name="T56" fmla="*/ 2147483647 w 599"/>
                <a:gd name="T57" fmla="*/ 2147483647 h 993"/>
                <a:gd name="T58" fmla="*/ 2147483647 w 599"/>
                <a:gd name="T59" fmla="*/ 2147483647 h 993"/>
                <a:gd name="T60" fmla="*/ 2147483647 w 599"/>
                <a:gd name="T61" fmla="*/ 2147483647 h 993"/>
                <a:gd name="T62" fmla="*/ 2147483647 w 599"/>
                <a:gd name="T63" fmla="*/ 2147483647 h 993"/>
                <a:gd name="T64" fmla="*/ 2147483647 w 599"/>
                <a:gd name="T65" fmla="*/ 2147483647 h 993"/>
                <a:gd name="T66" fmla="*/ 2147483647 w 599"/>
                <a:gd name="T67" fmla="*/ 2147483647 h 993"/>
                <a:gd name="T68" fmla="*/ 2147483647 w 599"/>
                <a:gd name="T69" fmla="*/ 2147483647 h 993"/>
                <a:gd name="T70" fmla="*/ 2147483647 w 599"/>
                <a:gd name="T71" fmla="*/ 2147483647 h 993"/>
                <a:gd name="T72" fmla="*/ 2147483647 w 599"/>
                <a:gd name="T73" fmla="*/ 2147483647 h 993"/>
                <a:gd name="T74" fmla="*/ 2147483647 w 599"/>
                <a:gd name="T75" fmla="*/ 2147483647 h 993"/>
                <a:gd name="T76" fmla="*/ 2147483647 w 599"/>
                <a:gd name="T77" fmla="*/ 2147483647 h 993"/>
                <a:gd name="T78" fmla="*/ 2147483647 w 599"/>
                <a:gd name="T79" fmla="*/ 2147483647 h 993"/>
                <a:gd name="T80" fmla="*/ 2147483647 w 599"/>
                <a:gd name="T81" fmla="*/ 2147483647 h 993"/>
                <a:gd name="T82" fmla="*/ 2147483647 w 599"/>
                <a:gd name="T83" fmla="*/ 2147483647 h 993"/>
                <a:gd name="T84" fmla="*/ 2147483647 w 599"/>
                <a:gd name="T85" fmla="*/ 2147483647 h 993"/>
                <a:gd name="T86" fmla="*/ 2147483647 w 599"/>
                <a:gd name="T87" fmla="*/ 2147483647 h 993"/>
                <a:gd name="T88" fmla="*/ 2147483647 w 599"/>
                <a:gd name="T89" fmla="*/ 2147483647 h 993"/>
                <a:gd name="T90" fmla="*/ 2147483647 w 599"/>
                <a:gd name="T91" fmla="*/ 2147483647 h 993"/>
                <a:gd name="T92" fmla="*/ 2147483647 w 599"/>
                <a:gd name="T93" fmla="*/ 2147483647 h 993"/>
                <a:gd name="T94" fmla="*/ 2147483647 w 599"/>
                <a:gd name="T95" fmla="*/ 2147483647 h 993"/>
                <a:gd name="T96" fmla="*/ 2147483647 w 599"/>
                <a:gd name="T97" fmla="*/ 2147483647 h 993"/>
                <a:gd name="T98" fmla="*/ 2147483647 w 599"/>
                <a:gd name="T99" fmla="*/ 2147483647 h 993"/>
                <a:gd name="T100" fmla="*/ 2147483647 w 599"/>
                <a:gd name="T101" fmla="*/ 2147483647 h 993"/>
                <a:gd name="T102" fmla="*/ 2147483647 w 599"/>
                <a:gd name="T103" fmla="*/ 2147483647 h 99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99" h="993">
                  <a:moveTo>
                    <a:pt x="15" y="309"/>
                  </a:moveTo>
                  <a:lnTo>
                    <a:pt x="9" y="291"/>
                  </a:lnTo>
                  <a:lnTo>
                    <a:pt x="3" y="273"/>
                  </a:lnTo>
                  <a:lnTo>
                    <a:pt x="1" y="266"/>
                  </a:lnTo>
                  <a:lnTo>
                    <a:pt x="0" y="259"/>
                  </a:lnTo>
                  <a:lnTo>
                    <a:pt x="0" y="253"/>
                  </a:lnTo>
                  <a:lnTo>
                    <a:pt x="2" y="248"/>
                  </a:lnTo>
                  <a:lnTo>
                    <a:pt x="174" y="216"/>
                  </a:lnTo>
                  <a:lnTo>
                    <a:pt x="177" y="220"/>
                  </a:lnTo>
                  <a:lnTo>
                    <a:pt x="182" y="224"/>
                  </a:lnTo>
                  <a:lnTo>
                    <a:pt x="187" y="227"/>
                  </a:lnTo>
                  <a:lnTo>
                    <a:pt x="193" y="229"/>
                  </a:lnTo>
                  <a:lnTo>
                    <a:pt x="207" y="234"/>
                  </a:lnTo>
                  <a:lnTo>
                    <a:pt x="222" y="238"/>
                  </a:lnTo>
                  <a:lnTo>
                    <a:pt x="230" y="240"/>
                  </a:lnTo>
                  <a:lnTo>
                    <a:pt x="237" y="242"/>
                  </a:lnTo>
                  <a:lnTo>
                    <a:pt x="243" y="245"/>
                  </a:lnTo>
                  <a:lnTo>
                    <a:pt x="249" y="249"/>
                  </a:lnTo>
                  <a:lnTo>
                    <a:pt x="253" y="253"/>
                  </a:lnTo>
                  <a:lnTo>
                    <a:pt x="258" y="258"/>
                  </a:lnTo>
                  <a:lnTo>
                    <a:pt x="260" y="264"/>
                  </a:lnTo>
                  <a:lnTo>
                    <a:pt x="261" y="272"/>
                  </a:lnTo>
                  <a:lnTo>
                    <a:pt x="260" y="280"/>
                  </a:lnTo>
                  <a:lnTo>
                    <a:pt x="256" y="289"/>
                  </a:lnTo>
                  <a:lnTo>
                    <a:pt x="252" y="296"/>
                  </a:lnTo>
                  <a:lnTo>
                    <a:pt x="248" y="302"/>
                  </a:lnTo>
                  <a:lnTo>
                    <a:pt x="242" y="308"/>
                  </a:lnTo>
                  <a:lnTo>
                    <a:pt x="238" y="314"/>
                  </a:lnTo>
                  <a:lnTo>
                    <a:pt x="236" y="321"/>
                  </a:lnTo>
                  <a:lnTo>
                    <a:pt x="234" y="327"/>
                  </a:lnTo>
                  <a:lnTo>
                    <a:pt x="234" y="333"/>
                  </a:lnTo>
                  <a:lnTo>
                    <a:pt x="236" y="338"/>
                  </a:lnTo>
                  <a:lnTo>
                    <a:pt x="238" y="344"/>
                  </a:lnTo>
                  <a:lnTo>
                    <a:pt x="241" y="349"/>
                  </a:lnTo>
                  <a:lnTo>
                    <a:pt x="250" y="357"/>
                  </a:lnTo>
                  <a:lnTo>
                    <a:pt x="259" y="365"/>
                  </a:lnTo>
                  <a:lnTo>
                    <a:pt x="278" y="378"/>
                  </a:lnTo>
                  <a:lnTo>
                    <a:pt x="294" y="389"/>
                  </a:lnTo>
                  <a:lnTo>
                    <a:pt x="294" y="376"/>
                  </a:lnTo>
                  <a:lnTo>
                    <a:pt x="294" y="365"/>
                  </a:lnTo>
                  <a:lnTo>
                    <a:pt x="294" y="356"/>
                  </a:lnTo>
                  <a:lnTo>
                    <a:pt x="294" y="346"/>
                  </a:lnTo>
                  <a:lnTo>
                    <a:pt x="305" y="346"/>
                  </a:lnTo>
                  <a:lnTo>
                    <a:pt x="315" y="343"/>
                  </a:lnTo>
                  <a:lnTo>
                    <a:pt x="319" y="340"/>
                  </a:lnTo>
                  <a:lnTo>
                    <a:pt x="323" y="338"/>
                  </a:lnTo>
                  <a:lnTo>
                    <a:pt x="327" y="335"/>
                  </a:lnTo>
                  <a:lnTo>
                    <a:pt x="329" y="332"/>
                  </a:lnTo>
                  <a:lnTo>
                    <a:pt x="334" y="326"/>
                  </a:lnTo>
                  <a:lnTo>
                    <a:pt x="338" y="317"/>
                  </a:lnTo>
                  <a:lnTo>
                    <a:pt x="340" y="308"/>
                  </a:lnTo>
                  <a:lnTo>
                    <a:pt x="340" y="297"/>
                  </a:lnTo>
                  <a:lnTo>
                    <a:pt x="339" y="283"/>
                  </a:lnTo>
                  <a:lnTo>
                    <a:pt x="337" y="272"/>
                  </a:lnTo>
                  <a:lnTo>
                    <a:pt x="332" y="261"/>
                  </a:lnTo>
                  <a:lnTo>
                    <a:pt x="327" y="251"/>
                  </a:lnTo>
                  <a:lnTo>
                    <a:pt x="322" y="240"/>
                  </a:lnTo>
                  <a:lnTo>
                    <a:pt x="318" y="229"/>
                  </a:lnTo>
                  <a:lnTo>
                    <a:pt x="315" y="217"/>
                  </a:lnTo>
                  <a:lnTo>
                    <a:pt x="314" y="204"/>
                  </a:lnTo>
                  <a:lnTo>
                    <a:pt x="309" y="202"/>
                  </a:lnTo>
                  <a:lnTo>
                    <a:pt x="301" y="194"/>
                  </a:lnTo>
                  <a:lnTo>
                    <a:pt x="292" y="184"/>
                  </a:lnTo>
                  <a:lnTo>
                    <a:pt x="282" y="171"/>
                  </a:lnTo>
                  <a:lnTo>
                    <a:pt x="271" y="157"/>
                  </a:lnTo>
                  <a:lnTo>
                    <a:pt x="262" y="144"/>
                  </a:lnTo>
                  <a:lnTo>
                    <a:pt x="259" y="139"/>
                  </a:lnTo>
                  <a:lnTo>
                    <a:pt x="256" y="133"/>
                  </a:lnTo>
                  <a:lnTo>
                    <a:pt x="254" y="128"/>
                  </a:lnTo>
                  <a:lnTo>
                    <a:pt x="254" y="125"/>
                  </a:lnTo>
                  <a:lnTo>
                    <a:pt x="255" y="110"/>
                  </a:lnTo>
                  <a:lnTo>
                    <a:pt x="259" y="90"/>
                  </a:lnTo>
                  <a:lnTo>
                    <a:pt x="262" y="80"/>
                  </a:lnTo>
                  <a:lnTo>
                    <a:pt x="265" y="71"/>
                  </a:lnTo>
                  <a:lnTo>
                    <a:pt x="270" y="62"/>
                  </a:lnTo>
                  <a:lnTo>
                    <a:pt x="274" y="56"/>
                  </a:lnTo>
                  <a:lnTo>
                    <a:pt x="286" y="57"/>
                  </a:lnTo>
                  <a:lnTo>
                    <a:pt x="298" y="58"/>
                  </a:lnTo>
                  <a:lnTo>
                    <a:pt x="309" y="57"/>
                  </a:lnTo>
                  <a:lnTo>
                    <a:pt x="320" y="55"/>
                  </a:lnTo>
                  <a:lnTo>
                    <a:pt x="343" y="52"/>
                  </a:lnTo>
                  <a:lnTo>
                    <a:pt x="367" y="50"/>
                  </a:lnTo>
                  <a:lnTo>
                    <a:pt x="378" y="52"/>
                  </a:lnTo>
                  <a:lnTo>
                    <a:pt x="398" y="56"/>
                  </a:lnTo>
                  <a:lnTo>
                    <a:pt x="418" y="60"/>
                  </a:lnTo>
                  <a:lnTo>
                    <a:pt x="433" y="62"/>
                  </a:lnTo>
                  <a:lnTo>
                    <a:pt x="445" y="60"/>
                  </a:lnTo>
                  <a:lnTo>
                    <a:pt x="466" y="54"/>
                  </a:lnTo>
                  <a:lnTo>
                    <a:pt x="493" y="46"/>
                  </a:lnTo>
                  <a:lnTo>
                    <a:pt x="521" y="36"/>
                  </a:lnTo>
                  <a:lnTo>
                    <a:pt x="550" y="26"/>
                  </a:lnTo>
                  <a:lnTo>
                    <a:pt x="574" y="16"/>
                  </a:lnTo>
                  <a:lnTo>
                    <a:pt x="584" y="12"/>
                  </a:lnTo>
                  <a:lnTo>
                    <a:pt x="591" y="7"/>
                  </a:lnTo>
                  <a:lnTo>
                    <a:pt x="597" y="3"/>
                  </a:lnTo>
                  <a:lnTo>
                    <a:pt x="599" y="0"/>
                  </a:lnTo>
                  <a:lnTo>
                    <a:pt x="598" y="12"/>
                  </a:lnTo>
                  <a:lnTo>
                    <a:pt x="597" y="20"/>
                  </a:lnTo>
                  <a:lnTo>
                    <a:pt x="597" y="25"/>
                  </a:lnTo>
                  <a:lnTo>
                    <a:pt x="597" y="30"/>
                  </a:lnTo>
                  <a:lnTo>
                    <a:pt x="598" y="36"/>
                  </a:lnTo>
                  <a:lnTo>
                    <a:pt x="599" y="44"/>
                  </a:lnTo>
                  <a:lnTo>
                    <a:pt x="599" y="76"/>
                  </a:lnTo>
                  <a:lnTo>
                    <a:pt x="598" y="102"/>
                  </a:lnTo>
                  <a:lnTo>
                    <a:pt x="597" y="126"/>
                  </a:lnTo>
                  <a:lnTo>
                    <a:pt x="596" y="146"/>
                  </a:lnTo>
                  <a:lnTo>
                    <a:pt x="595" y="165"/>
                  </a:lnTo>
                  <a:lnTo>
                    <a:pt x="594" y="185"/>
                  </a:lnTo>
                  <a:lnTo>
                    <a:pt x="592" y="205"/>
                  </a:lnTo>
                  <a:lnTo>
                    <a:pt x="592" y="228"/>
                  </a:lnTo>
                  <a:lnTo>
                    <a:pt x="592" y="239"/>
                  </a:lnTo>
                  <a:lnTo>
                    <a:pt x="591" y="249"/>
                  </a:lnTo>
                  <a:lnTo>
                    <a:pt x="589" y="258"/>
                  </a:lnTo>
                  <a:lnTo>
                    <a:pt x="587" y="267"/>
                  </a:lnTo>
                  <a:lnTo>
                    <a:pt x="585" y="276"/>
                  </a:lnTo>
                  <a:lnTo>
                    <a:pt x="581" y="285"/>
                  </a:lnTo>
                  <a:lnTo>
                    <a:pt x="577" y="295"/>
                  </a:lnTo>
                  <a:lnTo>
                    <a:pt x="573" y="304"/>
                  </a:lnTo>
                  <a:lnTo>
                    <a:pt x="562" y="321"/>
                  </a:lnTo>
                  <a:lnTo>
                    <a:pt x="550" y="337"/>
                  </a:lnTo>
                  <a:lnTo>
                    <a:pt x="535" y="353"/>
                  </a:lnTo>
                  <a:lnTo>
                    <a:pt x="520" y="367"/>
                  </a:lnTo>
                  <a:lnTo>
                    <a:pt x="503" y="379"/>
                  </a:lnTo>
                  <a:lnTo>
                    <a:pt x="487" y="391"/>
                  </a:lnTo>
                  <a:lnTo>
                    <a:pt x="468" y="402"/>
                  </a:lnTo>
                  <a:lnTo>
                    <a:pt x="450" y="410"/>
                  </a:lnTo>
                  <a:lnTo>
                    <a:pt x="431" y="417"/>
                  </a:lnTo>
                  <a:lnTo>
                    <a:pt x="411" y="422"/>
                  </a:lnTo>
                  <a:lnTo>
                    <a:pt x="393" y="425"/>
                  </a:lnTo>
                  <a:lnTo>
                    <a:pt x="374" y="426"/>
                  </a:lnTo>
                  <a:lnTo>
                    <a:pt x="372" y="433"/>
                  </a:lnTo>
                  <a:lnTo>
                    <a:pt x="368" y="440"/>
                  </a:lnTo>
                  <a:lnTo>
                    <a:pt x="365" y="446"/>
                  </a:lnTo>
                  <a:lnTo>
                    <a:pt x="362" y="452"/>
                  </a:lnTo>
                  <a:lnTo>
                    <a:pt x="353" y="464"/>
                  </a:lnTo>
                  <a:lnTo>
                    <a:pt x="342" y="474"/>
                  </a:lnTo>
                  <a:lnTo>
                    <a:pt x="331" y="483"/>
                  </a:lnTo>
                  <a:lnTo>
                    <a:pt x="318" y="491"/>
                  </a:lnTo>
                  <a:lnTo>
                    <a:pt x="306" y="499"/>
                  </a:lnTo>
                  <a:lnTo>
                    <a:pt x="293" y="507"/>
                  </a:lnTo>
                  <a:lnTo>
                    <a:pt x="281" y="516"/>
                  </a:lnTo>
                  <a:lnTo>
                    <a:pt x="269" y="525"/>
                  </a:lnTo>
                  <a:lnTo>
                    <a:pt x="258" y="534"/>
                  </a:lnTo>
                  <a:lnTo>
                    <a:pt x="248" y="544"/>
                  </a:lnTo>
                  <a:lnTo>
                    <a:pt x="243" y="549"/>
                  </a:lnTo>
                  <a:lnTo>
                    <a:pt x="239" y="555"/>
                  </a:lnTo>
                  <a:lnTo>
                    <a:pt x="236" y="561"/>
                  </a:lnTo>
                  <a:lnTo>
                    <a:pt x="232" y="568"/>
                  </a:lnTo>
                  <a:lnTo>
                    <a:pt x="230" y="575"/>
                  </a:lnTo>
                  <a:lnTo>
                    <a:pt x="229" y="582"/>
                  </a:lnTo>
                  <a:lnTo>
                    <a:pt x="228" y="590"/>
                  </a:lnTo>
                  <a:lnTo>
                    <a:pt x="227" y="598"/>
                  </a:lnTo>
                  <a:lnTo>
                    <a:pt x="228" y="604"/>
                  </a:lnTo>
                  <a:lnTo>
                    <a:pt x="231" y="611"/>
                  </a:lnTo>
                  <a:lnTo>
                    <a:pt x="237" y="619"/>
                  </a:lnTo>
                  <a:lnTo>
                    <a:pt x="242" y="629"/>
                  </a:lnTo>
                  <a:lnTo>
                    <a:pt x="249" y="637"/>
                  </a:lnTo>
                  <a:lnTo>
                    <a:pt x="255" y="645"/>
                  </a:lnTo>
                  <a:lnTo>
                    <a:pt x="262" y="650"/>
                  </a:lnTo>
                  <a:lnTo>
                    <a:pt x="267" y="654"/>
                  </a:lnTo>
                  <a:lnTo>
                    <a:pt x="262" y="663"/>
                  </a:lnTo>
                  <a:lnTo>
                    <a:pt x="258" y="671"/>
                  </a:lnTo>
                  <a:lnTo>
                    <a:pt x="255" y="680"/>
                  </a:lnTo>
                  <a:lnTo>
                    <a:pt x="254" y="685"/>
                  </a:lnTo>
                  <a:lnTo>
                    <a:pt x="254" y="694"/>
                  </a:lnTo>
                  <a:lnTo>
                    <a:pt x="256" y="701"/>
                  </a:lnTo>
                  <a:lnTo>
                    <a:pt x="258" y="709"/>
                  </a:lnTo>
                  <a:lnTo>
                    <a:pt x="261" y="715"/>
                  </a:lnTo>
                  <a:lnTo>
                    <a:pt x="263" y="722"/>
                  </a:lnTo>
                  <a:lnTo>
                    <a:pt x="265" y="729"/>
                  </a:lnTo>
                  <a:lnTo>
                    <a:pt x="266" y="738"/>
                  </a:lnTo>
                  <a:lnTo>
                    <a:pt x="267" y="747"/>
                  </a:lnTo>
                  <a:lnTo>
                    <a:pt x="267" y="766"/>
                  </a:lnTo>
                  <a:lnTo>
                    <a:pt x="267" y="780"/>
                  </a:lnTo>
                  <a:lnTo>
                    <a:pt x="267" y="790"/>
                  </a:lnTo>
                  <a:lnTo>
                    <a:pt x="267" y="796"/>
                  </a:lnTo>
                  <a:lnTo>
                    <a:pt x="266" y="799"/>
                  </a:lnTo>
                  <a:lnTo>
                    <a:pt x="264" y="803"/>
                  </a:lnTo>
                  <a:lnTo>
                    <a:pt x="261" y="808"/>
                  </a:lnTo>
                  <a:lnTo>
                    <a:pt x="256" y="814"/>
                  </a:lnTo>
                  <a:lnTo>
                    <a:pt x="244" y="827"/>
                  </a:lnTo>
                  <a:lnTo>
                    <a:pt x="230" y="841"/>
                  </a:lnTo>
                  <a:lnTo>
                    <a:pt x="215" y="856"/>
                  </a:lnTo>
                  <a:lnTo>
                    <a:pt x="200" y="868"/>
                  </a:lnTo>
                  <a:lnTo>
                    <a:pt x="193" y="873"/>
                  </a:lnTo>
                  <a:lnTo>
                    <a:pt x="186" y="877"/>
                  </a:lnTo>
                  <a:lnTo>
                    <a:pt x="180" y="880"/>
                  </a:lnTo>
                  <a:lnTo>
                    <a:pt x="174" y="882"/>
                  </a:lnTo>
                  <a:lnTo>
                    <a:pt x="161" y="885"/>
                  </a:lnTo>
                  <a:lnTo>
                    <a:pt x="147" y="887"/>
                  </a:lnTo>
                  <a:lnTo>
                    <a:pt x="132" y="889"/>
                  </a:lnTo>
                  <a:lnTo>
                    <a:pt x="118" y="890"/>
                  </a:lnTo>
                  <a:lnTo>
                    <a:pt x="113" y="891"/>
                  </a:lnTo>
                  <a:lnTo>
                    <a:pt x="106" y="892"/>
                  </a:lnTo>
                  <a:lnTo>
                    <a:pt x="102" y="894"/>
                  </a:lnTo>
                  <a:lnTo>
                    <a:pt x="96" y="896"/>
                  </a:lnTo>
                  <a:lnTo>
                    <a:pt x="93" y="900"/>
                  </a:lnTo>
                  <a:lnTo>
                    <a:pt x="91" y="904"/>
                  </a:lnTo>
                  <a:lnTo>
                    <a:pt x="88" y="908"/>
                  </a:lnTo>
                  <a:lnTo>
                    <a:pt x="87" y="913"/>
                  </a:lnTo>
                  <a:lnTo>
                    <a:pt x="88" y="920"/>
                  </a:lnTo>
                  <a:lnTo>
                    <a:pt x="90" y="925"/>
                  </a:lnTo>
                  <a:lnTo>
                    <a:pt x="91" y="931"/>
                  </a:lnTo>
                  <a:lnTo>
                    <a:pt x="93" y="935"/>
                  </a:lnTo>
                  <a:lnTo>
                    <a:pt x="95" y="939"/>
                  </a:lnTo>
                  <a:lnTo>
                    <a:pt x="99" y="941"/>
                  </a:lnTo>
                  <a:lnTo>
                    <a:pt x="103" y="943"/>
                  </a:lnTo>
                  <a:lnTo>
                    <a:pt x="108" y="943"/>
                  </a:lnTo>
                  <a:lnTo>
                    <a:pt x="94" y="993"/>
                  </a:lnTo>
                  <a:lnTo>
                    <a:pt x="91" y="992"/>
                  </a:lnTo>
                  <a:lnTo>
                    <a:pt x="82" y="990"/>
                  </a:lnTo>
                  <a:lnTo>
                    <a:pt x="75" y="988"/>
                  </a:lnTo>
                  <a:lnTo>
                    <a:pt x="74" y="987"/>
                  </a:lnTo>
                  <a:lnTo>
                    <a:pt x="74" y="820"/>
                  </a:lnTo>
                  <a:lnTo>
                    <a:pt x="74" y="810"/>
                  </a:lnTo>
                  <a:lnTo>
                    <a:pt x="73" y="801"/>
                  </a:lnTo>
                  <a:lnTo>
                    <a:pt x="71" y="793"/>
                  </a:lnTo>
                  <a:lnTo>
                    <a:pt x="70" y="785"/>
                  </a:lnTo>
                  <a:lnTo>
                    <a:pt x="64" y="774"/>
                  </a:lnTo>
                  <a:lnTo>
                    <a:pt x="58" y="765"/>
                  </a:lnTo>
                  <a:lnTo>
                    <a:pt x="52" y="755"/>
                  </a:lnTo>
                  <a:lnTo>
                    <a:pt x="47" y="744"/>
                  </a:lnTo>
                  <a:lnTo>
                    <a:pt x="45" y="738"/>
                  </a:lnTo>
                  <a:lnTo>
                    <a:pt x="42" y="729"/>
                  </a:lnTo>
                  <a:lnTo>
                    <a:pt x="41" y="720"/>
                  </a:lnTo>
                  <a:lnTo>
                    <a:pt x="41" y="709"/>
                  </a:lnTo>
                  <a:lnTo>
                    <a:pt x="51" y="704"/>
                  </a:lnTo>
                  <a:lnTo>
                    <a:pt x="72" y="690"/>
                  </a:lnTo>
                  <a:lnTo>
                    <a:pt x="95" y="675"/>
                  </a:lnTo>
                  <a:lnTo>
                    <a:pt x="108" y="666"/>
                  </a:lnTo>
                  <a:lnTo>
                    <a:pt x="107" y="653"/>
                  </a:lnTo>
                  <a:lnTo>
                    <a:pt x="106" y="636"/>
                  </a:lnTo>
                  <a:lnTo>
                    <a:pt x="106" y="627"/>
                  </a:lnTo>
                  <a:lnTo>
                    <a:pt x="108" y="617"/>
                  </a:lnTo>
                  <a:lnTo>
                    <a:pt x="109" y="614"/>
                  </a:lnTo>
                  <a:lnTo>
                    <a:pt x="110" y="610"/>
                  </a:lnTo>
                  <a:lnTo>
                    <a:pt x="113" y="607"/>
                  </a:lnTo>
                  <a:lnTo>
                    <a:pt x="115" y="604"/>
                  </a:lnTo>
                  <a:lnTo>
                    <a:pt x="129" y="591"/>
                  </a:lnTo>
                  <a:lnTo>
                    <a:pt x="149" y="571"/>
                  </a:lnTo>
                  <a:lnTo>
                    <a:pt x="159" y="558"/>
                  </a:lnTo>
                  <a:lnTo>
                    <a:pt x="166" y="546"/>
                  </a:lnTo>
                  <a:lnTo>
                    <a:pt x="170" y="539"/>
                  </a:lnTo>
                  <a:lnTo>
                    <a:pt x="172" y="532"/>
                  </a:lnTo>
                  <a:lnTo>
                    <a:pt x="174" y="526"/>
                  </a:lnTo>
                  <a:lnTo>
                    <a:pt x="174" y="519"/>
                  </a:lnTo>
                  <a:lnTo>
                    <a:pt x="174" y="498"/>
                  </a:lnTo>
                  <a:lnTo>
                    <a:pt x="172" y="479"/>
                  </a:lnTo>
                  <a:lnTo>
                    <a:pt x="170" y="460"/>
                  </a:lnTo>
                  <a:lnTo>
                    <a:pt x="168" y="441"/>
                  </a:lnTo>
                  <a:lnTo>
                    <a:pt x="165" y="423"/>
                  </a:lnTo>
                  <a:lnTo>
                    <a:pt x="163" y="404"/>
                  </a:lnTo>
                  <a:lnTo>
                    <a:pt x="161" y="384"/>
                  </a:lnTo>
                  <a:lnTo>
                    <a:pt x="161" y="364"/>
                  </a:lnTo>
                  <a:lnTo>
                    <a:pt x="152" y="364"/>
                  </a:lnTo>
                  <a:lnTo>
                    <a:pt x="142" y="363"/>
                  </a:lnTo>
                  <a:lnTo>
                    <a:pt x="132" y="361"/>
                  </a:lnTo>
                  <a:lnTo>
                    <a:pt x="122" y="358"/>
                  </a:lnTo>
                  <a:lnTo>
                    <a:pt x="102" y="350"/>
                  </a:lnTo>
                  <a:lnTo>
                    <a:pt x="81" y="341"/>
                  </a:lnTo>
                  <a:lnTo>
                    <a:pt x="42" y="323"/>
                  </a:lnTo>
                  <a:lnTo>
                    <a:pt x="15" y="30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5" name="Freeform 252"/>
            <p:cNvSpPr>
              <a:spLocks/>
            </p:cNvSpPr>
            <p:nvPr>
              <p:custDataLst>
                <p:tags r:id="rId180"/>
              </p:custDataLst>
            </p:nvPr>
          </p:nvSpPr>
          <p:spPr bwMode="auto">
            <a:xfrm>
              <a:off x="6610982" y="4905814"/>
              <a:ext cx="238125" cy="287338"/>
            </a:xfrm>
            <a:custGeom>
              <a:avLst/>
              <a:gdLst>
                <a:gd name="T0" fmla="*/ 2147483647 w 545"/>
                <a:gd name="T1" fmla="*/ 2147483647 h 549"/>
                <a:gd name="T2" fmla="*/ 2147483647 w 545"/>
                <a:gd name="T3" fmla="*/ 2147483647 h 549"/>
                <a:gd name="T4" fmla="*/ 2147483647 w 545"/>
                <a:gd name="T5" fmla="*/ 2147483647 h 549"/>
                <a:gd name="T6" fmla="*/ 2147483647 w 545"/>
                <a:gd name="T7" fmla="*/ 2147483647 h 549"/>
                <a:gd name="T8" fmla="*/ 2147483647 w 545"/>
                <a:gd name="T9" fmla="*/ 2147483647 h 549"/>
                <a:gd name="T10" fmla="*/ 2147483647 w 545"/>
                <a:gd name="T11" fmla="*/ 2147483647 h 549"/>
                <a:gd name="T12" fmla="*/ 2147483647 w 545"/>
                <a:gd name="T13" fmla="*/ 2147483647 h 549"/>
                <a:gd name="T14" fmla="*/ 2147483647 w 545"/>
                <a:gd name="T15" fmla="*/ 2147483647 h 549"/>
                <a:gd name="T16" fmla="*/ 2147483647 w 545"/>
                <a:gd name="T17" fmla="*/ 2147483647 h 549"/>
                <a:gd name="T18" fmla="*/ 2147483647 w 545"/>
                <a:gd name="T19" fmla="*/ 2147483647 h 549"/>
                <a:gd name="T20" fmla="*/ 2147483647 w 545"/>
                <a:gd name="T21" fmla="*/ 2147483647 h 549"/>
                <a:gd name="T22" fmla="*/ 2147483647 w 545"/>
                <a:gd name="T23" fmla="*/ 2147483647 h 549"/>
                <a:gd name="T24" fmla="*/ 2147483647 w 545"/>
                <a:gd name="T25" fmla="*/ 2147483647 h 549"/>
                <a:gd name="T26" fmla="*/ 2147483647 w 545"/>
                <a:gd name="T27" fmla="*/ 2147483647 h 549"/>
                <a:gd name="T28" fmla="*/ 2147483647 w 545"/>
                <a:gd name="T29" fmla="*/ 2147483647 h 549"/>
                <a:gd name="T30" fmla="*/ 2147483647 w 545"/>
                <a:gd name="T31" fmla="*/ 2147483647 h 549"/>
                <a:gd name="T32" fmla="*/ 2147483647 w 545"/>
                <a:gd name="T33" fmla="*/ 2147483647 h 549"/>
                <a:gd name="T34" fmla="*/ 2147483647 w 545"/>
                <a:gd name="T35" fmla="*/ 2147483647 h 549"/>
                <a:gd name="T36" fmla="*/ 2147483647 w 545"/>
                <a:gd name="T37" fmla="*/ 2147483647 h 549"/>
                <a:gd name="T38" fmla="*/ 2147483647 w 545"/>
                <a:gd name="T39" fmla="*/ 2147483647 h 549"/>
                <a:gd name="T40" fmla="*/ 2147483647 w 545"/>
                <a:gd name="T41" fmla="*/ 2147483647 h 549"/>
                <a:gd name="T42" fmla="*/ 2147483647 w 545"/>
                <a:gd name="T43" fmla="*/ 2147483647 h 549"/>
                <a:gd name="T44" fmla="*/ 2147483647 w 545"/>
                <a:gd name="T45" fmla="*/ 2147483647 h 549"/>
                <a:gd name="T46" fmla="*/ 2147483647 w 545"/>
                <a:gd name="T47" fmla="*/ 2147483647 h 549"/>
                <a:gd name="T48" fmla="*/ 2147483647 w 545"/>
                <a:gd name="T49" fmla="*/ 2147483647 h 549"/>
                <a:gd name="T50" fmla="*/ 2147483647 w 545"/>
                <a:gd name="T51" fmla="*/ 2147483647 h 549"/>
                <a:gd name="T52" fmla="*/ 2147483647 w 545"/>
                <a:gd name="T53" fmla="*/ 2147483647 h 549"/>
                <a:gd name="T54" fmla="*/ 2147483647 w 545"/>
                <a:gd name="T55" fmla="*/ 2147483647 h 549"/>
                <a:gd name="T56" fmla="*/ 2147483647 w 545"/>
                <a:gd name="T57" fmla="*/ 2147483647 h 549"/>
                <a:gd name="T58" fmla="*/ 2147483647 w 545"/>
                <a:gd name="T59" fmla="*/ 2147483647 h 549"/>
                <a:gd name="T60" fmla="*/ 2147483647 w 545"/>
                <a:gd name="T61" fmla="*/ 2147483647 h 549"/>
                <a:gd name="T62" fmla="*/ 2147483647 w 545"/>
                <a:gd name="T63" fmla="*/ 2147483647 h 549"/>
                <a:gd name="T64" fmla="*/ 2147483647 w 545"/>
                <a:gd name="T65" fmla="*/ 0 h 549"/>
                <a:gd name="T66" fmla="*/ 2147483647 w 545"/>
                <a:gd name="T67" fmla="*/ 2147483647 h 549"/>
                <a:gd name="T68" fmla="*/ 2147483647 w 545"/>
                <a:gd name="T69" fmla="*/ 2147483647 h 549"/>
                <a:gd name="T70" fmla="*/ 2147483647 w 545"/>
                <a:gd name="T71" fmla="*/ 2147483647 h 549"/>
                <a:gd name="T72" fmla="*/ 2147483647 w 545"/>
                <a:gd name="T73" fmla="*/ 2147483647 h 549"/>
                <a:gd name="T74" fmla="*/ 2147483647 w 545"/>
                <a:gd name="T75" fmla="*/ 2147483647 h 549"/>
                <a:gd name="T76" fmla="*/ 2147483647 w 545"/>
                <a:gd name="T77" fmla="*/ 2147483647 h 549"/>
                <a:gd name="T78" fmla="*/ 2147483647 w 545"/>
                <a:gd name="T79" fmla="*/ 2147483647 h 549"/>
                <a:gd name="T80" fmla="*/ 2147483647 w 545"/>
                <a:gd name="T81" fmla="*/ 2147483647 h 549"/>
                <a:gd name="T82" fmla="*/ 2147483647 w 545"/>
                <a:gd name="T83" fmla="*/ 2147483647 h 549"/>
                <a:gd name="T84" fmla="*/ 2147483647 w 545"/>
                <a:gd name="T85" fmla="*/ 2147483647 h 549"/>
                <a:gd name="T86" fmla="*/ 2147483647 w 545"/>
                <a:gd name="T87" fmla="*/ 2147483647 h 549"/>
                <a:gd name="T88" fmla="*/ 2147483647 w 545"/>
                <a:gd name="T89" fmla="*/ 2147483647 h 549"/>
                <a:gd name="T90" fmla="*/ 2147483647 w 545"/>
                <a:gd name="T91" fmla="*/ 2147483647 h 549"/>
                <a:gd name="T92" fmla="*/ 2147483647 w 545"/>
                <a:gd name="T93" fmla="*/ 2147483647 h 549"/>
                <a:gd name="T94" fmla="*/ 2147483647 w 545"/>
                <a:gd name="T95" fmla="*/ 2147483647 h 549"/>
                <a:gd name="T96" fmla="*/ 2147483647 w 545"/>
                <a:gd name="T97" fmla="*/ 2147483647 h 549"/>
                <a:gd name="T98" fmla="*/ 0 w 545"/>
                <a:gd name="T99" fmla="*/ 2147483647 h 549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545" h="549">
                  <a:moveTo>
                    <a:pt x="13" y="420"/>
                  </a:moveTo>
                  <a:lnTo>
                    <a:pt x="21" y="424"/>
                  </a:lnTo>
                  <a:lnTo>
                    <a:pt x="30" y="428"/>
                  </a:lnTo>
                  <a:lnTo>
                    <a:pt x="40" y="431"/>
                  </a:lnTo>
                  <a:lnTo>
                    <a:pt x="46" y="432"/>
                  </a:lnTo>
                  <a:lnTo>
                    <a:pt x="46" y="454"/>
                  </a:lnTo>
                  <a:lnTo>
                    <a:pt x="46" y="472"/>
                  </a:lnTo>
                  <a:lnTo>
                    <a:pt x="46" y="491"/>
                  </a:lnTo>
                  <a:lnTo>
                    <a:pt x="46" y="512"/>
                  </a:lnTo>
                  <a:lnTo>
                    <a:pt x="47" y="518"/>
                  </a:lnTo>
                  <a:lnTo>
                    <a:pt x="47" y="523"/>
                  </a:lnTo>
                  <a:lnTo>
                    <a:pt x="48" y="527"/>
                  </a:lnTo>
                  <a:lnTo>
                    <a:pt x="51" y="531"/>
                  </a:lnTo>
                  <a:lnTo>
                    <a:pt x="53" y="534"/>
                  </a:lnTo>
                  <a:lnTo>
                    <a:pt x="55" y="537"/>
                  </a:lnTo>
                  <a:lnTo>
                    <a:pt x="57" y="540"/>
                  </a:lnTo>
                  <a:lnTo>
                    <a:pt x="61" y="542"/>
                  </a:lnTo>
                  <a:lnTo>
                    <a:pt x="68" y="545"/>
                  </a:lnTo>
                  <a:lnTo>
                    <a:pt x="77" y="547"/>
                  </a:lnTo>
                  <a:lnTo>
                    <a:pt x="88" y="548"/>
                  </a:lnTo>
                  <a:lnTo>
                    <a:pt x="100" y="549"/>
                  </a:lnTo>
                  <a:lnTo>
                    <a:pt x="104" y="548"/>
                  </a:lnTo>
                  <a:lnTo>
                    <a:pt x="109" y="548"/>
                  </a:lnTo>
                  <a:lnTo>
                    <a:pt x="113" y="546"/>
                  </a:lnTo>
                  <a:lnTo>
                    <a:pt x="117" y="544"/>
                  </a:lnTo>
                  <a:lnTo>
                    <a:pt x="123" y="539"/>
                  </a:lnTo>
                  <a:lnTo>
                    <a:pt x="130" y="533"/>
                  </a:lnTo>
                  <a:lnTo>
                    <a:pt x="134" y="525"/>
                  </a:lnTo>
                  <a:lnTo>
                    <a:pt x="138" y="516"/>
                  </a:lnTo>
                  <a:lnTo>
                    <a:pt x="143" y="507"/>
                  </a:lnTo>
                  <a:lnTo>
                    <a:pt x="146" y="496"/>
                  </a:lnTo>
                  <a:lnTo>
                    <a:pt x="151" y="487"/>
                  </a:lnTo>
                  <a:lnTo>
                    <a:pt x="154" y="477"/>
                  </a:lnTo>
                  <a:lnTo>
                    <a:pt x="158" y="469"/>
                  </a:lnTo>
                  <a:lnTo>
                    <a:pt x="164" y="461"/>
                  </a:lnTo>
                  <a:lnTo>
                    <a:pt x="169" y="454"/>
                  </a:lnTo>
                  <a:lnTo>
                    <a:pt x="176" y="448"/>
                  </a:lnTo>
                  <a:lnTo>
                    <a:pt x="179" y="446"/>
                  </a:lnTo>
                  <a:lnTo>
                    <a:pt x="183" y="445"/>
                  </a:lnTo>
                  <a:lnTo>
                    <a:pt x="188" y="444"/>
                  </a:lnTo>
                  <a:lnTo>
                    <a:pt x="193" y="444"/>
                  </a:lnTo>
                  <a:lnTo>
                    <a:pt x="201" y="444"/>
                  </a:lnTo>
                  <a:lnTo>
                    <a:pt x="209" y="445"/>
                  </a:lnTo>
                  <a:lnTo>
                    <a:pt x="215" y="446"/>
                  </a:lnTo>
                  <a:lnTo>
                    <a:pt x="222" y="448"/>
                  </a:lnTo>
                  <a:lnTo>
                    <a:pt x="232" y="453"/>
                  </a:lnTo>
                  <a:lnTo>
                    <a:pt x="242" y="457"/>
                  </a:lnTo>
                  <a:lnTo>
                    <a:pt x="252" y="461"/>
                  </a:lnTo>
                  <a:lnTo>
                    <a:pt x="261" y="465"/>
                  </a:lnTo>
                  <a:lnTo>
                    <a:pt x="267" y="467"/>
                  </a:lnTo>
                  <a:lnTo>
                    <a:pt x="272" y="468"/>
                  </a:lnTo>
                  <a:lnTo>
                    <a:pt x="279" y="469"/>
                  </a:lnTo>
                  <a:lnTo>
                    <a:pt x="286" y="469"/>
                  </a:lnTo>
                  <a:lnTo>
                    <a:pt x="297" y="469"/>
                  </a:lnTo>
                  <a:lnTo>
                    <a:pt x="305" y="468"/>
                  </a:lnTo>
                  <a:lnTo>
                    <a:pt x="313" y="466"/>
                  </a:lnTo>
                  <a:lnTo>
                    <a:pt x="319" y="464"/>
                  </a:lnTo>
                  <a:lnTo>
                    <a:pt x="324" y="461"/>
                  </a:lnTo>
                  <a:lnTo>
                    <a:pt x="328" y="457"/>
                  </a:lnTo>
                  <a:lnTo>
                    <a:pt x="332" y="453"/>
                  </a:lnTo>
                  <a:lnTo>
                    <a:pt x="335" y="447"/>
                  </a:lnTo>
                  <a:lnTo>
                    <a:pt x="345" y="422"/>
                  </a:lnTo>
                  <a:lnTo>
                    <a:pt x="359" y="388"/>
                  </a:lnTo>
                  <a:lnTo>
                    <a:pt x="365" y="380"/>
                  </a:lnTo>
                  <a:lnTo>
                    <a:pt x="373" y="372"/>
                  </a:lnTo>
                  <a:lnTo>
                    <a:pt x="382" y="363"/>
                  </a:lnTo>
                  <a:lnTo>
                    <a:pt x="393" y="353"/>
                  </a:lnTo>
                  <a:lnTo>
                    <a:pt x="418" y="333"/>
                  </a:lnTo>
                  <a:lnTo>
                    <a:pt x="447" y="314"/>
                  </a:lnTo>
                  <a:lnTo>
                    <a:pt x="476" y="296"/>
                  </a:lnTo>
                  <a:lnTo>
                    <a:pt x="503" y="278"/>
                  </a:lnTo>
                  <a:lnTo>
                    <a:pt x="527" y="264"/>
                  </a:lnTo>
                  <a:lnTo>
                    <a:pt x="545" y="253"/>
                  </a:lnTo>
                  <a:lnTo>
                    <a:pt x="538" y="235"/>
                  </a:lnTo>
                  <a:lnTo>
                    <a:pt x="528" y="232"/>
                  </a:lnTo>
                  <a:lnTo>
                    <a:pt x="518" y="229"/>
                  </a:lnTo>
                  <a:lnTo>
                    <a:pt x="511" y="223"/>
                  </a:lnTo>
                  <a:lnTo>
                    <a:pt x="503" y="218"/>
                  </a:lnTo>
                  <a:lnTo>
                    <a:pt x="496" y="212"/>
                  </a:lnTo>
                  <a:lnTo>
                    <a:pt x="491" y="206"/>
                  </a:lnTo>
                  <a:lnTo>
                    <a:pt x="485" y="199"/>
                  </a:lnTo>
                  <a:lnTo>
                    <a:pt x="480" y="191"/>
                  </a:lnTo>
                  <a:lnTo>
                    <a:pt x="470" y="175"/>
                  </a:lnTo>
                  <a:lnTo>
                    <a:pt x="460" y="157"/>
                  </a:lnTo>
                  <a:lnTo>
                    <a:pt x="454" y="149"/>
                  </a:lnTo>
                  <a:lnTo>
                    <a:pt x="447" y="141"/>
                  </a:lnTo>
                  <a:lnTo>
                    <a:pt x="440" y="132"/>
                  </a:lnTo>
                  <a:lnTo>
                    <a:pt x="432" y="124"/>
                  </a:lnTo>
                  <a:lnTo>
                    <a:pt x="404" y="101"/>
                  </a:lnTo>
                  <a:lnTo>
                    <a:pt x="377" y="76"/>
                  </a:lnTo>
                  <a:lnTo>
                    <a:pt x="370" y="69"/>
                  </a:lnTo>
                  <a:lnTo>
                    <a:pt x="365" y="62"/>
                  </a:lnTo>
                  <a:lnTo>
                    <a:pt x="359" y="53"/>
                  </a:lnTo>
                  <a:lnTo>
                    <a:pt x="355" y="44"/>
                  </a:lnTo>
                  <a:lnTo>
                    <a:pt x="350" y="35"/>
                  </a:lnTo>
                  <a:lnTo>
                    <a:pt x="348" y="24"/>
                  </a:lnTo>
                  <a:lnTo>
                    <a:pt x="346" y="13"/>
                  </a:lnTo>
                  <a:lnTo>
                    <a:pt x="346" y="0"/>
                  </a:lnTo>
                  <a:lnTo>
                    <a:pt x="319" y="0"/>
                  </a:lnTo>
                  <a:lnTo>
                    <a:pt x="293" y="0"/>
                  </a:lnTo>
                  <a:lnTo>
                    <a:pt x="268" y="1"/>
                  </a:lnTo>
                  <a:lnTo>
                    <a:pt x="244" y="2"/>
                  </a:lnTo>
                  <a:lnTo>
                    <a:pt x="221" y="6"/>
                  </a:lnTo>
                  <a:lnTo>
                    <a:pt x="198" y="9"/>
                  </a:lnTo>
                  <a:lnTo>
                    <a:pt x="176" y="13"/>
                  </a:lnTo>
                  <a:lnTo>
                    <a:pt x="153" y="19"/>
                  </a:lnTo>
                  <a:lnTo>
                    <a:pt x="123" y="21"/>
                  </a:lnTo>
                  <a:lnTo>
                    <a:pt x="95" y="22"/>
                  </a:lnTo>
                  <a:lnTo>
                    <a:pt x="84" y="23"/>
                  </a:lnTo>
                  <a:lnTo>
                    <a:pt x="75" y="25"/>
                  </a:lnTo>
                  <a:lnTo>
                    <a:pt x="71" y="27"/>
                  </a:lnTo>
                  <a:lnTo>
                    <a:pt x="68" y="30"/>
                  </a:lnTo>
                  <a:lnTo>
                    <a:pt x="67" y="33"/>
                  </a:lnTo>
                  <a:lnTo>
                    <a:pt x="67" y="38"/>
                  </a:lnTo>
                  <a:lnTo>
                    <a:pt x="67" y="44"/>
                  </a:lnTo>
                  <a:lnTo>
                    <a:pt x="69" y="50"/>
                  </a:lnTo>
                  <a:lnTo>
                    <a:pt x="73" y="56"/>
                  </a:lnTo>
                  <a:lnTo>
                    <a:pt x="77" y="63"/>
                  </a:lnTo>
                  <a:lnTo>
                    <a:pt x="80" y="68"/>
                  </a:lnTo>
                  <a:lnTo>
                    <a:pt x="84" y="74"/>
                  </a:lnTo>
                  <a:lnTo>
                    <a:pt x="86" y="80"/>
                  </a:lnTo>
                  <a:lnTo>
                    <a:pt x="87" y="87"/>
                  </a:lnTo>
                  <a:lnTo>
                    <a:pt x="86" y="107"/>
                  </a:lnTo>
                  <a:lnTo>
                    <a:pt x="82" y="129"/>
                  </a:lnTo>
                  <a:lnTo>
                    <a:pt x="78" y="150"/>
                  </a:lnTo>
                  <a:lnTo>
                    <a:pt x="74" y="171"/>
                  </a:lnTo>
                  <a:lnTo>
                    <a:pt x="68" y="193"/>
                  </a:lnTo>
                  <a:lnTo>
                    <a:pt x="64" y="214"/>
                  </a:lnTo>
                  <a:lnTo>
                    <a:pt x="62" y="237"/>
                  </a:lnTo>
                  <a:lnTo>
                    <a:pt x="61" y="259"/>
                  </a:lnTo>
                  <a:lnTo>
                    <a:pt x="54" y="261"/>
                  </a:lnTo>
                  <a:lnTo>
                    <a:pt x="47" y="263"/>
                  </a:lnTo>
                  <a:lnTo>
                    <a:pt x="42" y="266"/>
                  </a:lnTo>
                  <a:lnTo>
                    <a:pt x="36" y="269"/>
                  </a:lnTo>
                  <a:lnTo>
                    <a:pt x="26" y="277"/>
                  </a:lnTo>
                  <a:lnTo>
                    <a:pt x="18" y="287"/>
                  </a:lnTo>
                  <a:lnTo>
                    <a:pt x="10" y="297"/>
                  </a:lnTo>
                  <a:lnTo>
                    <a:pt x="5" y="307"/>
                  </a:lnTo>
                  <a:lnTo>
                    <a:pt x="1" y="317"/>
                  </a:lnTo>
                  <a:lnTo>
                    <a:pt x="0" y="327"/>
                  </a:lnTo>
                  <a:lnTo>
                    <a:pt x="1" y="339"/>
                  </a:lnTo>
                  <a:lnTo>
                    <a:pt x="3" y="349"/>
                  </a:lnTo>
                  <a:lnTo>
                    <a:pt x="6" y="358"/>
                  </a:lnTo>
                  <a:lnTo>
                    <a:pt x="8" y="367"/>
                  </a:lnTo>
                  <a:lnTo>
                    <a:pt x="9" y="376"/>
                  </a:lnTo>
                  <a:lnTo>
                    <a:pt x="9" y="386"/>
                  </a:lnTo>
                  <a:lnTo>
                    <a:pt x="8" y="391"/>
                  </a:lnTo>
                  <a:lnTo>
                    <a:pt x="6" y="397"/>
                  </a:lnTo>
                  <a:lnTo>
                    <a:pt x="3" y="402"/>
                  </a:lnTo>
                  <a:lnTo>
                    <a:pt x="0" y="408"/>
                  </a:lnTo>
                  <a:lnTo>
                    <a:pt x="13" y="42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6" name="Freeform 253"/>
            <p:cNvSpPr>
              <a:spLocks/>
            </p:cNvSpPr>
            <p:nvPr>
              <p:custDataLst>
                <p:tags r:id="rId181"/>
              </p:custDataLst>
            </p:nvPr>
          </p:nvSpPr>
          <p:spPr bwMode="auto">
            <a:xfrm>
              <a:off x="7184069" y="4707377"/>
              <a:ext cx="196850" cy="434975"/>
            </a:xfrm>
            <a:custGeom>
              <a:avLst/>
              <a:gdLst>
                <a:gd name="T0" fmla="*/ 2147483647 w 452"/>
                <a:gd name="T1" fmla="*/ 2147483647 h 832"/>
                <a:gd name="T2" fmla="*/ 2147483647 w 452"/>
                <a:gd name="T3" fmla="*/ 2147483647 h 832"/>
                <a:gd name="T4" fmla="*/ 2147483647 w 452"/>
                <a:gd name="T5" fmla="*/ 2147483647 h 832"/>
                <a:gd name="T6" fmla="*/ 2147483647 w 452"/>
                <a:gd name="T7" fmla="*/ 2147483647 h 832"/>
                <a:gd name="T8" fmla="*/ 2147483647 w 452"/>
                <a:gd name="T9" fmla="*/ 2147483647 h 832"/>
                <a:gd name="T10" fmla="*/ 2147483647 w 452"/>
                <a:gd name="T11" fmla="*/ 2147483647 h 832"/>
                <a:gd name="T12" fmla="*/ 2147483647 w 452"/>
                <a:gd name="T13" fmla="*/ 2147483647 h 832"/>
                <a:gd name="T14" fmla="*/ 2147483647 w 452"/>
                <a:gd name="T15" fmla="*/ 2147483647 h 832"/>
                <a:gd name="T16" fmla="*/ 2147483647 w 452"/>
                <a:gd name="T17" fmla="*/ 2147483647 h 832"/>
                <a:gd name="T18" fmla="*/ 2147483647 w 452"/>
                <a:gd name="T19" fmla="*/ 2147483647 h 832"/>
                <a:gd name="T20" fmla="*/ 2147483647 w 452"/>
                <a:gd name="T21" fmla="*/ 2147483647 h 832"/>
                <a:gd name="T22" fmla="*/ 2147483647 w 452"/>
                <a:gd name="T23" fmla="*/ 2147483647 h 832"/>
                <a:gd name="T24" fmla="*/ 2147483647 w 452"/>
                <a:gd name="T25" fmla="*/ 0 h 832"/>
                <a:gd name="T26" fmla="*/ 2147483647 w 452"/>
                <a:gd name="T27" fmla="*/ 2147483647 h 832"/>
                <a:gd name="T28" fmla="*/ 2147483647 w 452"/>
                <a:gd name="T29" fmla="*/ 2147483647 h 832"/>
                <a:gd name="T30" fmla="*/ 2147483647 w 452"/>
                <a:gd name="T31" fmla="*/ 2147483647 h 832"/>
                <a:gd name="T32" fmla="*/ 2147483647 w 452"/>
                <a:gd name="T33" fmla="*/ 2147483647 h 832"/>
                <a:gd name="T34" fmla="*/ 2147483647 w 452"/>
                <a:gd name="T35" fmla="*/ 2147483647 h 832"/>
                <a:gd name="T36" fmla="*/ 2147483647 w 452"/>
                <a:gd name="T37" fmla="*/ 2147483647 h 832"/>
                <a:gd name="T38" fmla="*/ 2147483647 w 452"/>
                <a:gd name="T39" fmla="*/ 2147483647 h 832"/>
                <a:gd name="T40" fmla="*/ 2147483647 w 452"/>
                <a:gd name="T41" fmla="*/ 2147483647 h 832"/>
                <a:gd name="T42" fmla="*/ 2147483647 w 452"/>
                <a:gd name="T43" fmla="*/ 2147483647 h 832"/>
                <a:gd name="T44" fmla="*/ 2147483647 w 452"/>
                <a:gd name="T45" fmla="*/ 2147483647 h 832"/>
                <a:gd name="T46" fmla="*/ 2147483647 w 452"/>
                <a:gd name="T47" fmla="*/ 2147483647 h 832"/>
                <a:gd name="T48" fmla="*/ 2147483647 w 452"/>
                <a:gd name="T49" fmla="*/ 2147483647 h 832"/>
                <a:gd name="T50" fmla="*/ 2147483647 w 452"/>
                <a:gd name="T51" fmla="*/ 2147483647 h 832"/>
                <a:gd name="T52" fmla="*/ 2147483647 w 452"/>
                <a:gd name="T53" fmla="*/ 2147483647 h 832"/>
                <a:gd name="T54" fmla="*/ 2147483647 w 452"/>
                <a:gd name="T55" fmla="*/ 2147483647 h 832"/>
                <a:gd name="T56" fmla="*/ 2147483647 w 452"/>
                <a:gd name="T57" fmla="*/ 2147483647 h 832"/>
                <a:gd name="T58" fmla="*/ 2147483647 w 452"/>
                <a:gd name="T59" fmla="*/ 2147483647 h 832"/>
                <a:gd name="T60" fmla="*/ 2147483647 w 452"/>
                <a:gd name="T61" fmla="*/ 2147483647 h 832"/>
                <a:gd name="T62" fmla="*/ 2147483647 w 452"/>
                <a:gd name="T63" fmla="*/ 2147483647 h 832"/>
                <a:gd name="T64" fmla="*/ 2147483647 w 452"/>
                <a:gd name="T65" fmla="*/ 2147483647 h 832"/>
                <a:gd name="T66" fmla="*/ 2147483647 w 452"/>
                <a:gd name="T67" fmla="*/ 2147483647 h 832"/>
                <a:gd name="T68" fmla="*/ 2147483647 w 452"/>
                <a:gd name="T69" fmla="*/ 2147483647 h 832"/>
                <a:gd name="T70" fmla="*/ 2147483647 w 452"/>
                <a:gd name="T71" fmla="*/ 2147483647 h 832"/>
                <a:gd name="T72" fmla="*/ 2147483647 w 452"/>
                <a:gd name="T73" fmla="*/ 2147483647 h 832"/>
                <a:gd name="T74" fmla="*/ 2147483647 w 452"/>
                <a:gd name="T75" fmla="*/ 2147483647 h 832"/>
                <a:gd name="T76" fmla="*/ 2147483647 w 452"/>
                <a:gd name="T77" fmla="*/ 2147483647 h 832"/>
                <a:gd name="T78" fmla="*/ 2147483647 w 452"/>
                <a:gd name="T79" fmla="*/ 2147483647 h 832"/>
                <a:gd name="T80" fmla="*/ 2147483647 w 452"/>
                <a:gd name="T81" fmla="*/ 2147483647 h 832"/>
                <a:gd name="T82" fmla="*/ 2147483647 w 452"/>
                <a:gd name="T83" fmla="*/ 2147483647 h 832"/>
                <a:gd name="T84" fmla="*/ 2147483647 w 452"/>
                <a:gd name="T85" fmla="*/ 2147483647 h 832"/>
                <a:gd name="T86" fmla="*/ 2147483647 w 452"/>
                <a:gd name="T87" fmla="*/ 2147483647 h 832"/>
                <a:gd name="T88" fmla="*/ 2147483647 w 452"/>
                <a:gd name="T89" fmla="*/ 2147483647 h 832"/>
                <a:gd name="T90" fmla="*/ 2147483647 w 452"/>
                <a:gd name="T91" fmla="*/ 2147483647 h 832"/>
                <a:gd name="T92" fmla="*/ 0 w 452"/>
                <a:gd name="T93" fmla="*/ 2147483647 h 832"/>
                <a:gd name="T94" fmla="*/ 2147483647 w 452"/>
                <a:gd name="T95" fmla="*/ 2147483647 h 832"/>
                <a:gd name="T96" fmla="*/ 2147483647 w 452"/>
                <a:gd name="T97" fmla="*/ 2147483647 h 832"/>
                <a:gd name="T98" fmla="*/ 2147483647 w 452"/>
                <a:gd name="T99" fmla="*/ 2147483647 h 832"/>
                <a:gd name="T100" fmla="*/ 0 w 452"/>
                <a:gd name="T101" fmla="*/ 2147483647 h 832"/>
                <a:gd name="T102" fmla="*/ 2147483647 w 452"/>
                <a:gd name="T103" fmla="*/ 2147483647 h 832"/>
                <a:gd name="T104" fmla="*/ 2147483647 w 452"/>
                <a:gd name="T105" fmla="*/ 2147483647 h 832"/>
                <a:gd name="T106" fmla="*/ 2147483647 w 452"/>
                <a:gd name="T107" fmla="*/ 2147483647 h 832"/>
                <a:gd name="T108" fmla="*/ 2147483647 w 452"/>
                <a:gd name="T109" fmla="*/ 2147483647 h 832"/>
                <a:gd name="T110" fmla="*/ 2147483647 w 452"/>
                <a:gd name="T111" fmla="*/ 2147483647 h 832"/>
                <a:gd name="T112" fmla="*/ 2147483647 w 452"/>
                <a:gd name="T113" fmla="*/ 2147483647 h 832"/>
                <a:gd name="T114" fmla="*/ 2147483647 w 452"/>
                <a:gd name="T115" fmla="*/ 2147483647 h 832"/>
                <a:gd name="T116" fmla="*/ 2147483647 w 452"/>
                <a:gd name="T117" fmla="*/ 2147483647 h 832"/>
                <a:gd name="T118" fmla="*/ 2147483647 w 452"/>
                <a:gd name="T119" fmla="*/ 2147483647 h 832"/>
                <a:gd name="T120" fmla="*/ 2147483647 w 452"/>
                <a:gd name="T121" fmla="*/ 2147483647 h 832"/>
                <a:gd name="T122" fmla="*/ 2147483647 w 452"/>
                <a:gd name="T123" fmla="*/ 2147483647 h 832"/>
                <a:gd name="T124" fmla="*/ 2147483647 w 452"/>
                <a:gd name="T125" fmla="*/ 2147483647 h 83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52" h="832">
                  <a:moveTo>
                    <a:pt x="93" y="264"/>
                  </a:moveTo>
                  <a:lnTo>
                    <a:pt x="103" y="263"/>
                  </a:lnTo>
                  <a:lnTo>
                    <a:pt x="112" y="261"/>
                  </a:lnTo>
                  <a:lnTo>
                    <a:pt x="120" y="257"/>
                  </a:lnTo>
                  <a:lnTo>
                    <a:pt x="129" y="252"/>
                  </a:lnTo>
                  <a:lnTo>
                    <a:pt x="138" y="248"/>
                  </a:lnTo>
                  <a:lnTo>
                    <a:pt x="147" y="244"/>
                  </a:lnTo>
                  <a:lnTo>
                    <a:pt x="157" y="241"/>
                  </a:lnTo>
                  <a:lnTo>
                    <a:pt x="165" y="240"/>
                  </a:lnTo>
                  <a:lnTo>
                    <a:pt x="175" y="239"/>
                  </a:lnTo>
                  <a:lnTo>
                    <a:pt x="184" y="236"/>
                  </a:lnTo>
                  <a:lnTo>
                    <a:pt x="192" y="232"/>
                  </a:lnTo>
                  <a:lnTo>
                    <a:pt x="199" y="227"/>
                  </a:lnTo>
                  <a:lnTo>
                    <a:pt x="206" y="222"/>
                  </a:lnTo>
                  <a:lnTo>
                    <a:pt x="215" y="217"/>
                  </a:lnTo>
                  <a:lnTo>
                    <a:pt x="222" y="213"/>
                  </a:lnTo>
                  <a:lnTo>
                    <a:pt x="232" y="209"/>
                  </a:lnTo>
                  <a:lnTo>
                    <a:pt x="232" y="200"/>
                  </a:lnTo>
                  <a:lnTo>
                    <a:pt x="232" y="191"/>
                  </a:lnTo>
                  <a:lnTo>
                    <a:pt x="232" y="184"/>
                  </a:lnTo>
                  <a:lnTo>
                    <a:pt x="232" y="179"/>
                  </a:lnTo>
                  <a:lnTo>
                    <a:pt x="248" y="179"/>
                  </a:lnTo>
                  <a:lnTo>
                    <a:pt x="259" y="179"/>
                  </a:lnTo>
                  <a:lnTo>
                    <a:pt x="265" y="178"/>
                  </a:lnTo>
                  <a:lnTo>
                    <a:pt x="271" y="177"/>
                  </a:lnTo>
                  <a:lnTo>
                    <a:pt x="276" y="175"/>
                  </a:lnTo>
                  <a:lnTo>
                    <a:pt x="282" y="173"/>
                  </a:lnTo>
                  <a:lnTo>
                    <a:pt x="287" y="170"/>
                  </a:lnTo>
                  <a:lnTo>
                    <a:pt x="293" y="166"/>
                  </a:lnTo>
                  <a:lnTo>
                    <a:pt x="298" y="162"/>
                  </a:lnTo>
                  <a:lnTo>
                    <a:pt x="303" y="157"/>
                  </a:lnTo>
                  <a:lnTo>
                    <a:pt x="311" y="145"/>
                  </a:lnTo>
                  <a:lnTo>
                    <a:pt x="320" y="133"/>
                  </a:lnTo>
                  <a:lnTo>
                    <a:pt x="329" y="120"/>
                  </a:lnTo>
                  <a:lnTo>
                    <a:pt x="336" y="106"/>
                  </a:lnTo>
                  <a:lnTo>
                    <a:pt x="350" y="75"/>
                  </a:lnTo>
                  <a:lnTo>
                    <a:pt x="361" y="46"/>
                  </a:lnTo>
                  <a:lnTo>
                    <a:pt x="371" y="20"/>
                  </a:lnTo>
                  <a:lnTo>
                    <a:pt x="378" y="0"/>
                  </a:lnTo>
                  <a:lnTo>
                    <a:pt x="379" y="7"/>
                  </a:lnTo>
                  <a:lnTo>
                    <a:pt x="383" y="13"/>
                  </a:lnTo>
                  <a:lnTo>
                    <a:pt x="385" y="19"/>
                  </a:lnTo>
                  <a:lnTo>
                    <a:pt x="389" y="25"/>
                  </a:lnTo>
                  <a:lnTo>
                    <a:pt x="397" y="36"/>
                  </a:lnTo>
                  <a:lnTo>
                    <a:pt x="407" y="47"/>
                  </a:lnTo>
                  <a:lnTo>
                    <a:pt x="430" y="65"/>
                  </a:lnTo>
                  <a:lnTo>
                    <a:pt x="452" y="80"/>
                  </a:lnTo>
                  <a:lnTo>
                    <a:pt x="448" y="85"/>
                  </a:lnTo>
                  <a:lnTo>
                    <a:pt x="444" y="91"/>
                  </a:lnTo>
                  <a:lnTo>
                    <a:pt x="442" y="96"/>
                  </a:lnTo>
                  <a:lnTo>
                    <a:pt x="440" y="103"/>
                  </a:lnTo>
                  <a:lnTo>
                    <a:pt x="440" y="114"/>
                  </a:lnTo>
                  <a:lnTo>
                    <a:pt x="442" y="125"/>
                  </a:lnTo>
                  <a:lnTo>
                    <a:pt x="444" y="138"/>
                  </a:lnTo>
                  <a:lnTo>
                    <a:pt x="448" y="151"/>
                  </a:lnTo>
                  <a:lnTo>
                    <a:pt x="451" y="168"/>
                  </a:lnTo>
                  <a:lnTo>
                    <a:pt x="452" y="185"/>
                  </a:lnTo>
                  <a:lnTo>
                    <a:pt x="451" y="192"/>
                  </a:lnTo>
                  <a:lnTo>
                    <a:pt x="450" y="199"/>
                  </a:lnTo>
                  <a:lnTo>
                    <a:pt x="448" y="206"/>
                  </a:lnTo>
                  <a:lnTo>
                    <a:pt x="444" y="213"/>
                  </a:lnTo>
                  <a:lnTo>
                    <a:pt x="437" y="224"/>
                  </a:lnTo>
                  <a:lnTo>
                    <a:pt x="428" y="234"/>
                  </a:lnTo>
                  <a:lnTo>
                    <a:pt x="420" y="244"/>
                  </a:lnTo>
                  <a:lnTo>
                    <a:pt x="412" y="255"/>
                  </a:lnTo>
                  <a:lnTo>
                    <a:pt x="409" y="261"/>
                  </a:lnTo>
                  <a:lnTo>
                    <a:pt x="407" y="269"/>
                  </a:lnTo>
                  <a:lnTo>
                    <a:pt x="406" y="276"/>
                  </a:lnTo>
                  <a:lnTo>
                    <a:pt x="405" y="283"/>
                  </a:lnTo>
                  <a:lnTo>
                    <a:pt x="402" y="289"/>
                  </a:lnTo>
                  <a:lnTo>
                    <a:pt x="397" y="302"/>
                  </a:lnTo>
                  <a:lnTo>
                    <a:pt x="393" y="308"/>
                  </a:lnTo>
                  <a:lnTo>
                    <a:pt x="388" y="314"/>
                  </a:lnTo>
                  <a:lnTo>
                    <a:pt x="386" y="316"/>
                  </a:lnTo>
                  <a:lnTo>
                    <a:pt x="383" y="318"/>
                  </a:lnTo>
                  <a:lnTo>
                    <a:pt x="381" y="319"/>
                  </a:lnTo>
                  <a:lnTo>
                    <a:pt x="378" y="320"/>
                  </a:lnTo>
                  <a:lnTo>
                    <a:pt x="377" y="332"/>
                  </a:lnTo>
                  <a:lnTo>
                    <a:pt x="376" y="343"/>
                  </a:lnTo>
                  <a:lnTo>
                    <a:pt x="373" y="354"/>
                  </a:lnTo>
                  <a:lnTo>
                    <a:pt x="368" y="364"/>
                  </a:lnTo>
                  <a:lnTo>
                    <a:pt x="360" y="386"/>
                  </a:lnTo>
                  <a:lnTo>
                    <a:pt x="349" y="406"/>
                  </a:lnTo>
                  <a:lnTo>
                    <a:pt x="338" y="427"/>
                  </a:lnTo>
                  <a:lnTo>
                    <a:pt x="328" y="449"/>
                  </a:lnTo>
                  <a:lnTo>
                    <a:pt x="325" y="459"/>
                  </a:lnTo>
                  <a:lnTo>
                    <a:pt x="321" y="470"/>
                  </a:lnTo>
                  <a:lnTo>
                    <a:pt x="319" y="481"/>
                  </a:lnTo>
                  <a:lnTo>
                    <a:pt x="319" y="493"/>
                  </a:lnTo>
                  <a:lnTo>
                    <a:pt x="318" y="500"/>
                  </a:lnTo>
                  <a:lnTo>
                    <a:pt x="316" y="509"/>
                  </a:lnTo>
                  <a:lnTo>
                    <a:pt x="314" y="520"/>
                  </a:lnTo>
                  <a:lnTo>
                    <a:pt x="310" y="531"/>
                  </a:lnTo>
                  <a:lnTo>
                    <a:pt x="300" y="559"/>
                  </a:lnTo>
                  <a:lnTo>
                    <a:pt x="288" y="587"/>
                  </a:lnTo>
                  <a:lnTo>
                    <a:pt x="281" y="602"/>
                  </a:lnTo>
                  <a:lnTo>
                    <a:pt x="274" y="615"/>
                  </a:lnTo>
                  <a:lnTo>
                    <a:pt x="266" y="627"/>
                  </a:lnTo>
                  <a:lnTo>
                    <a:pt x="260" y="637"/>
                  </a:lnTo>
                  <a:lnTo>
                    <a:pt x="252" y="646"/>
                  </a:lnTo>
                  <a:lnTo>
                    <a:pt x="245" y="653"/>
                  </a:lnTo>
                  <a:lnTo>
                    <a:pt x="242" y="655"/>
                  </a:lnTo>
                  <a:lnTo>
                    <a:pt x="239" y="658"/>
                  </a:lnTo>
                  <a:lnTo>
                    <a:pt x="236" y="659"/>
                  </a:lnTo>
                  <a:lnTo>
                    <a:pt x="232" y="660"/>
                  </a:lnTo>
                  <a:lnTo>
                    <a:pt x="231" y="678"/>
                  </a:lnTo>
                  <a:lnTo>
                    <a:pt x="230" y="696"/>
                  </a:lnTo>
                  <a:lnTo>
                    <a:pt x="228" y="714"/>
                  </a:lnTo>
                  <a:lnTo>
                    <a:pt x="225" y="730"/>
                  </a:lnTo>
                  <a:lnTo>
                    <a:pt x="220" y="745"/>
                  </a:lnTo>
                  <a:lnTo>
                    <a:pt x="215" y="759"/>
                  </a:lnTo>
                  <a:lnTo>
                    <a:pt x="207" y="773"/>
                  </a:lnTo>
                  <a:lnTo>
                    <a:pt x="199" y="785"/>
                  </a:lnTo>
                  <a:lnTo>
                    <a:pt x="191" y="795"/>
                  </a:lnTo>
                  <a:lnTo>
                    <a:pt x="181" y="805"/>
                  </a:lnTo>
                  <a:lnTo>
                    <a:pt x="169" y="812"/>
                  </a:lnTo>
                  <a:lnTo>
                    <a:pt x="157" y="819"/>
                  </a:lnTo>
                  <a:lnTo>
                    <a:pt x="142" y="825"/>
                  </a:lnTo>
                  <a:lnTo>
                    <a:pt x="127" y="829"/>
                  </a:lnTo>
                  <a:lnTo>
                    <a:pt x="110" y="831"/>
                  </a:lnTo>
                  <a:lnTo>
                    <a:pt x="93" y="832"/>
                  </a:lnTo>
                  <a:lnTo>
                    <a:pt x="86" y="831"/>
                  </a:lnTo>
                  <a:lnTo>
                    <a:pt x="80" y="827"/>
                  </a:lnTo>
                  <a:lnTo>
                    <a:pt x="77" y="825"/>
                  </a:lnTo>
                  <a:lnTo>
                    <a:pt x="75" y="821"/>
                  </a:lnTo>
                  <a:lnTo>
                    <a:pt x="73" y="817"/>
                  </a:lnTo>
                  <a:lnTo>
                    <a:pt x="73" y="813"/>
                  </a:lnTo>
                  <a:lnTo>
                    <a:pt x="61" y="812"/>
                  </a:lnTo>
                  <a:lnTo>
                    <a:pt x="50" y="810"/>
                  </a:lnTo>
                  <a:lnTo>
                    <a:pt x="41" y="807"/>
                  </a:lnTo>
                  <a:lnTo>
                    <a:pt x="34" y="803"/>
                  </a:lnTo>
                  <a:lnTo>
                    <a:pt x="26" y="798"/>
                  </a:lnTo>
                  <a:lnTo>
                    <a:pt x="20" y="791"/>
                  </a:lnTo>
                  <a:lnTo>
                    <a:pt x="15" y="785"/>
                  </a:lnTo>
                  <a:lnTo>
                    <a:pt x="12" y="777"/>
                  </a:lnTo>
                  <a:lnTo>
                    <a:pt x="8" y="769"/>
                  </a:lnTo>
                  <a:lnTo>
                    <a:pt x="5" y="760"/>
                  </a:lnTo>
                  <a:lnTo>
                    <a:pt x="3" y="752"/>
                  </a:lnTo>
                  <a:lnTo>
                    <a:pt x="2" y="743"/>
                  </a:lnTo>
                  <a:lnTo>
                    <a:pt x="0" y="726"/>
                  </a:lnTo>
                  <a:lnTo>
                    <a:pt x="0" y="708"/>
                  </a:lnTo>
                  <a:lnTo>
                    <a:pt x="1" y="702"/>
                  </a:lnTo>
                  <a:lnTo>
                    <a:pt x="2" y="697"/>
                  </a:lnTo>
                  <a:lnTo>
                    <a:pt x="4" y="694"/>
                  </a:lnTo>
                  <a:lnTo>
                    <a:pt x="7" y="691"/>
                  </a:lnTo>
                  <a:lnTo>
                    <a:pt x="14" y="685"/>
                  </a:lnTo>
                  <a:lnTo>
                    <a:pt x="19" y="678"/>
                  </a:lnTo>
                  <a:lnTo>
                    <a:pt x="17" y="677"/>
                  </a:lnTo>
                  <a:lnTo>
                    <a:pt x="14" y="675"/>
                  </a:lnTo>
                  <a:lnTo>
                    <a:pt x="11" y="672"/>
                  </a:lnTo>
                  <a:lnTo>
                    <a:pt x="7" y="668"/>
                  </a:lnTo>
                  <a:lnTo>
                    <a:pt x="2" y="660"/>
                  </a:lnTo>
                  <a:lnTo>
                    <a:pt x="0" y="652"/>
                  </a:lnTo>
                  <a:lnTo>
                    <a:pt x="1" y="642"/>
                  </a:lnTo>
                  <a:lnTo>
                    <a:pt x="3" y="635"/>
                  </a:lnTo>
                  <a:lnTo>
                    <a:pt x="5" y="628"/>
                  </a:lnTo>
                  <a:lnTo>
                    <a:pt x="7" y="622"/>
                  </a:lnTo>
                  <a:lnTo>
                    <a:pt x="8" y="616"/>
                  </a:lnTo>
                  <a:lnTo>
                    <a:pt x="8" y="610"/>
                  </a:lnTo>
                  <a:lnTo>
                    <a:pt x="5" y="602"/>
                  </a:lnTo>
                  <a:lnTo>
                    <a:pt x="0" y="591"/>
                  </a:lnTo>
                  <a:lnTo>
                    <a:pt x="5" y="591"/>
                  </a:lnTo>
                  <a:lnTo>
                    <a:pt x="9" y="590"/>
                  </a:lnTo>
                  <a:lnTo>
                    <a:pt x="14" y="589"/>
                  </a:lnTo>
                  <a:lnTo>
                    <a:pt x="18" y="587"/>
                  </a:lnTo>
                  <a:lnTo>
                    <a:pt x="27" y="582"/>
                  </a:lnTo>
                  <a:lnTo>
                    <a:pt x="36" y="575"/>
                  </a:lnTo>
                  <a:lnTo>
                    <a:pt x="43" y="568"/>
                  </a:lnTo>
                  <a:lnTo>
                    <a:pt x="50" y="559"/>
                  </a:lnTo>
                  <a:lnTo>
                    <a:pt x="57" y="549"/>
                  </a:lnTo>
                  <a:lnTo>
                    <a:pt x="63" y="538"/>
                  </a:lnTo>
                  <a:lnTo>
                    <a:pt x="68" y="527"/>
                  </a:lnTo>
                  <a:lnTo>
                    <a:pt x="73" y="516"/>
                  </a:lnTo>
                  <a:lnTo>
                    <a:pt x="76" y="506"/>
                  </a:lnTo>
                  <a:lnTo>
                    <a:pt x="80" y="496"/>
                  </a:lnTo>
                  <a:lnTo>
                    <a:pt x="84" y="476"/>
                  </a:lnTo>
                  <a:lnTo>
                    <a:pt x="86" y="462"/>
                  </a:lnTo>
                  <a:lnTo>
                    <a:pt x="85" y="453"/>
                  </a:lnTo>
                  <a:lnTo>
                    <a:pt x="84" y="445"/>
                  </a:lnTo>
                  <a:lnTo>
                    <a:pt x="83" y="438"/>
                  </a:lnTo>
                  <a:lnTo>
                    <a:pt x="81" y="430"/>
                  </a:lnTo>
                  <a:lnTo>
                    <a:pt x="75" y="419"/>
                  </a:lnTo>
                  <a:lnTo>
                    <a:pt x="70" y="408"/>
                  </a:lnTo>
                  <a:lnTo>
                    <a:pt x="63" y="398"/>
                  </a:lnTo>
                  <a:lnTo>
                    <a:pt x="58" y="388"/>
                  </a:lnTo>
                  <a:lnTo>
                    <a:pt x="56" y="382"/>
                  </a:lnTo>
                  <a:lnTo>
                    <a:pt x="54" y="376"/>
                  </a:lnTo>
                  <a:lnTo>
                    <a:pt x="53" y="370"/>
                  </a:lnTo>
                  <a:lnTo>
                    <a:pt x="53" y="363"/>
                  </a:lnTo>
                  <a:lnTo>
                    <a:pt x="93" y="264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7" name="Freeform 254"/>
            <p:cNvSpPr>
              <a:spLocks/>
            </p:cNvSpPr>
            <p:nvPr>
              <p:custDataLst>
                <p:tags r:id="rId182"/>
              </p:custDataLst>
            </p:nvPr>
          </p:nvSpPr>
          <p:spPr bwMode="auto">
            <a:xfrm>
              <a:off x="6860219" y="4405752"/>
              <a:ext cx="36513" cy="66675"/>
            </a:xfrm>
            <a:custGeom>
              <a:avLst/>
              <a:gdLst>
                <a:gd name="T0" fmla="*/ 2147483647 w 80"/>
                <a:gd name="T1" fmla="*/ 2147483647 h 126"/>
                <a:gd name="T2" fmla="*/ 2147483647 w 80"/>
                <a:gd name="T3" fmla="*/ 2147483647 h 126"/>
                <a:gd name="T4" fmla="*/ 2147483647 w 80"/>
                <a:gd name="T5" fmla="*/ 2147483647 h 126"/>
                <a:gd name="T6" fmla="*/ 2147483647 w 80"/>
                <a:gd name="T7" fmla="*/ 2147483647 h 126"/>
                <a:gd name="T8" fmla="*/ 2147483647 w 80"/>
                <a:gd name="T9" fmla="*/ 2147483647 h 126"/>
                <a:gd name="T10" fmla="*/ 2147483647 w 80"/>
                <a:gd name="T11" fmla="*/ 2147483647 h 126"/>
                <a:gd name="T12" fmla="*/ 2147483647 w 80"/>
                <a:gd name="T13" fmla="*/ 2147483647 h 126"/>
                <a:gd name="T14" fmla="*/ 2147483647 w 80"/>
                <a:gd name="T15" fmla="*/ 2147483647 h 126"/>
                <a:gd name="T16" fmla="*/ 2147483647 w 80"/>
                <a:gd name="T17" fmla="*/ 2147483647 h 126"/>
                <a:gd name="T18" fmla="*/ 2147483647 w 80"/>
                <a:gd name="T19" fmla="*/ 2147483647 h 126"/>
                <a:gd name="T20" fmla="*/ 2147483647 w 80"/>
                <a:gd name="T21" fmla="*/ 2147483647 h 126"/>
                <a:gd name="T22" fmla="*/ 0 w 80"/>
                <a:gd name="T23" fmla="*/ 2147483647 h 126"/>
                <a:gd name="T24" fmla="*/ 2147483647 w 80"/>
                <a:gd name="T25" fmla="*/ 2147483647 h 126"/>
                <a:gd name="T26" fmla="*/ 2147483647 w 80"/>
                <a:gd name="T27" fmla="*/ 2147483647 h 126"/>
                <a:gd name="T28" fmla="*/ 2147483647 w 80"/>
                <a:gd name="T29" fmla="*/ 2147483647 h 126"/>
                <a:gd name="T30" fmla="*/ 2147483647 w 80"/>
                <a:gd name="T31" fmla="*/ 2147483647 h 126"/>
                <a:gd name="T32" fmla="*/ 2147483647 w 80"/>
                <a:gd name="T33" fmla="*/ 2147483647 h 126"/>
                <a:gd name="T34" fmla="*/ 2147483647 w 80"/>
                <a:gd name="T35" fmla="*/ 0 h 126"/>
                <a:gd name="T36" fmla="*/ 2147483647 w 80"/>
                <a:gd name="T37" fmla="*/ 0 h 126"/>
                <a:gd name="T38" fmla="*/ 2147483647 w 80"/>
                <a:gd name="T39" fmla="*/ 2147483647 h 126"/>
                <a:gd name="T40" fmla="*/ 2147483647 w 80"/>
                <a:gd name="T41" fmla="*/ 2147483647 h 12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80" h="126">
                  <a:moveTo>
                    <a:pt x="80" y="2"/>
                  </a:moveTo>
                  <a:lnTo>
                    <a:pt x="80" y="101"/>
                  </a:lnTo>
                  <a:lnTo>
                    <a:pt x="78" y="104"/>
                  </a:lnTo>
                  <a:lnTo>
                    <a:pt x="75" y="107"/>
                  </a:lnTo>
                  <a:lnTo>
                    <a:pt x="70" y="109"/>
                  </a:lnTo>
                  <a:lnTo>
                    <a:pt x="67" y="111"/>
                  </a:lnTo>
                  <a:lnTo>
                    <a:pt x="58" y="114"/>
                  </a:lnTo>
                  <a:lnTo>
                    <a:pt x="48" y="116"/>
                  </a:lnTo>
                  <a:lnTo>
                    <a:pt x="36" y="117"/>
                  </a:lnTo>
                  <a:lnTo>
                    <a:pt x="25" y="119"/>
                  </a:lnTo>
                  <a:lnTo>
                    <a:pt x="13" y="123"/>
                  </a:lnTo>
                  <a:lnTo>
                    <a:pt x="0" y="126"/>
                  </a:lnTo>
                  <a:lnTo>
                    <a:pt x="7" y="40"/>
                  </a:lnTo>
                  <a:lnTo>
                    <a:pt x="23" y="27"/>
                  </a:lnTo>
                  <a:lnTo>
                    <a:pt x="41" y="12"/>
                  </a:lnTo>
                  <a:lnTo>
                    <a:pt x="51" y="5"/>
                  </a:lnTo>
                  <a:lnTo>
                    <a:pt x="60" y="1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5" y="1"/>
                  </a:lnTo>
                  <a:lnTo>
                    <a:pt x="80" y="2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8" name="Freeform 255"/>
            <p:cNvSpPr>
              <a:spLocks/>
            </p:cNvSpPr>
            <p:nvPr>
              <p:custDataLst>
                <p:tags r:id="rId183"/>
              </p:custDataLst>
            </p:nvPr>
          </p:nvSpPr>
          <p:spPr bwMode="auto">
            <a:xfrm>
              <a:off x="6849107" y="4366064"/>
              <a:ext cx="55562" cy="60325"/>
            </a:xfrm>
            <a:custGeom>
              <a:avLst/>
              <a:gdLst>
                <a:gd name="T0" fmla="*/ 2147483647 w 124"/>
                <a:gd name="T1" fmla="*/ 0 h 117"/>
                <a:gd name="T2" fmla="*/ 2147483647 w 124"/>
                <a:gd name="T3" fmla="*/ 2147483647 h 117"/>
                <a:gd name="T4" fmla="*/ 2147483647 w 124"/>
                <a:gd name="T5" fmla="*/ 2147483647 h 117"/>
                <a:gd name="T6" fmla="*/ 2147483647 w 124"/>
                <a:gd name="T7" fmla="*/ 2147483647 h 117"/>
                <a:gd name="T8" fmla="*/ 2147483647 w 124"/>
                <a:gd name="T9" fmla="*/ 2147483647 h 117"/>
                <a:gd name="T10" fmla="*/ 2147483647 w 124"/>
                <a:gd name="T11" fmla="*/ 2147483647 h 117"/>
                <a:gd name="T12" fmla="*/ 2147483647 w 124"/>
                <a:gd name="T13" fmla="*/ 2147483647 h 117"/>
                <a:gd name="T14" fmla="*/ 2147483647 w 124"/>
                <a:gd name="T15" fmla="*/ 2147483647 h 117"/>
                <a:gd name="T16" fmla="*/ 2147483647 w 124"/>
                <a:gd name="T17" fmla="*/ 2147483647 h 117"/>
                <a:gd name="T18" fmla="*/ 2147483647 w 124"/>
                <a:gd name="T19" fmla="*/ 2147483647 h 117"/>
                <a:gd name="T20" fmla="*/ 2147483647 w 124"/>
                <a:gd name="T21" fmla="*/ 2147483647 h 117"/>
                <a:gd name="T22" fmla="*/ 2147483647 w 124"/>
                <a:gd name="T23" fmla="*/ 2147483647 h 117"/>
                <a:gd name="T24" fmla="*/ 2147483647 w 124"/>
                <a:gd name="T25" fmla="*/ 2147483647 h 117"/>
                <a:gd name="T26" fmla="*/ 2147483647 w 124"/>
                <a:gd name="T27" fmla="*/ 2147483647 h 117"/>
                <a:gd name="T28" fmla="*/ 2147483647 w 124"/>
                <a:gd name="T29" fmla="*/ 2147483647 h 117"/>
                <a:gd name="T30" fmla="*/ 2147483647 w 124"/>
                <a:gd name="T31" fmla="*/ 2147483647 h 117"/>
                <a:gd name="T32" fmla="*/ 2147483647 w 124"/>
                <a:gd name="T33" fmla="*/ 2147483647 h 117"/>
                <a:gd name="T34" fmla="*/ 2147483647 w 124"/>
                <a:gd name="T35" fmla="*/ 2147483647 h 117"/>
                <a:gd name="T36" fmla="*/ 2147483647 w 124"/>
                <a:gd name="T37" fmla="*/ 2147483647 h 117"/>
                <a:gd name="T38" fmla="*/ 2147483647 w 124"/>
                <a:gd name="T39" fmla="*/ 2147483647 h 117"/>
                <a:gd name="T40" fmla="*/ 0 w 124"/>
                <a:gd name="T41" fmla="*/ 2147483647 h 117"/>
                <a:gd name="T42" fmla="*/ 2147483647 w 124"/>
                <a:gd name="T43" fmla="*/ 2147483647 h 117"/>
                <a:gd name="T44" fmla="*/ 2147483647 w 124"/>
                <a:gd name="T45" fmla="*/ 2147483647 h 117"/>
                <a:gd name="T46" fmla="*/ 2147483647 w 124"/>
                <a:gd name="T47" fmla="*/ 2147483647 h 117"/>
                <a:gd name="T48" fmla="*/ 2147483647 w 124"/>
                <a:gd name="T49" fmla="*/ 2147483647 h 117"/>
                <a:gd name="T50" fmla="*/ 2147483647 w 124"/>
                <a:gd name="T51" fmla="*/ 2147483647 h 117"/>
                <a:gd name="T52" fmla="*/ 2147483647 w 124"/>
                <a:gd name="T53" fmla="*/ 2147483647 h 117"/>
                <a:gd name="T54" fmla="*/ 2147483647 w 124"/>
                <a:gd name="T55" fmla="*/ 2147483647 h 117"/>
                <a:gd name="T56" fmla="*/ 2147483647 w 124"/>
                <a:gd name="T57" fmla="*/ 2147483647 h 117"/>
                <a:gd name="T58" fmla="*/ 2147483647 w 124"/>
                <a:gd name="T59" fmla="*/ 2147483647 h 117"/>
                <a:gd name="T60" fmla="*/ 2147483647 w 124"/>
                <a:gd name="T61" fmla="*/ 2147483647 h 117"/>
                <a:gd name="T62" fmla="*/ 2147483647 w 124"/>
                <a:gd name="T63" fmla="*/ 2147483647 h 117"/>
                <a:gd name="T64" fmla="*/ 2147483647 w 124"/>
                <a:gd name="T65" fmla="*/ 0 h 1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124" h="117">
                  <a:moveTo>
                    <a:pt x="113" y="0"/>
                  </a:moveTo>
                  <a:lnTo>
                    <a:pt x="116" y="15"/>
                  </a:lnTo>
                  <a:lnTo>
                    <a:pt x="122" y="35"/>
                  </a:lnTo>
                  <a:lnTo>
                    <a:pt x="124" y="45"/>
                  </a:lnTo>
                  <a:lnTo>
                    <a:pt x="124" y="54"/>
                  </a:lnTo>
                  <a:lnTo>
                    <a:pt x="124" y="59"/>
                  </a:lnTo>
                  <a:lnTo>
                    <a:pt x="123" y="64"/>
                  </a:lnTo>
                  <a:lnTo>
                    <a:pt x="122" y="69"/>
                  </a:lnTo>
                  <a:lnTo>
                    <a:pt x="119" y="73"/>
                  </a:lnTo>
                  <a:lnTo>
                    <a:pt x="114" y="72"/>
                  </a:lnTo>
                  <a:lnTo>
                    <a:pt x="108" y="71"/>
                  </a:lnTo>
                  <a:lnTo>
                    <a:pt x="103" y="72"/>
                  </a:lnTo>
                  <a:lnTo>
                    <a:pt x="96" y="73"/>
                  </a:lnTo>
                  <a:lnTo>
                    <a:pt x="83" y="78"/>
                  </a:lnTo>
                  <a:lnTo>
                    <a:pt x="71" y="85"/>
                  </a:lnTo>
                  <a:lnTo>
                    <a:pt x="46" y="103"/>
                  </a:lnTo>
                  <a:lnTo>
                    <a:pt x="26" y="117"/>
                  </a:lnTo>
                  <a:lnTo>
                    <a:pt x="23" y="112"/>
                  </a:lnTo>
                  <a:lnTo>
                    <a:pt x="13" y="101"/>
                  </a:lnTo>
                  <a:lnTo>
                    <a:pt x="4" y="89"/>
                  </a:lnTo>
                  <a:lnTo>
                    <a:pt x="0" y="79"/>
                  </a:lnTo>
                  <a:lnTo>
                    <a:pt x="1" y="76"/>
                  </a:lnTo>
                  <a:lnTo>
                    <a:pt x="2" y="72"/>
                  </a:lnTo>
                  <a:lnTo>
                    <a:pt x="5" y="67"/>
                  </a:lnTo>
                  <a:lnTo>
                    <a:pt x="9" y="62"/>
                  </a:lnTo>
                  <a:lnTo>
                    <a:pt x="17" y="52"/>
                  </a:lnTo>
                  <a:lnTo>
                    <a:pt x="27" y="42"/>
                  </a:lnTo>
                  <a:lnTo>
                    <a:pt x="48" y="22"/>
                  </a:lnTo>
                  <a:lnTo>
                    <a:pt x="60" y="12"/>
                  </a:lnTo>
                  <a:lnTo>
                    <a:pt x="73" y="12"/>
                  </a:lnTo>
                  <a:lnTo>
                    <a:pt x="86" y="12"/>
                  </a:lnTo>
                  <a:lnTo>
                    <a:pt x="100" y="6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799" name="Freeform 256"/>
            <p:cNvSpPr>
              <a:spLocks/>
            </p:cNvSpPr>
            <p:nvPr>
              <p:custDataLst>
                <p:tags r:id="rId184"/>
              </p:custDataLst>
            </p:nvPr>
          </p:nvSpPr>
          <p:spPr bwMode="auto">
            <a:xfrm>
              <a:off x="7158669" y="3065902"/>
              <a:ext cx="503238" cy="473075"/>
            </a:xfrm>
            <a:custGeom>
              <a:avLst/>
              <a:gdLst>
                <a:gd name="T0" fmla="*/ 2147483647 w 1156"/>
                <a:gd name="T1" fmla="*/ 2147483647 h 900"/>
                <a:gd name="T2" fmla="*/ 2147483647 w 1156"/>
                <a:gd name="T3" fmla="*/ 2147483647 h 900"/>
                <a:gd name="T4" fmla="*/ 2147483647 w 1156"/>
                <a:gd name="T5" fmla="*/ 2147483647 h 900"/>
                <a:gd name="T6" fmla="*/ 2147483647 w 1156"/>
                <a:gd name="T7" fmla="*/ 2147483647 h 900"/>
                <a:gd name="T8" fmla="*/ 2147483647 w 1156"/>
                <a:gd name="T9" fmla="*/ 2147483647 h 900"/>
                <a:gd name="T10" fmla="*/ 2147483647 w 1156"/>
                <a:gd name="T11" fmla="*/ 2147483647 h 900"/>
                <a:gd name="T12" fmla="*/ 2147483647 w 1156"/>
                <a:gd name="T13" fmla="*/ 2147483647 h 900"/>
                <a:gd name="T14" fmla="*/ 2147483647 w 1156"/>
                <a:gd name="T15" fmla="*/ 2147483647 h 900"/>
                <a:gd name="T16" fmla="*/ 2147483647 w 1156"/>
                <a:gd name="T17" fmla="*/ 2147483647 h 900"/>
                <a:gd name="T18" fmla="*/ 2147483647 w 1156"/>
                <a:gd name="T19" fmla="*/ 2147483647 h 900"/>
                <a:gd name="T20" fmla="*/ 2147483647 w 1156"/>
                <a:gd name="T21" fmla="*/ 2147483647 h 900"/>
                <a:gd name="T22" fmla="*/ 2147483647 w 1156"/>
                <a:gd name="T23" fmla="*/ 2147483647 h 900"/>
                <a:gd name="T24" fmla="*/ 2147483647 w 1156"/>
                <a:gd name="T25" fmla="*/ 2147483647 h 900"/>
                <a:gd name="T26" fmla="*/ 2147483647 w 1156"/>
                <a:gd name="T27" fmla="*/ 2147483647 h 900"/>
                <a:gd name="T28" fmla="*/ 2147483647 w 1156"/>
                <a:gd name="T29" fmla="*/ 2147483647 h 900"/>
                <a:gd name="T30" fmla="*/ 2147483647 w 1156"/>
                <a:gd name="T31" fmla="*/ 2147483647 h 900"/>
                <a:gd name="T32" fmla="*/ 2147483647 w 1156"/>
                <a:gd name="T33" fmla="*/ 2147483647 h 900"/>
                <a:gd name="T34" fmla="*/ 2147483647 w 1156"/>
                <a:gd name="T35" fmla="*/ 2147483647 h 900"/>
                <a:gd name="T36" fmla="*/ 2147483647 w 1156"/>
                <a:gd name="T37" fmla="*/ 2147483647 h 900"/>
                <a:gd name="T38" fmla="*/ 2147483647 w 1156"/>
                <a:gd name="T39" fmla="*/ 2147483647 h 900"/>
                <a:gd name="T40" fmla="*/ 2147483647 w 1156"/>
                <a:gd name="T41" fmla="*/ 2147483647 h 900"/>
                <a:gd name="T42" fmla="*/ 2147483647 w 1156"/>
                <a:gd name="T43" fmla="*/ 2147483647 h 900"/>
                <a:gd name="T44" fmla="*/ 2147483647 w 1156"/>
                <a:gd name="T45" fmla="*/ 2147483647 h 900"/>
                <a:gd name="T46" fmla="*/ 2147483647 w 1156"/>
                <a:gd name="T47" fmla="*/ 2147483647 h 900"/>
                <a:gd name="T48" fmla="*/ 2147483647 w 1156"/>
                <a:gd name="T49" fmla="*/ 2147483647 h 900"/>
                <a:gd name="T50" fmla="*/ 2147483647 w 1156"/>
                <a:gd name="T51" fmla="*/ 2147483647 h 900"/>
                <a:gd name="T52" fmla="*/ 2147483647 w 1156"/>
                <a:gd name="T53" fmla="*/ 2147483647 h 900"/>
                <a:gd name="T54" fmla="*/ 2147483647 w 1156"/>
                <a:gd name="T55" fmla="*/ 2147483647 h 900"/>
                <a:gd name="T56" fmla="*/ 2147483647 w 1156"/>
                <a:gd name="T57" fmla="*/ 2147483647 h 900"/>
                <a:gd name="T58" fmla="*/ 2147483647 w 1156"/>
                <a:gd name="T59" fmla="*/ 2147483647 h 900"/>
                <a:gd name="T60" fmla="*/ 2147483647 w 1156"/>
                <a:gd name="T61" fmla="*/ 2147483647 h 900"/>
                <a:gd name="T62" fmla="*/ 2147483647 w 1156"/>
                <a:gd name="T63" fmla="*/ 2147483647 h 900"/>
                <a:gd name="T64" fmla="*/ 2147483647 w 1156"/>
                <a:gd name="T65" fmla="*/ 2147483647 h 900"/>
                <a:gd name="T66" fmla="*/ 2147483647 w 1156"/>
                <a:gd name="T67" fmla="*/ 2147483647 h 900"/>
                <a:gd name="T68" fmla="*/ 2147483647 w 1156"/>
                <a:gd name="T69" fmla="*/ 2147483647 h 900"/>
                <a:gd name="T70" fmla="*/ 2147483647 w 1156"/>
                <a:gd name="T71" fmla="*/ 2147483647 h 900"/>
                <a:gd name="T72" fmla="*/ 2147483647 w 1156"/>
                <a:gd name="T73" fmla="*/ 2147483647 h 900"/>
                <a:gd name="T74" fmla="*/ 2147483647 w 1156"/>
                <a:gd name="T75" fmla="*/ 2147483647 h 900"/>
                <a:gd name="T76" fmla="*/ 2147483647 w 1156"/>
                <a:gd name="T77" fmla="*/ 2147483647 h 900"/>
                <a:gd name="T78" fmla="*/ 2147483647 w 1156"/>
                <a:gd name="T79" fmla="*/ 2147483647 h 900"/>
                <a:gd name="T80" fmla="*/ 2147483647 w 1156"/>
                <a:gd name="T81" fmla="*/ 2147483647 h 900"/>
                <a:gd name="T82" fmla="*/ 2147483647 w 1156"/>
                <a:gd name="T83" fmla="*/ 2147483647 h 900"/>
                <a:gd name="T84" fmla="*/ 2147483647 w 1156"/>
                <a:gd name="T85" fmla="*/ 2147483647 h 900"/>
                <a:gd name="T86" fmla="*/ 2147483647 w 1156"/>
                <a:gd name="T87" fmla="*/ 2147483647 h 900"/>
                <a:gd name="T88" fmla="*/ 2147483647 w 1156"/>
                <a:gd name="T89" fmla="*/ 2147483647 h 900"/>
                <a:gd name="T90" fmla="*/ 2147483647 w 1156"/>
                <a:gd name="T91" fmla="*/ 2147483647 h 900"/>
                <a:gd name="T92" fmla="*/ 2147483647 w 1156"/>
                <a:gd name="T93" fmla="*/ 2147483647 h 900"/>
                <a:gd name="T94" fmla="*/ 2147483647 w 1156"/>
                <a:gd name="T95" fmla="*/ 2147483647 h 900"/>
                <a:gd name="T96" fmla="*/ 2147483647 w 1156"/>
                <a:gd name="T97" fmla="*/ 2147483647 h 900"/>
                <a:gd name="T98" fmla="*/ 2147483647 w 1156"/>
                <a:gd name="T99" fmla="*/ 2147483647 h 900"/>
                <a:gd name="T100" fmla="*/ 2147483647 w 1156"/>
                <a:gd name="T101" fmla="*/ 2147483647 h 900"/>
                <a:gd name="T102" fmla="*/ 2147483647 w 1156"/>
                <a:gd name="T103" fmla="*/ 2147483647 h 900"/>
                <a:gd name="T104" fmla="*/ 2147483647 w 1156"/>
                <a:gd name="T105" fmla="*/ 2147483647 h 900"/>
                <a:gd name="T106" fmla="*/ 2147483647 w 1156"/>
                <a:gd name="T107" fmla="*/ 2147483647 h 900"/>
                <a:gd name="T108" fmla="*/ 2147483647 w 1156"/>
                <a:gd name="T109" fmla="*/ 2147483647 h 90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156" h="900">
                  <a:moveTo>
                    <a:pt x="963" y="271"/>
                  </a:moveTo>
                  <a:lnTo>
                    <a:pt x="954" y="252"/>
                  </a:lnTo>
                  <a:lnTo>
                    <a:pt x="948" y="234"/>
                  </a:lnTo>
                  <a:lnTo>
                    <a:pt x="941" y="213"/>
                  </a:lnTo>
                  <a:lnTo>
                    <a:pt x="937" y="191"/>
                  </a:lnTo>
                  <a:lnTo>
                    <a:pt x="928" y="191"/>
                  </a:lnTo>
                  <a:lnTo>
                    <a:pt x="920" y="190"/>
                  </a:lnTo>
                  <a:lnTo>
                    <a:pt x="913" y="189"/>
                  </a:lnTo>
                  <a:lnTo>
                    <a:pt x="906" y="187"/>
                  </a:lnTo>
                  <a:lnTo>
                    <a:pt x="893" y="183"/>
                  </a:lnTo>
                  <a:lnTo>
                    <a:pt x="881" y="177"/>
                  </a:lnTo>
                  <a:lnTo>
                    <a:pt x="859" y="162"/>
                  </a:lnTo>
                  <a:lnTo>
                    <a:pt x="839" y="145"/>
                  </a:lnTo>
                  <a:lnTo>
                    <a:pt x="828" y="137"/>
                  </a:lnTo>
                  <a:lnTo>
                    <a:pt x="816" y="129"/>
                  </a:lnTo>
                  <a:lnTo>
                    <a:pt x="803" y="122"/>
                  </a:lnTo>
                  <a:lnTo>
                    <a:pt x="789" y="116"/>
                  </a:lnTo>
                  <a:lnTo>
                    <a:pt x="773" y="111"/>
                  </a:lnTo>
                  <a:lnTo>
                    <a:pt x="755" y="106"/>
                  </a:lnTo>
                  <a:lnTo>
                    <a:pt x="745" y="105"/>
                  </a:lnTo>
                  <a:lnTo>
                    <a:pt x="734" y="104"/>
                  </a:lnTo>
                  <a:lnTo>
                    <a:pt x="723" y="104"/>
                  </a:lnTo>
                  <a:lnTo>
                    <a:pt x="711" y="104"/>
                  </a:lnTo>
                  <a:lnTo>
                    <a:pt x="617" y="104"/>
                  </a:lnTo>
                  <a:lnTo>
                    <a:pt x="609" y="113"/>
                  </a:lnTo>
                  <a:lnTo>
                    <a:pt x="587" y="129"/>
                  </a:lnTo>
                  <a:lnTo>
                    <a:pt x="576" y="138"/>
                  </a:lnTo>
                  <a:lnTo>
                    <a:pt x="565" y="146"/>
                  </a:lnTo>
                  <a:lnTo>
                    <a:pt x="556" y="152"/>
                  </a:lnTo>
                  <a:lnTo>
                    <a:pt x="551" y="154"/>
                  </a:lnTo>
                  <a:lnTo>
                    <a:pt x="542" y="155"/>
                  </a:lnTo>
                  <a:lnTo>
                    <a:pt x="532" y="157"/>
                  </a:lnTo>
                  <a:lnTo>
                    <a:pt x="522" y="159"/>
                  </a:lnTo>
                  <a:lnTo>
                    <a:pt x="512" y="160"/>
                  </a:lnTo>
                  <a:lnTo>
                    <a:pt x="518" y="173"/>
                  </a:lnTo>
                  <a:lnTo>
                    <a:pt x="504" y="179"/>
                  </a:lnTo>
                  <a:lnTo>
                    <a:pt x="490" y="184"/>
                  </a:lnTo>
                  <a:lnTo>
                    <a:pt x="478" y="188"/>
                  </a:lnTo>
                  <a:lnTo>
                    <a:pt x="465" y="192"/>
                  </a:lnTo>
                  <a:lnTo>
                    <a:pt x="453" y="194"/>
                  </a:lnTo>
                  <a:lnTo>
                    <a:pt x="439" y="196"/>
                  </a:lnTo>
                  <a:lnTo>
                    <a:pt x="426" y="197"/>
                  </a:lnTo>
                  <a:lnTo>
                    <a:pt x="412" y="197"/>
                  </a:lnTo>
                  <a:lnTo>
                    <a:pt x="405" y="198"/>
                  </a:lnTo>
                  <a:lnTo>
                    <a:pt x="398" y="199"/>
                  </a:lnTo>
                  <a:lnTo>
                    <a:pt x="393" y="200"/>
                  </a:lnTo>
                  <a:lnTo>
                    <a:pt x="389" y="200"/>
                  </a:lnTo>
                  <a:lnTo>
                    <a:pt x="383" y="199"/>
                  </a:lnTo>
                  <a:lnTo>
                    <a:pt x="379" y="197"/>
                  </a:lnTo>
                  <a:lnTo>
                    <a:pt x="371" y="194"/>
                  </a:lnTo>
                  <a:lnTo>
                    <a:pt x="367" y="190"/>
                  </a:lnTo>
                  <a:lnTo>
                    <a:pt x="363" y="184"/>
                  </a:lnTo>
                  <a:lnTo>
                    <a:pt x="358" y="179"/>
                  </a:lnTo>
                  <a:lnTo>
                    <a:pt x="355" y="173"/>
                  </a:lnTo>
                  <a:lnTo>
                    <a:pt x="351" y="168"/>
                  </a:lnTo>
                  <a:lnTo>
                    <a:pt x="345" y="163"/>
                  </a:lnTo>
                  <a:lnTo>
                    <a:pt x="338" y="160"/>
                  </a:lnTo>
                  <a:lnTo>
                    <a:pt x="316" y="153"/>
                  </a:lnTo>
                  <a:lnTo>
                    <a:pt x="280" y="142"/>
                  </a:lnTo>
                  <a:lnTo>
                    <a:pt x="260" y="136"/>
                  </a:lnTo>
                  <a:lnTo>
                    <a:pt x="244" y="128"/>
                  </a:lnTo>
                  <a:lnTo>
                    <a:pt x="237" y="124"/>
                  </a:lnTo>
                  <a:lnTo>
                    <a:pt x="232" y="120"/>
                  </a:lnTo>
                  <a:lnTo>
                    <a:pt x="228" y="116"/>
                  </a:lnTo>
                  <a:lnTo>
                    <a:pt x="225" y="111"/>
                  </a:lnTo>
                  <a:lnTo>
                    <a:pt x="228" y="86"/>
                  </a:lnTo>
                  <a:lnTo>
                    <a:pt x="228" y="65"/>
                  </a:lnTo>
                  <a:lnTo>
                    <a:pt x="228" y="56"/>
                  </a:lnTo>
                  <a:lnTo>
                    <a:pt x="226" y="46"/>
                  </a:lnTo>
                  <a:lnTo>
                    <a:pt x="224" y="37"/>
                  </a:lnTo>
                  <a:lnTo>
                    <a:pt x="222" y="30"/>
                  </a:lnTo>
                  <a:lnTo>
                    <a:pt x="220" y="23"/>
                  </a:lnTo>
                  <a:lnTo>
                    <a:pt x="217" y="17"/>
                  </a:lnTo>
                  <a:lnTo>
                    <a:pt x="212" y="12"/>
                  </a:lnTo>
                  <a:lnTo>
                    <a:pt x="207" y="8"/>
                  </a:lnTo>
                  <a:lnTo>
                    <a:pt x="201" y="5"/>
                  </a:lnTo>
                  <a:lnTo>
                    <a:pt x="195" y="2"/>
                  </a:lnTo>
                  <a:lnTo>
                    <a:pt x="188" y="1"/>
                  </a:lnTo>
                  <a:lnTo>
                    <a:pt x="179" y="0"/>
                  </a:lnTo>
                  <a:lnTo>
                    <a:pt x="174" y="1"/>
                  </a:lnTo>
                  <a:lnTo>
                    <a:pt x="168" y="3"/>
                  </a:lnTo>
                  <a:lnTo>
                    <a:pt x="164" y="7"/>
                  </a:lnTo>
                  <a:lnTo>
                    <a:pt x="161" y="11"/>
                  </a:lnTo>
                  <a:lnTo>
                    <a:pt x="155" y="21"/>
                  </a:lnTo>
                  <a:lnTo>
                    <a:pt x="151" y="34"/>
                  </a:lnTo>
                  <a:lnTo>
                    <a:pt x="147" y="46"/>
                  </a:lnTo>
                  <a:lnTo>
                    <a:pt x="144" y="57"/>
                  </a:lnTo>
                  <a:lnTo>
                    <a:pt x="142" y="62"/>
                  </a:lnTo>
                  <a:lnTo>
                    <a:pt x="139" y="65"/>
                  </a:lnTo>
                  <a:lnTo>
                    <a:pt x="136" y="67"/>
                  </a:lnTo>
                  <a:lnTo>
                    <a:pt x="133" y="68"/>
                  </a:lnTo>
                  <a:lnTo>
                    <a:pt x="125" y="68"/>
                  </a:lnTo>
                  <a:lnTo>
                    <a:pt x="118" y="66"/>
                  </a:lnTo>
                  <a:lnTo>
                    <a:pt x="109" y="64"/>
                  </a:lnTo>
                  <a:lnTo>
                    <a:pt x="100" y="62"/>
                  </a:lnTo>
                  <a:lnTo>
                    <a:pt x="79" y="54"/>
                  </a:lnTo>
                  <a:lnTo>
                    <a:pt x="58" y="46"/>
                  </a:lnTo>
                  <a:lnTo>
                    <a:pt x="39" y="38"/>
                  </a:lnTo>
                  <a:lnTo>
                    <a:pt x="21" y="29"/>
                  </a:lnTo>
                  <a:lnTo>
                    <a:pt x="15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25"/>
                  </a:lnTo>
                  <a:lnTo>
                    <a:pt x="0" y="37"/>
                  </a:lnTo>
                  <a:lnTo>
                    <a:pt x="0" y="49"/>
                  </a:lnTo>
                  <a:lnTo>
                    <a:pt x="1" y="62"/>
                  </a:lnTo>
                  <a:lnTo>
                    <a:pt x="5" y="72"/>
                  </a:lnTo>
                  <a:lnTo>
                    <a:pt x="7" y="81"/>
                  </a:lnTo>
                  <a:lnTo>
                    <a:pt x="15" y="96"/>
                  </a:lnTo>
                  <a:lnTo>
                    <a:pt x="24" y="111"/>
                  </a:lnTo>
                  <a:lnTo>
                    <a:pt x="33" y="124"/>
                  </a:lnTo>
                  <a:lnTo>
                    <a:pt x="42" y="138"/>
                  </a:lnTo>
                  <a:lnTo>
                    <a:pt x="45" y="146"/>
                  </a:lnTo>
                  <a:lnTo>
                    <a:pt x="49" y="156"/>
                  </a:lnTo>
                  <a:lnTo>
                    <a:pt x="52" y="167"/>
                  </a:lnTo>
                  <a:lnTo>
                    <a:pt x="53" y="179"/>
                  </a:lnTo>
                  <a:lnTo>
                    <a:pt x="60" y="179"/>
                  </a:lnTo>
                  <a:lnTo>
                    <a:pt x="64" y="190"/>
                  </a:lnTo>
                  <a:lnTo>
                    <a:pt x="73" y="205"/>
                  </a:lnTo>
                  <a:lnTo>
                    <a:pt x="83" y="223"/>
                  </a:lnTo>
                  <a:lnTo>
                    <a:pt x="96" y="241"/>
                  </a:lnTo>
                  <a:lnTo>
                    <a:pt x="109" y="258"/>
                  </a:lnTo>
                  <a:lnTo>
                    <a:pt x="122" y="273"/>
                  </a:lnTo>
                  <a:lnTo>
                    <a:pt x="129" y="280"/>
                  </a:lnTo>
                  <a:lnTo>
                    <a:pt x="135" y="284"/>
                  </a:lnTo>
                  <a:lnTo>
                    <a:pt x="141" y="288"/>
                  </a:lnTo>
                  <a:lnTo>
                    <a:pt x="146" y="290"/>
                  </a:lnTo>
                  <a:lnTo>
                    <a:pt x="139" y="296"/>
                  </a:lnTo>
                  <a:lnTo>
                    <a:pt x="130" y="304"/>
                  </a:lnTo>
                  <a:lnTo>
                    <a:pt x="127" y="310"/>
                  </a:lnTo>
                  <a:lnTo>
                    <a:pt x="122" y="316"/>
                  </a:lnTo>
                  <a:lnTo>
                    <a:pt x="120" y="324"/>
                  </a:lnTo>
                  <a:lnTo>
                    <a:pt x="120" y="332"/>
                  </a:lnTo>
                  <a:lnTo>
                    <a:pt x="120" y="341"/>
                  </a:lnTo>
                  <a:lnTo>
                    <a:pt x="123" y="350"/>
                  </a:lnTo>
                  <a:lnTo>
                    <a:pt x="128" y="360"/>
                  </a:lnTo>
                  <a:lnTo>
                    <a:pt x="133" y="370"/>
                  </a:lnTo>
                  <a:lnTo>
                    <a:pt x="140" y="380"/>
                  </a:lnTo>
                  <a:lnTo>
                    <a:pt x="147" y="391"/>
                  </a:lnTo>
                  <a:lnTo>
                    <a:pt x="157" y="401"/>
                  </a:lnTo>
                  <a:lnTo>
                    <a:pt x="167" y="410"/>
                  </a:lnTo>
                  <a:lnTo>
                    <a:pt x="177" y="420"/>
                  </a:lnTo>
                  <a:lnTo>
                    <a:pt x="188" y="428"/>
                  </a:lnTo>
                  <a:lnTo>
                    <a:pt x="200" y="436"/>
                  </a:lnTo>
                  <a:lnTo>
                    <a:pt x="212" y="442"/>
                  </a:lnTo>
                  <a:lnTo>
                    <a:pt x="224" y="449"/>
                  </a:lnTo>
                  <a:lnTo>
                    <a:pt x="236" y="453"/>
                  </a:lnTo>
                  <a:lnTo>
                    <a:pt x="247" y="455"/>
                  </a:lnTo>
                  <a:lnTo>
                    <a:pt x="259" y="456"/>
                  </a:lnTo>
                  <a:lnTo>
                    <a:pt x="260" y="469"/>
                  </a:lnTo>
                  <a:lnTo>
                    <a:pt x="264" y="483"/>
                  </a:lnTo>
                  <a:lnTo>
                    <a:pt x="265" y="490"/>
                  </a:lnTo>
                  <a:lnTo>
                    <a:pt x="265" y="500"/>
                  </a:lnTo>
                  <a:lnTo>
                    <a:pt x="263" y="511"/>
                  </a:lnTo>
                  <a:lnTo>
                    <a:pt x="259" y="524"/>
                  </a:lnTo>
                  <a:lnTo>
                    <a:pt x="305" y="573"/>
                  </a:lnTo>
                  <a:lnTo>
                    <a:pt x="312" y="574"/>
                  </a:lnTo>
                  <a:lnTo>
                    <a:pt x="319" y="576"/>
                  </a:lnTo>
                  <a:lnTo>
                    <a:pt x="324" y="578"/>
                  </a:lnTo>
                  <a:lnTo>
                    <a:pt x="330" y="580"/>
                  </a:lnTo>
                  <a:lnTo>
                    <a:pt x="335" y="581"/>
                  </a:lnTo>
                  <a:lnTo>
                    <a:pt x="342" y="581"/>
                  </a:lnTo>
                  <a:lnTo>
                    <a:pt x="349" y="578"/>
                  </a:lnTo>
                  <a:lnTo>
                    <a:pt x="358" y="573"/>
                  </a:lnTo>
                  <a:lnTo>
                    <a:pt x="372" y="593"/>
                  </a:lnTo>
                  <a:lnTo>
                    <a:pt x="404" y="639"/>
                  </a:lnTo>
                  <a:lnTo>
                    <a:pt x="423" y="664"/>
                  </a:lnTo>
                  <a:lnTo>
                    <a:pt x="439" y="687"/>
                  </a:lnTo>
                  <a:lnTo>
                    <a:pt x="447" y="697"/>
                  </a:lnTo>
                  <a:lnTo>
                    <a:pt x="455" y="705"/>
                  </a:lnTo>
                  <a:lnTo>
                    <a:pt x="460" y="711"/>
                  </a:lnTo>
                  <a:lnTo>
                    <a:pt x="465" y="714"/>
                  </a:lnTo>
                  <a:lnTo>
                    <a:pt x="471" y="720"/>
                  </a:lnTo>
                  <a:lnTo>
                    <a:pt x="479" y="727"/>
                  </a:lnTo>
                  <a:lnTo>
                    <a:pt x="483" y="729"/>
                  </a:lnTo>
                  <a:lnTo>
                    <a:pt x="488" y="731"/>
                  </a:lnTo>
                  <a:lnTo>
                    <a:pt x="493" y="733"/>
                  </a:lnTo>
                  <a:lnTo>
                    <a:pt x="498" y="733"/>
                  </a:lnTo>
                  <a:lnTo>
                    <a:pt x="504" y="733"/>
                  </a:lnTo>
                  <a:lnTo>
                    <a:pt x="512" y="733"/>
                  </a:lnTo>
                  <a:lnTo>
                    <a:pt x="522" y="733"/>
                  </a:lnTo>
                  <a:lnTo>
                    <a:pt x="532" y="733"/>
                  </a:lnTo>
                  <a:lnTo>
                    <a:pt x="533" y="741"/>
                  </a:lnTo>
                  <a:lnTo>
                    <a:pt x="537" y="748"/>
                  </a:lnTo>
                  <a:lnTo>
                    <a:pt x="542" y="755"/>
                  </a:lnTo>
                  <a:lnTo>
                    <a:pt x="547" y="761"/>
                  </a:lnTo>
                  <a:lnTo>
                    <a:pt x="554" y="766"/>
                  </a:lnTo>
                  <a:lnTo>
                    <a:pt x="561" y="771"/>
                  </a:lnTo>
                  <a:lnTo>
                    <a:pt x="570" y="776"/>
                  </a:lnTo>
                  <a:lnTo>
                    <a:pt x="579" y="781"/>
                  </a:lnTo>
                  <a:lnTo>
                    <a:pt x="598" y="787"/>
                  </a:lnTo>
                  <a:lnTo>
                    <a:pt x="616" y="791"/>
                  </a:lnTo>
                  <a:lnTo>
                    <a:pt x="635" y="794"/>
                  </a:lnTo>
                  <a:lnTo>
                    <a:pt x="651" y="795"/>
                  </a:lnTo>
                  <a:lnTo>
                    <a:pt x="663" y="795"/>
                  </a:lnTo>
                  <a:lnTo>
                    <a:pt x="671" y="795"/>
                  </a:lnTo>
                  <a:lnTo>
                    <a:pt x="685" y="795"/>
                  </a:lnTo>
                  <a:lnTo>
                    <a:pt x="700" y="793"/>
                  </a:lnTo>
                  <a:lnTo>
                    <a:pt x="706" y="792"/>
                  </a:lnTo>
                  <a:lnTo>
                    <a:pt x="713" y="790"/>
                  </a:lnTo>
                  <a:lnTo>
                    <a:pt x="718" y="787"/>
                  </a:lnTo>
                  <a:lnTo>
                    <a:pt x="724" y="783"/>
                  </a:lnTo>
                  <a:lnTo>
                    <a:pt x="732" y="780"/>
                  </a:lnTo>
                  <a:lnTo>
                    <a:pt x="742" y="773"/>
                  </a:lnTo>
                  <a:lnTo>
                    <a:pt x="749" y="769"/>
                  </a:lnTo>
                  <a:lnTo>
                    <a:pt x="756" y="766"/>
                  </a:lnTo>
                  <a:lnTo>
                    <a:pt x="763" y="764"/>
                  </a:lnTo>
                  <a:lnTo>
                    <a:pt x="771" y="764"/>
                  </a:lnTo>
                  <a:lnTo>
                    <a:pt x="779" y="764"/>
                  </a:lnTo>
                  <a:lnTo>
                    <a:pt x="785" y="767"/>
                  </a:lnTo>
                  <a:lnTo>
                    <a:pt x="790" y="771"/>
                  </a:lnTo>
                  <a:lnTo>
                    <a:pt x="794" y="775"/>
                  </a:lnTo>
                  <a:lnTo>
                    <a:pt x="796" y="782"/>
                  </a:lnTo>
                  <a:lnTo>
                    <a:pt x="798" y="789"/>
                  </a:lnTo>
                  <a:lnTo>
                    <a:pt x="801" y="796"/>
                  </a:lnTo>
                  <a:lnTo>
                    <a:pt x="802" y="804"/>
                  </a:lnTo>
                  <a:lnTo>
                    <a:pt x="803" y="820"/>
                  </a:lnTo>
                  <a:lnTo>
                    <a:pt x="805" y="837"/>
                  </a:lnTo>
                  <a:lnTo>
                    <a:pt x="807" y="845"/>
                  </a:lnTo>
                  <a:lnTo>
                    <a:pt x="809" y="851"/>
                  </a:lnTo>
                  <a:lnTo>
                    <a:pt x="813" y="857"/>
                  </a:lnTo>
                  <a:lnTo>
                    <a:pt x="817" y="862"/>
                  </a:lnTo>
                  <a:lnTo>
                    <a:pt x="822" y="865"/>
                  </a:lnTo>
                  <a:lnTo>
                    <a:pt x="828" y="867"/>
                  </a:lnTo>
                  <a:lnTo>
                    <a:pt x="838" y="869"/>
                  </a:lnTo>
                  <a:lnTo>
                    <a:pt x="849" y="871"/>
                  </a:lnTo>
                  <a:lnTo>
                    <a:pt x="874" y="874"/>
                  </a:lnTo>
                  <a:lnTo>
                    <a:pt x="897" y="875"/>
                  </a:lnTo>
                  <a:lnTo>
                    <a:pt x="925" y="876"/>
                  </a:lnTo>
                  <a:lnTo>
                    <a:pt x="948" y="878"/>
                  </a:lnTo>
                  <a:lnTo>
                    <a:pt x="970" y="882"/>
                  </a:lnTo>
                  <a:lnTo>
                    <a:pt x="991" y="887"/>
                  </a:lnTo>
                  <a:lnTo>
                    <a:pt x="1011" y="892"/>
                  </a:lnTo>
                  <a:lnTo>
                    <a:pt x="1035" y="896"/>
                  </a:lnTo>
                  <a:lnTo>
                    <a:pt x="1047" y="898"/>
                  </a:lnTo>
                  <a:lnTo>
                    <a:pt x="1060" y="899"/>
                  </a:lnTo>
                  <a:lnTo>
                    <a:pt x="1074" y="900"/>
                  </a:lnTo>
                  <a:lnTo>
                    <a:pt x="1089" y="900"/>
                  </a:lnTo>
                  <a:lnTo>
                    <a:pt x="1091" y="879"/>
                  </a:lnTo>
                  <a:lnTo>
                    <a:pt x="1093" y="865"/>
                  </a:lnTo>
                  <a:lnTo>
                    <a:pt x="1095" y="854"/>
                  </a:lnTo>
                  <a:lnTo>
                    <a:pt x="1096" y="844"/>
                  </a:lnTo>
                  <a:lnTo>
                    <a:pt x="1096" y="840"/>
                  </a:lnTo>
                  <a:lnTo>
                    <a:pt x="1097" y="836"/>
                  </a:lnTo>
                  <a:lnTo>
                    <a:pt x="1099" y="831"/>
                  </a:lnTo>
                  <a:lnTo>
                    <a:pt x="1102" y="827"/>
                  </a:lnTo>
                  <a:lnTo>
                    <a:pt x="1108" y="820"/>
                  </a:lnTo>
                  <a:lnTo>
                    <a:pt x="1116" y="814"/>
                  </a:lnTo>
                  <a:lnTo>
                    <a:pt x="1136" y="802"/>
                  </a:lnTo>
                  <a:lnTo>
                    <a:pt x="1156" y="789"/>
                  </a:lnTo>
                  <a:lnTo>
                    <a:pt x="1156" y="770"/>
                  </a:lnTo>
                  <a:lnTo>
                    <a:pt x="1151" y="769"/>
                  </a:lnTo>
                  <a:lnTo>
                    <a:pt x="1147" y="768"/>
                  </a:lnTo>
                  <a:lnTo>
                    <a:pt x="1143" y="766"/>
                  </a:lnTo>
                  <a:lnTo>
                    <a:pt x="1140" y="764"/>
                  </a:lnTo>
                  <a:lnTo>
                    <a:pt x="1136" y="758"/>
                  </a:lnTo>
                  <a:lnTo>
                    <a:pt x="1132" y="750"/>
                  </a:lnTo>
                  <a:lnTo>
                    <a:pt x="1130" y="734"/>
                  </a:lnTo>
                  <a:lnTo>
                    <a:pt x="1129" y="720"/>
                  </a:lnTo>
                  <a:lnTo>
                    <a:pt x="1121" y="719"/>
                  </a:lnTo>
                  <a:lnTo>
                    <a:pt x="1114" y="717"/>
                  </a:lnTo>
                  <a:lnTo>
                    <a:pt x="1105" y="713"/>
                  </a:lnTo>
                  <a:lnTo>
                    <a:pt x="1096" y="708"/>
                  </a:lnTo>
                  <a:lnTo>
                    <a:pt x="1087" y="701"/>
                  </a:lnTo>
                  <a:lnTo>
                    <a:pt x="1077" y="694"/>
                  </a:lnTo>
                  <a:lnTo>
                    <a:pt x="1069" y="686"/>
                  </a:lnTo>
                  <a:lnTo>
                    <a:pt x="1061" y="678"/>
                  </a:lnTo>
                  <a:lnTo>
                    <a:pt x="1044" y="660"/>
                  </a:lnTo>
                  <a:lnTo>
                    <a:pt x="1031" y="643"/>
                  </a:lnTo>
                  <a:lnTo>
                    <a:pt x="1026" y="635"/>
                  </a:lnTo>
                  <a:lnTo>
                    <a:pt x="1021" y="628"/>
                  </a:lnTo>
                  <a:lnTo>
                    <a:pt x="1018" y="622"/>
                  </a:lnTo>
                  <a:lnTo>
                    <a:pt x="1016" y="616"/>
                  </a:lnTo>
                  <a:lnTo>
                    <a:pt x="1017" y="609"/>
                  </a:lnTo>
                  <a:lnTo>
                    <a:pt x="1018" y="603"/>
                  </a:lnTo>
                  <a:lnTo>
                    <a:pt x="1019" y="598"/>
                  </a:lnTo>
                  <a:lnTo>
                    <a:pt x="1021" y="593"/>
                  </a:lnTo>
                  <a:lnTo>
                    <a:pt x="1027" y="584"/>
                  </a:lnTo>
                  <a:lnTo>
                    <a:pt x="1033" y="576"/>
                  </a:lnTo>
                  <a:lnTo>
                    <a:pt x="1039" y="568"/>
                  </a:lnTo>
                  <a:lnTo>
                    <a:pt x="1044" y="559"/>
                  </a:lnTo>
                  <a:lnTo>
                    <a:pt x="1047" y="553"/>
                  </a:lnTo>
                  <a:lnTo>
                    <a:pt x="1048" y="548"/>
                  </a:lnTo>
                  <a:lnTo>
                    <a:pt x="1049" y="542"/>
                  </a:lnTo>
                  <a:lnTo>
                    <a:pt x="1050" y="536"/>
                  </a:lnTo>
                  <a:lnTo>
                    <a:pt x="1049" y="531"/>
                  </a:lnTo>
                  <a:lnTo>
                    <a:pt x="1048" y="526"/>
                  </a:lnTo>
                  <a:lnTo>
                    <a:pt x="1047" y="522"/>
                  </a:lnTo>
                  <a:lnTo>
                    <a:pt x="1044" y="519"/>
                  </a:lnTo>
                  <a:lnTo>
                    <a:pt x="1041" y="517"/>
                  </a:lnTo>
                  <a:lnTo>
                    <a:pt x="1038" y="515"/>
                  </a:lnTo>
                  <a:lnTo>
                    <a:pt x="1035" y="513"/>
                  </a:lnTo>
                  <a:lnTo>
                    <a:pt x="1030" y="512"/>
                  </a:lnTo>
                  <a:lnTo>
                    <a:pt x="1013" y="511"/>
                  </a:lnTo>
                  <a:lnTo>
                    <a:pt x="996" y="512"/>
                  </a:lnTo>
                  <a:lnTo>
                    <a:pt x="993" y="511"/>
                  </a:lnTo>
                  <a:lnTo>
                    <a:pt x="990" y="510"/>
                  </a:lnTo>
                  <a:lnTo>
                    <a:pt x="986" y="509"/>
                  </a:lnTo>
                  <a:lnTo>
                    <a:pt x="983" y="507"/>
                  </a:lnTo>
                  <a:lnTo>
                    <a:pt x="976" y="501"/>
                  </a:lnTo>
                  <a:lnTo>
                    <a:pt x="971" y="493"/>
                  </a:lnTo>
                  <a:lnTo>
                    <a:pt x="966" y="485"/>
                  </a:lnTo>
                  <a:lnTo>
                    <a:pt x="962" y="475"/>
                  </a:lnTo>
                  <a:lnTo>
                    <a:pt x="958" y="464"/>
                  </a:lnTo>
                  <a:lnTo>
                    <a:pt x="954" y="453"/>
                  </a:lnTo>
                  <a:lnTo>
                    <a:pt x="950" y="429"/>
                  </a:lnTo>
                  <a:lnTo>
                    <a:pt x="946" y="407"/>
                  </a:lnTo>
                  <a:lnTo>
                    <a:pt x="943" y="389"/>
                  </a:lnTo>
                  <a:lnTo>
                    <a:pt x="943" y="375"/>
                  </a:lnTo>
                  <a:lnTo>
                    <a:pt x="940" y="375"/>
                  </a:lnTo>
                  <a:lnTo>
                    <a:pt x="937" y="373"/>
                  </a:lnTo>
                  <a:lnTo>
                    <a:pt x="934" y="371"/>
                  </a:lnTo>
                  <a:lnTo>
                    <a:pt x="931" y="369"/>
                  </a:lnTo>
                  <a:lnTo>
                    <a:pt x="928" y="366"/>
                  </a:lnTo>
                  <a:lnTo>
                    <a:pt x="926" y="363"/>
                  </a:lnTo>
                  <a:lnTo>
                    <a:pt x="924" y="360"/>
                  </a:lnTo>
                  <a:lnTo>
                    <a:pt x="924" y="357"/>
                  </a:lnTo>
                  <a:lnTo>
                    <a:pt x="924" y="354"/>
                  </a:lnTo>
                  <a:lnTo>
                    <a:pt x="925" y="351"/>
                  </a:lnTo>
                  <a:lnTo>
                    <a:pt x="926" y="348"/>
                  </a:lnTo>
                  <a:lnTo>
                    <a:pt x="928" y="345"/>
                  </a:lnTo>
                  <a:lnTo>
                    <a:pt x="934" y="339"/>
                  </a:lnTo>
                  <a:lnTo>
                    <a:pt x="940" y="334"/>
                  </a:lnTo>
                  <a:lnTo>
                    <a:pt x="946" y="328"/>
                  </a:lnTo>
                  <a:lnTo>
                    <a:pt x="951" y="323"/>
                  </a:lnTo>
                  <a:lnTo>
                    <a:pt x="955" y="318"/>
                  </a:lnTo>
                  <a:lnTo>
                    <a:pt x="957" y="314"/>
                  </a:lnTo>
                  <a:lnTo>
                    <a:pt x="958" y="301"/>
                  </a:lnTo>
                  <a:lnTo>
                    <a:pt x="960" y="293"/>
                  </a:lnTo>
                  <a:lnTo>
                    <a:pt x="962" y="285"/>
                  </a:lnTo>
                  <a:lnTo>
                    <a:pt x="963" y="271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00" name="Freeform 257"/>
            <p:cNvSpPr>
              <a:spLocks/>
            </p:cNvSpPr>
            <p:nvPr>
              <p:custDataLst>
                <p:tags r:id="rId185"/>
              </p:custDataLst>
            </p:nvPr>
          </p:nvSpPr>
          <p:spPr bwMode="auto">
            <a:xfrm>
              <a:off x="7182482" y="3723127"/>
              <a:ext cx="247650" cy="228600"/>
            </a:xfrm>
            <a:custGeom>
              <a:avLst/>
              <a:gdLst>
                <a:gd name="T0" fmla="*/ 2147483647 w 571"/>
                <a:gd name="T1" fmla="*/ 2147483647 h 443"/>
                <a:gd name="T2" fmla="*/ 2147483647 w 571"/>
                <a:gd name="T3" fmla="*/ 2147483647 h 443"/>
                <a:gd name="T4" fmla="*/ 2147483647 w 571"/>
                <a:gd name="T5" fmla="*/ 2147483647 h 443"/>
                <a:gd name="T6" fmla="*/ 2147483647 w 571"/>
                <a:gd name="T7" fmla="*/ 2147483647 h 443"/>
                <a:gd name="T8" fmla="*/ 2147483647 w 571"/>
                <a:gd name="T9" fmla="*/ 2147483647 h 443"/>
                <a:gd name="T10" fmla="*/ 2147483647 w 571"/>
                <a:gd name="T11" fmla="*/ 2147483647 h 443"/>
                <a:gd name="T12" fmla="*/ 2147483647 w 571"/>
                <a:gd name="T13" fmla="*/ 2147483647 h 443"/>
                <a:gd name="T14" fmla="*/ 2147483647 w 571"/>
                <a:gd name="T15" fmla="*/ 2147483647 h 443"/>
                <a:gd name="T16" fmla="*/ 2147483647 w 571"/>
                <a:gd name="T17" fmla="*/ 2147483647 h 443"/>
                <a:gd name="T18" fmla="*/ 2147483647 w 571"/>
                <a:gd name="T19" fmla="*/ 2147483647 h 443"/>
                <a:gd name="T20" fmla="*/ 2147483647 w 571"/>
                <a:gd name="T21" fmla="*/ 2147483647 h 443"/>
                <a:gd name="T22" fmla="*/ 2147483647 w 571"/>
                <a:gd name="T23" fmla="*/ 2147483647 h 443"/>
                <a:gd name="T24" fmla="*/ 2147483647 w 571"/>
                <a:gd name="T25" fmla="*/ 2147483647 h 443"/>
                <a:gd name="T26" fmla="*/ 2147483647 w 571"/>
                <a:gd name="T27" fmla="*/ 2147483647 h 443"/>
                <a:gd name="T28" fmla="*/ 2147483647 w 571"/>
                <a:gd name="T29" fmla="*/ 2147483647 h 443"/>
                <a:gd name="T30" fmla="*/ 2147483647 w 571"/>
                <a:gd name="T31" fmla="*/ 2147483647 h 443"/>
                <a:gd name="T32" fmla="*/ 2147483647 w 571"/>
                <a:gd name="T33" fmla="*/ 2147483647 h 443"/>
                <a:gd name="T34" fmla="*/ 2147483647 w 571"/>
                <a:gd name="T35" fmla="*/ 2147483647 h 443"/>
                <a:gd name="T36" fmla="*/ 2147483647 w 571"/>
                <a:gd name="T37" fmla="*/ 2147483647 h 443"/>
                <a:gd name="T38" fmla="*/ 2147483647 w 571"/>
                <a:gd name="T39" fmla="*/ 2147483647 h 443"/>
                <a:gd name="T40" fmla="*/ 2147483647 w 571"/>
                <a:gd name="T41" fmla="*/ 2147483647 h 443"/>
                <a:gd name="T42" fmla="*/ 2147483647 w 571"/>
                <a:gd name="T43" fmla="*/ 2147483647 h 443"/>
                <a:gd name="T44" fmla="*/ 2147483647 w 571"/>
                <a:gd name="T45" fmla="*/ 2147483647 h 443"/>
                <a:gd name="T46" fmla="*/ 2147483647 w 571"/>
                <a:gd name="T47" fmla="*/ 2147483647 h 443"/>
                <a:gd name="T48" fmla="*/ 2147483647 w 571"/>
                <a:gd name="T49" fmla="*/ 2147483647 h 443"/>
                <a:gd name="T50" fmla="*/ 2147483647 w 571"/>
                <a:gd name="T51" fmla="*/ 2147483647 h 443"/>
                <a:gd name="T52" fmla="*/ 2147483647 w 571"/>
                <a:gd name="T53" fmla="*/ 2147483647 h 443"/>
                <a:gd name="T54" fmla="*/ 2147483647 w 571"/>
                <a:gd name="T55" fmla="*/ 2147483647 h 443"/>
                <a:gd name="T56" fmla="*/ 2147483647 w 571"/>
                <a:gd name="T57" fmla="*/ 2147483647 h 443"/>
                <a:gd name="T58" fmla="*/ 2147483647 w 571"/>
                <a:gd name="T59" fmla="*/ 2147483647 h 443"/>
                <a:gd name="T60" fmla="*/ 2147483647 w 571"/>
                <a:gd name="T61" fmla="*/ 2147483647 h 443"/>
                <a:gd name="T62" fmla="*/ 2147483647 w 571"/>
                <a:gd name="T63" fmla="*/ 2147483647 h 443"/>
                <a:gd name="T64" fmla="*/ 2147483647 w 571"/>
                <a:gd name="T65" fmla="*/ 2147483647 h 443"/>
                <a:gd name="T66" fmla="*/ 2147483647 w 571"/>
                <a:gd name="T67" fmla="*/ 2147483647 h 443"/>
                <a:gd name="T68" fmla="*/ 2147483647 w 571"/>
                <a:gd name="T69" fmla="*/ 2147483647 h 443"/>
                <a:gd name="T70" fmla="*/ 2147483647 w 571"/>
                <a:gd name="T71" fmla="*/ 2147483647 h 443"/>
                <a:gd name="T72" fmla="*/ 2147483647 w 571"/>
                <a:gd name="T73" fmla="*/ 2147483647 h 443"/>
                <a:gd name="T74" fmla="*/ 2147483647 w 571"/>
                <a:gd name="T75" fmla="*/ 2147483647 h 443"/>
                <a:gd name="T76" fmla="*/ 2147483647 w 571"/>
                <a:gd name="T77" fmla="*/ 2147483647 h 443"/>
                <a:gd name="T78" fmla="*/ 2147483647 w 571"/>
                <a:gd name="T79" fmla="*/ 2147483647 h 443"/>
                <a:gd name="T80" fmla="*/ 2147483647 w 571"/>
                <a:gd name="T81" fmla="*/ 2147483647 h 443"/>
                <a:gd name="T82" fmla="*/ 0 w 571"/>
                <a:gd name="T83" fmla="*/ 2147483647 h 44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571" h="443">
                  <a:moveTo>
                    <a:pt x="0" y="196"/>
                  </a:moveTo>
                  <a:lnTo>
                    <a:pt x="26" y="190"/>
                  </a:lnTo>
                  <a:lnTo>
                    <a:pt x="33" y="184"/>
                  </a:lnTo>
                  <a:lnTo>
                    <a:pt x="37" y="177"/>
                  </a:lnTo>
                  <a:lnTo>
                    <a:pt x="39" y="171"/>
                  </a:lnTo>
                  <a:lnTo>
                    <a:pt x="41" y="164"/>
                  </a:lnTo>
                  <a:lnTo>
                    <a:pt x="41" y="149"/>
                  </a:lnTo>
                  <a:lnTo>
                    <a:pt x="39" y="129"/>
                  </a:lnTo>
                  <a:lnTo>
                    <a:pt x="41" y="124"/>
                  </a:lnTo>
                  <a:lnTo>
                    <a:pt x="44" y="120"/>
                  </a:lnTo>
                  <a:lnTo>
                    <a:pt x="49" y="116"/>
                  </a:lnTo>
                  <a:lnTo>
                    <a:pt x="55" y="112"/>
                  </a:lnTo>
                  <a:lnTo>
                    <a:pt x="61" y="109"/>
                  </a:lnTo>
                  <a:lnTo>
                    <a:pt x="68" y="107"/>
                  </a:lnTo>
                  <a:lnTo>
                    <a:pt x="75" y="105"/>
                  </a:lnTo>
                  <a:lnTo>
                    <a:pt x="80" y="104"/>
                  </a:lnTo>
                  <a:lnTo>
                    <a:pt x="92" y="105"/>
                  </a:lnTo>
                  <a:lnTo>
                    <a:pt x="103" y="106"/>
                  </a:lnTo>
                  <a:lnTo>
                    <a:pt x="114" y="107"/>
                  </a:lnTo>
                  <a:lnTo>
                    <a:pt x="124" y="109"/>
                  </a:lnTo>
                  <a:lnTo>
                    <a:pt x="142" y="113"/>
                  </a:lnTo>
                  <a:lnTo>
                    <a:pt x="158" y="120"/>
                  </a:lnTo>
                  <a:lnTo>
                    <a:pt x="172" y="127"/>
                  </a:lnTo>
                  <a:lnTo>
                    <a:pt x="184" y="135"/>
                  </a:lnTo>
                  <a:lnTo>
                    <a:pt x="195" y="145"/>
                  </a:lnTo>
                  <a:lnTo>
                    <a:pt x="206" y="154"/>
                  </a:lnTo>
                  <a:lnTo>
                    <a:pt x="227" y="127"/>
                  </a:lnTo>
                  <a:lnTo>
                    <a:pt x="254" y="92"/>
                  </a:lnTo>
                  <a:lnTo>
                    <a:pt x="276" y="62"/>
                  </a:lnTo>
                  <a:lnTo>
                    <a:pt x="285" y="49"/>
                  </a:lnTo>
                  <a:lnTo>
                    <a:pt x="538" y="0"/>
                  </a:lnTo>
                  <a:lnTo>
                    <a:pt x="538" y="43"/>
                  </a:lnTo>
                  <a:lnTo>
                    <a:pt x="548" y="60"/>
                  </a:lnTo>
                  <a:lnTo>
                    <a:pt x="557" y="78"/>
                  </a:lnTo>
                  <a:lnTo>
                    <a:pt x="560" y="87"/>
                  </a:lnTo>
                  <a:lnTo>
                    <a:pt x="562" y="98"/>
                  </a:lnTo>
                  <a:lnTo>
                    <a:pt x="564" y="110"/>
                  </a:lnTo>
                  <a:lnTo>
                    <a:pt x="564" y="123"/>
                  </a:lnTo>
                  <a:lnTo>
                    <a:pt x="565" y="136"/>
                  </a:lnTo>
                  <a:lnTo>
                    <a:pt x="568" y="151"/>
                  </a:lnTo>
                  <a:lnTo>
                    <a:pt x="570" y="164"/>
                  </a:lnTo>
                  <a:lnTo>
                    <a:pt x="571" y="178"/>
                  </a:lnTo>
                  <a:lnTo>
                    <a:pt x="568" y="180"/>
                  </a:lnTo>
                  <a:lnTo>
                    <a:pt x="564" y="180"/>
                  </a:lnTo>
                  <a:lnTo>
                    <a:pt x="563" y="179"/>
                  </a:lnTo>
                  <a:lnTo>
                    <a:pt x="562" y="179"/>
                  </a:lnTo>
                  <a:lnTo>
                    <a:pt x="561" y="179"/>
                  </a:lnTo>
                  <a:lnTo>
                    <a:pt x="558" y="184"/>
                  </a:lnTo>
                  <a:lnTo>
                    <a:pt x="553" y="196"/>
                  </a:lnTo>
                  <a:lnTo>
                    <a:pt x="548" y="207"/>
                  </a:lnTo>
                  <a:lnTo>
                    <a:pt x="541" y="217"/>
                  </a:lnTo>
                  <a:lnTo>
                    <a:pt x="534" y="225"/>
                  </a:lnTo>
                  <a:lnTo>
                    <a:pt x="525" y="232"/>
                  </a:lnTo>
                  <a:lnTo>
                    <a:pt x="515" y="239"/>
                  </a:lnTo>
                  <a:lnTo>
                    <a:pt x="505" y="244"/>
                  </a:lnTo>
                  <a:lnTo>
                    <a:pt x="494" y="249"/>
                  </a:lnTo>
                  <a:lnTo>
                    <a:pt x="449" y="267"/>
                  </a:lnTo>
                  <a:lnTo>
                    <a:pt x="405" y="283"/>
                  </a:lnTo>
                  <a:lnTo>
                    <a:pt x="374" y="296"/>
                  </a:lnTo>
                  <a:lnTo>
                    <a:pt x="347" y="307"/>
                  </a:lnTo>
                  <a:lnTo>
                    <a:pt x="321" y="318"/>
                  </a:lnTo>
                  <a:lnTo>
                    <a:pt x="295" y="328"/>
                  </a:lnTo>
                  <a:lnTo>
                    <a:pt x="270" y="337"/>
                  </a:lnTo>
                  <a:lnTo>
                    <a:pt x="245" y="345"/>
                  </a:lnTo>
                  <a:lnTo>
                    <a:pt x="216" y="354"/>
                  </a:lnTo>
                  <a:lnTo>
                    <a:pt x="186" y="363"/>
                  </a:lnTo>
                  <a:lnTo>
                    <a:pt x="177" y="366"/>
                  </a:lnTo>
                  <a:lnTo>
                    <a:pt x="167" y="371"/>
                  </a:lnTo>
                  <a:lnTo>
                    <a:pt x="158" y="376"/>
                  </a:lnTo>
                  <a:lnTo>
                    <a:pt x="149" y="381"/>
                  </a:lnTo>
                  <a:lnTo>
                    <a:pt x="134" y="392"/>
                  </a:lnTo>
                  <a:lnTo>
                    <a:pt x="119" y="403"/>
                  </a:lnTo>
                  <a:lnTo>
                    <a:pt x="105" y="414"/>
                  </a:lnTo>
                  <a:lnTo>
                    <a:pt x="92" y="426"/>
                  </a:lnTo>
                  <a:lnTo>
                    <a:pt x="79" y="435"/>
                  </a:lnTo>
                  <a:lnTo>
                    <a:pt x="67" y="443"/>
                  </a:lnTo>
                  <a:lnTo>
                    <a:pt x="58" y="410"/>
                  </a:lnTo>
                  <a:lnTo>
                    <a:pt x="50" y="378"/>
                  </a:lnTo>
                  <a:lnTo>
                    <a:pt x="42" y="345"/>
                  </a:lnTo>
                  <a:lnTo>
                    <a:pt x="33" y="313"/>
                  </a:lnTo>
                  <a:lnTo>
                    <a:pt x="24" y="282"/>
                  </a:lnTo>
                  <a:lnTo>
                    <a:pt x="16" y="251"/>
                  </a:lnTo>
                  <a:lnTo>
                    <a:pt x="8" y="223"/>
                  </a:lnTo>
                  <a:lnTo>
                    <a:pt x="0" y="196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260" name="Freeform 258"/>
            <p:cNvSpPr>
              <a:spLocks/>
            </p:cNvSpPr>
            <p:nvPr>
              <p:custDataLst>
                <p:tags r:id="rId186"/>
              </p:custDataLst>
            </p:nvPr>
          </p:nvSpPr>
          <p:spPr bwMode="auto">
            <a:xfrm>
              <a:off x="7378183" y="3498473"/>
              <a:ext cx="119696" cy="119762"/>
            </a:xfrm>
            <a:custGeom>
              <a:avLst/>
              <a:gdLst>
                <a:gd name="T0" fmla="*/ 0 w 286"/>
                <a:gd name="T1" fmla="*/ 111 h 228"/>
                <a:gd name="T2" fmla="*/ 4 w 286"/>
                <a:gd name="T3" fmla="*/ 109 h 228"/>
                <a:gd name="T4" fmla="*/ 7 w 286"/>
                <a:gd name="T5" fmla="*/ 109 h 228"/>
                <a:gd name="T6" fmla="*/ 10 w 286"/>
                <a:gd name="T7" fmla="*/ 110 h 228"/>
                <a:gd name="T8" fmla="*/ 11 w 286"/>
                <a:gd name="T9" fmla="*/ 111 h 228"/>
                <a:gd name="T10" fmla="*/ 12 w 286"/>
                <a:gd name="T11" fmla="*/ 117 h 228"/>
                <a:gd name="T12" fmla="*/ 13 w 286"/>
                <a:gd name="T13" fmla="*/ 123 h 228"/>
                <a:gd name="T14" fmla="*/ 14 w 286"/>
                <a:gd name="T15" fmla="*/ 128 h 228"/>
                <a:gd name="T16" fmla="*/ 16 w 286"/>
                <a:gd name="T17" fmla="*/ 131 h 228"/>
                <a:gd name="T18" fmla="*/ 19 w 286"/>
                <a:gd name="T19" fmla="*/ 134 h 228"/>
                <a:gd name="T20" fmla="*/ 24 w 286"/>
                <a:gd name="T21" fmla="*/ 136 h 228"/>
                <a:gd name="T22" fmla="*/ 29 w 286"/>
                <a:gd name="T23" fmla="*/ 137 h 228"/>
                <a:gd name="T24" fmla="*/ 37 w 286"/>
                <a:gd name="T25" fmla="*/ 138 h 228"/>
                <a:gd name="T26" fmla="*/ 48 w 286"/>
                <a:gd name="T27" fmla="*/ 138 h 228"/>
                <a:gd name="T28" fmla="*/ 60 w 286"/>
                <a:gd name="T29" fmla="*/ 136 h 228"/>
                <a:gd name="T30" fmla="*/ 98 w 286"/>
                <a:gd name="T31" fmla="*/ 130 h 228"/>
                <a:gd name="T32" fmla="*/ 129 w 286"/>
                <a:gd name="T33" fmla="*/ 122 h 228"/>
                <a:gd name="T34" fmla="*/ 143 w 286"/>
                <a:gd name="T35" fmla="*/ 118 h 228"/>
                <a:gd name="T36" fmla="*/ 156 w 286"/>
                <a:gd name="T37" fmla="*/ 114 h 228"/>
                <a:gd name="T38" fmla="*/ 167 w 286"/>
                <a:gd name="T39" fmla="*/ 109 h 228"/>
                <a:gd name="T40" fmla="*/ 178 w 286"/>
                <a:gd name="T41" fmla="*/ 103 h 228"/>
                <a:gd name="T42" fmla="*/ 188 w 286"/>
                <a:gd name="T43" fmla="*/ 96 h 228"/>
                <a:gd name="T44" fmla="*/ 198 w 286"/>
                <a:gd name="T45" fmla="*/ 87 h 228"/>
                <a:gd name="T46" fmla="*/ 208 w 286"/>
                <a:gd name="T47" fmla="*/ 78 h 228"/>
                <a:gd name="T48" fmla="*/ 219 w 286"/>
                <a:gd name="T49" fmla="*/ 65 h 228"/>
                <a:gd name="T50" fmla="*/ 229 w 286"/>
                <a:gd name="T51" fmla="*/ 52 h 228"/>
                <a:gd name="T52" fmla="*/ 241 w 286"/>
                <a:gd name="T53" fmla="*/ 37 h 228"/>
                <a:gd name="T54" fmla="*/ 253 w 286"/>
                <a:gd name="T55" fmla="*/ 20 h 228"/>
                <a:gd name="T56" fmla="*/ 266 w 286"/>
                <a:gd name="T57" fmla="*/ 0 h 228"/>
                <a:gd name="T58" fmla="*/ 270 w 286"/>
                <a:gd name="T59" fmla="*/ 7 h 228"/>
                <a:gd name="T60" fmla="*/ 274 w 286"/>
                <a:gd name="T61" fmla="*/ 13 h 228"/>
                <a:gd name="T62" fmla="*/ 276 w 286"/>
                <a:gd name="T63" fmla="*/ 20 h 228"/>
                <a:gd name="T64" fmla="*/ 279 w 286"/>
                <a:gd name="T65" fmla="*/ 27 h 228"/>
                <a:gd name="T66" fmla="*/ 282 w 286"/>
                <a:gd name="T67" fmla="*/ 42 h 228"/>
                <a:gd name="T68" fmla="*/ 286 w 286"/>
                <a:gd name="T69" fmla="*/ 62 h 228"/>
                <a:gd name="T70" fmla="*/ 246 w 286"/>
                <a:gd name="T71" fmla="*/ 198 h 228"/>
                <a:gd name="T72" fmla="*/ 226 w 286"/>
                <a:gd name="T73" fmla="*/ 228 h 228"/>
                <a:gd name="T74" fmla="*/ 53 w 286"/>
                <a:gd name="T75" fmla="*/ 210 h 228"/>
                <a:gd name="T76" fmla="*/ 0 w 286"/>
                <a:gd name="T77" fmla="*/ 111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6" h="228">
                  <a:moveTo>
                    <a:pt x="0" y="111"/>
                  </a:moveTo>
                  <a:lnTo>
                    <a:pt x="4" y="109"/>
                  </a:lnTo>
                  <a:lnTo>
                    <a:pt x="7" y="109"/>
                  </a:lnTo>
                  <a:lnTo>
                    <a:pt x="10" y="110"/>
                  </a:lnTo>
                  <a:lnTo>
                    <a:pt x="11" y="111"/>
                  </a:lnTo>
                  <a:lnTo>
                    <a:pt x="12" y="117"/>
                  </a:lnTo>
                  <a:lnTo>
                    <a:pt x="13" y="123"/>
                  </a:lnTo>
                  <a:lnTo>
                    <a:pt x="14" y="128"/>
                  </a:lnTo>
                  <a:lnTo>
                    <a:pt x="16" y="131"/>
                  </a:lnTo>
                  <a:lnTo>
                    <a:pt x="19" y="134"/>
                  </a:lnTo>
                  <a:lnTo>
                    <a:pt x="24" y="136"/>
                  </a:lnTo>
                  <a:lnTo>
                    <a:pt x="29" y="137"/>
                  </a:lnTo>
                  <a:lnTo>
                    <a:pt x="37" y="138"/>
                  </a:lnTo>
                  <a:lnTo>
                    <a:pt x="48" y="138"/>
                  </a:lnTo>
                  <a:lnTo>
                    <a:pt x="60" y="136"/>
                  </a:lnTo>
                  <a:lnTo>
                    <a:pt x="98" y="130"/>
                  </a:lnTo>
                  <a:lnTo>
                    <a:pt x="129" y="122"/>
                  </a:lnTo>
                  <a:lnTo>
                    <a:pt x="143" y="118"/>
                  </a:lnTo>
                  <a:lnTo>
                    <a:pt x="156" y="114"/>
                  </a:lnTo>
                  <a:lnTo>
                    <a:pt x="167" y="109"/>
                  </a:lnTo>
                  <a:lnTo>
                    <a:pt x="178" y="103"/>
                  </a:lnTo>
                  <a:lnTo>
                    <a:pt x="188" y="96"/>
                  </a:lnTo>
                  <a:lnTo>
                    <a:pt x="198" y="87"/>
                  </a:lnTo>
                  <a:lnTo>
                    <a:pt x="208" y="78"/>
                  </a:lnTo>
                  <a:lnTo>
                    <a:pt x="219" y="65"/>
                  </a:lnTo>
                  <a:lnTo>
                    <a:pt x="229" y="52"/>
                  </a:lnTo>
                  <a:lnTo>
                    <a:pt x="241" y="37"/>
                  </a:lnTo>
                  <a:lnTo>
                    <a:pt x="253" y="20"/>
                  </a:lnTo>
                  <a:lnTo>
                    <a:pt x="266" y="0"/>
                  </a:lnTo>
                  <a:lnTo>
                    <a:pt x="270" y="7"/>
                  </a:lnTo>
                  <a:lnTo>
                    <a:pt x="274" y="13"/>
                  </a:lnTo>
                  <a:lnTo>
                    <a:pt x="276" y="20"/>
                  </a:lnTo>
                  <a:lnTo>
                    <a:pt x="279" y="27"/>
                  </a:lnTo>
                  <a:lnTo>
                    <a:pt x="282" y="42"/>
                  </a:lnTo>
                  <a:lnTo>
                    <a:pt x="286" y="62"/>
                  </a:lnTo>
                  <a:lnTo>
                    <a:pt x="246" y="198"/>
                  </a:lnTo>
                  <a:lnTo>
                    <a:pt x="226" y="228"/>
                  </a:lnTo>
                  <a:lnTo>
                    <a:pt x="53" y="210"/>
                  </a:lnTo>
                  <a:lnTo>
                    <a:pt x="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802" name="Freeform 259"/>
            <p:cNvSpPr>
              <a:spLocks/>
            </p:cNvSpPr>
            <p:nvPr>
              <p:custDataLst>
                <p:tags r:id="rId187"/>
              </p:custDataLst>
            </p:nvPr>
          </p:nvSpPr>
          <p:spPr bwMode="auto">
            <a:xfrm>
              <a:off x="7065007" y="3150039"/>
              <a:ext cx="222250" cy="263525"/>
            </a:xfrm>
            <a:custGeom>
              <a:avLst/>
              <a:gdLst>
                <a:gd name="T0" fmla="*/ 2147483647 w 524"/>
                <a:gd name="T1" fmla="*/ 2147483647 h 505"/>
                <a:gd name="T2" fmla="*/ 2147483647 w 524"/>
                <a:gd name="T3" fmla="*/ 2147483647 h 505"/>
                <a:gd name="T4" fmla="*/ 2147483647 w 524"/>
                <a:gd name="T5" fmla="*/ 2147483647 h 505"/>
                <a:gd name="T6" fmla="*/ 2147483647 w 524"/>
                <a:gd name="T7" fmla="*/ 2147483647 h 505"/>
                <a:gd name="T8" fmla="*/ 2147483647 w 524"/>
                <a:gd name="T9" fmla="*/ 2147483647 h 505"/>
                <a:gd name="T10" fmla="*/ 2147483647 w 524"/>
                <a:gd name="T11" fmla="*/ 2147483647 h 505"/>
                <a:gd name="T12" fmla="*/ 2147483647 w 524"/>
                <a:gd name="T13" fmla="*/ 2147483647 h 505"/>
                <a:gd name="T14" fmla="*/ 2147483647 w 524"/>
                <a:gd name="T15" fmla="*/ 2147483647 h 505"/>
                <a:gd name="T16" fmla="*/ 2147483647 w 524"/>
                <a:gd name="T17" fmla="*/ 2147483647 h 505"/>
                <a:gd name="T18" fmla="*/ 2147483647 w 524"/>
                <a:gd name="T19" fmla="*/ 2147483647 h 505"/>
                <a:gd name="T20" fmla="*/ 2147483647 w 524"/>
                <a:gd name="T21" fmla="*/ 2147483647 h 505"/>
                <a:gd name="T22" fmla="*/ 2147483647 w 524"/>
                <a:gd name="T23" fmla="*/ 2147483647 h 505"/>
                <a:gd name="T24" fmla="*/ 2147483647 w 524"/>
                <a:gd name="T25" fmla="*/ 2147483647 h 505"/>
                <a:gd name="T26" fmla="*/ 2147483647 w 524"/>
                <a:gd name="T27" fmla="*/ 2147483647 h 505"/>
                <a:gd name="T28" fmla="*/ 2147483647 w 524"/>
                <a:gd name="T29" fmla="*/ 2147483647 h 505"/>
                <a:gd name="T30" fmla="*/ 2147483647 w 524"/>
                <a:gd name="T31" fmla="*/ 2147483647 h 505"/>
                <a:gd name="T32" fmla="*/ 2147483647 w 524"/>
                <a:gd name="T33" fmla="*/ 2147483647 h 505"/>
                <a:gd name="T34" fmla="*/ 2147483647 w 524"/>
                <a:gd name="T35" fmla="*/ 2147483647 h 505"/>
                <a:gd name="T36" fmla="*/ 2147483647 w 524"/>
                <a:gd name="T37" fmla="*/ 2147483647 h 505"/>
                <a:gd name="T38" fmla="*/ 2147483647 w 524"/>
                <a:gd name="T39" fmla="*/ 2147483647 h 505"/>
                <a:gd name="T40" fmla="*/ 2147483647 w 524"/>
                <a:gd name="T41" fmla="*/ 2147483647 h 505"/>
                <a:gd name="T42" fmla="*/ 2147483647 w 524"/>
                <a:gd name="T43" fmla="*/ 2147483647 h 505"/>
                <a:gd name="T44" fmla="*/ 2147483647 w 524"/>
                <a:gd name="T45" fmla="*/ 2147483647 h 505"/>
                <a:gd name="T46" fmla="*/ 2147483647 w 524"/>
                <a:gd name="T47" fmla="*/ 2147483647 h 505"/>
                <a:gd name="T48" fmla="*/ 2147483647 w 524"/>
                <a:gd name="T49" fmla="*/ 2147483647 h 505"/>
                <a:gd name="T50" fmla="*/ 2147483647 w 524"/>
                <a:gd name="T51" fmla="*/ 2147483647 h 505"/>
                <a:gd name="T52" fmla="*/ 2147483647 w 524"/>
                <a:gd name="T53" fmla="*/ 2147483647 h 505"/>
                <a:gd name="T54" fmla="*/ 2147483647 w 524"/>
                <a:gd name="T55" fmla="*/ 2147483647 h 505"/>
                <a:gd name="T56" fmla="*/ 2147483647 w 524"/>
                <a:gd name="T57" fmla="*/ 2147483647 h 505"/>
                <a:gd name="T58" fmla="*/ 2147483647 w 524"/>
                <a:gd name="T59" fmla="*/ 2147483647 h 505"/>
                <a:gd name="T60" fmla="*/ 2147483647 w 524"/>
                <a:gd name="T61" fmla="*/ 2147483647 h 505"/>
                <a:gd name="T62" fmla="*/ 2147483647 w 524"/>
                <a:gd name="T63" fmla="*/ 2147483647 h 505"/>
                <a:gd name="T64" fmla="*/ 2147483647 w 524"/>
                <a:gd name="T65" fmla="*/ 2147483647 h 505"/>
                <a:gd name="T66" fmla="*/ 2147483647 w 524"/>
                <a:gd name="T67" fmla="*/ 2147483647 h 505"/>
                <a:gd name="T68" fmla="*/ 2147483647 w 524"/>
                <a:gd name="T69" fmla="*/ 2147483647 h 505"/>
                <a:gd name="T70" fmla="*/ 2147483647 w 524"/>
                <a:gd name="T71" fmla="*/ 2147483647 h 505"/>
                <a:gd name="T72" fmla="*/ 2147483647 w 524"/>
                <a:gd name="T73" fmla="*/ 2147483647 h 505"/>
                <a:gd name="T74" fmla="*/ 2147483647 w 524"/>
                <a:gd name="T75" fmla="*/ 2147483647 h 505"/>
                <a:gd name="T76" fmla="*/ 0 w 524"/>
                <a:gd name="T77" fmla="*/ 2147483647 h 505"/>
                <a:gd name="T78" fmla="*/ 0 w 524"/>
                <a:gd name="T79" fmla="*/ 2147483647 h 505"/>
                <a:gd name="T80" fmla="*/ 2147483647 w 524"/>
                <a:gd name="T81" fmla="*/ 2147483647 h 505"/>
                <a:gd name="T82" fmla="*/ 2147483647 w 524"/>
                <a:gd name="T83" fmla="*/ 2147483647 h 505"/>
                <a:gd name="T84" fmla="*/ 2147483647 w 524"/>
                <a:gd name="T85" fmla="*/ 2147483647 h 505"/>
                <a:gd name="T86" fmla="*/ 2147483647 w 524"/>
                <a:gd name="T87" fmla="*/ 2147483647 h 505"/>
                <a:gd name="T88" fmla="*/ 2147483647 w 524"/>
                <a:gd name="T89" fmla="*/ 2147483647 h 505"/>
                <a:gd name="T90" fmla="*/ 2147483647 w 524"/>
                <a:gd name="T91" fmla="*/ 2147483647 h 505"/>
                <a:gd name="T92" fmla="*/ 2147483647 w 524"/>
                <a:gd name="T93" fmla="*/ 2147483647 h 505"/>
                <a:gd name="T94" fmla="*/ 2147483647 w 524"/>
                <a:gd name="T95" fmla="*/ 2147483647 h 505"/>
                <a:gd name="T96" fmla="*/ 2147483647 w 524"/>
                <a:gd name="T97" fmla="*/ 2147483647 h 505"/>
                <a:gd name="T98" fmla="*/ 2147483647 w 524"/>
                <a:gd name="T99" fmla="*/ 2147483647 h 505"/>
                <a:gd name="T100" fmla="*/ 2147483647 w 524"/>
                <a:gd name="T101" fmla="*/ 2147483647 h 505"/>
                <a:gd name="T102" fmla="*/ 2147483647 w 524"/>
                <a:gd name="T103" fmla="*/ 2147483647 h 505"/>
                <a:gd name="T104" fmla="*/ 2147483647 w 524"/>
                <a:gd name="T105" fmla="*/ 2147483647 h 505"/>
                <a:gd name="T106" fmla="*/ 2147483647 w 524"/>
                <a:gd name="T107" fmla="*/ 2147483647 h 505"/>
                <a:gd name="T108" fmla="*/ 2147483647 w 524"/>
                <a:gd name="T109" fmla="*/ 2147483647 h 505"/>
                <a:gd name="T110" fmla="*/ 2147483647 w 524"/>
                <a:gd name="T111" fmla="*/ 2147483647 h 505"/>
                <a:gd name="T112" fmla="*/ 2147483647 w 524"/>
                <a:gd name="T113" fmla="*/ 2147483647 h 505"/>
                <a:gd name="T114" fmla="*/ 2147483647 w 524"/>
                <a:gd name="T115" fmla="*/ 2147483647 h 505"/>
                <a:gd name="T116" fmla="*/ 2147483647 w 524"/>
                <a:gd name="T117" fmla="*/ 2147483647 h 505"/>
                <a:gd name="T118" fmla="*/ 2147483647 w 524"/>
                <a:gd name="T119" fmla="*/ 2147483647 h 505"/>
                <a:gd name="T120" fmla="*/ 2147483647 w 524"/>
                <a:gd name="T121" fmla="*/ 2147483647 h 505"/>
                <a:gd name="T122" fmla="*/ 2147483647 w 524"/>
                <a:gd name="T123" fmla="*/ 2147483647 h 50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524" h="505">
                  <a:moveTo>
                    <a:pt x="524" y="419"/>
                  </a:moveTo>
                  <a:lnTo>
                    <a:pt x="478" y="370"/>
                  </a:lnTo>
                  <a:lnTo>
                    <a:pt x="482" y="357"/>
                  </a:lnTo>
                  <a:lnTo>
                    <a:pt x="484" y="346"/>
                  </a:lnTo>
                  <a:lnTo>
                    <a:pt x="484" y="336"/>
                  </a:lnTo>
                  <a:lnTo>
                    <a:pt x="483" y="329"/>
                  </a:lnTo>
                  <a:lnTo>
                    <a:pt x="479" y="315"/>
                  </a:lnTo>
                  <a:lnTo>
                    <a:pt x="478" y="302"/>
                  </a:lnTo>
                  <a:lnTo>
                    <a:pt x="466" y="301"/>
                  </a:lnTo>
                  <a:lnTo>
                    <a:pt x="455" y="299"/>
                  </a:lnTo>
                  <a:lnTo>
                    <a:pt x="443" y="295"/>
                  </a:lnTo>
                  <a:lnTo>
                    <a:pt x="431" y="288"/>
                  </a:lnTo>
                  <a:lnTo>
                    <a:pt x="419" y="282"/>
                  </a:lnTo>
                  <a:lnTo>
                    <a:pt x="407" y="274"/>
                  </a:lnTo>
                  <a:lnTo>
                    <a:pt x="396" y="266"/>
                  </a:lnTo>
                  <a:lnTo>
                    <a:pt x="386" y="256"/>
                  </a:lnTo>
                  <a:lnTo>
                    <a:pt x="376" y="247"/>
                  </a:lnTo>
                  <a:lnTo>
                    <a:pt x="366" y="237"/>
                  </a:lnTo>
                  <a:lnTo>
                    <a:pt x="359" y="226"/>
                  </a:lnTo>
                  <a:lnTo>
                    <a:pt x="352" y="216"/>
                  </a:lnTo>
                  <a:lnTo>
                    <a:pt x="347" y="206"/>
                  </a:lnTo>
                  <a:lnTo>
                    <a:pt x="342" y="196"/>
                  </a:lnTo>
                  <a:lnTo>
                    <a:pt x="339" y="187"/>
                  </a:lnTo>
                  <a:lnTo>
                    <a:pt x="339" y="178"/>
                  </a:lnTo>
                  <a:lnTo>
                    <a:pt x="339" y="170"/>
                  </a:lnTo>
                  <a:lnTo>
                    <a:pt x="341" y="162"/>
                  </a:lnTo>
                  <a:lnTo>
                    <a:pt x="346" y="156"/>
                  </a:lnTo>
                  <a:lnTo>
                    <a:pt x="349" y="150"/>
                  </a:lnTo>
                  <a:lnTo>
                    <a:pt x="358" y="142"/>
                  </a:lnTo>
                  <a:lnTo>
                    <a:pt x="365" y="136"/>
                  </a:lnTo>
                  <a:lnTo>
                    <a:pt x="360" y="134"/>
                  </a:lnTo>
                  <a:lnTo>
                    <a:pt x="354" y="130"/>
                  </a:lnTo>
                  <a:lnTo>
                    <a:pt x="348" y="126"/>
                  </a:lnTo>
                  <a:lnTo>
                    <a:pt x="341" y="119"/>
                  </a:lnTo>
                  <a:lnTo>
                    <a:pt x="328" y="104"/>
                  </a:lnTo>
                  <a:lnTo>
                    <a:pt x="315" y="87"/>
                  </a:lnTo>
                  <a:lnTo>
                    <a:pt x="302" y="69"/>
                  </a:lnTo>
                  <a:lnTo>
                    <a:pt x="292" y="51"/>
                  </a:lnTo>
                  <a:lnTo>
                    <a:pt x="283" y="36"/>
                  </a:lnTo>
                  <a:lnTo>
                    <a:pt x="279" y="25"/>
                  </a:lnTo>
                  <a:lnTo>
                    <a:pt x="272" y="25"/>
                  </a:lnTo>
                  <a:lnTo>
                    <a:pt x="260" y="24"/>
                  </a:lnTo>
                  <a:lnTo>
                    <a:pt x="249" y="22"/>
                  </a:lnTo>
                  <a:lnTo>
                    <a:pt x="239" y="19"/>
                  </a:lnTo>
                  <a:lnTo>
                    <a:pt x="229" y="16"/>
                  </a:lnTo>
                  <a:lnTo>
                    <a:pt x="219" y="11"/>
                  </a:lnTo>
                  <a:lnTo>
                    <a:pt x="208" y="9"/>
                  </a:lnTo>
                  <a:lnTo>
                    <a:pt x="197" y="6"/>
                  </a:lnTo>
                  <a:lnTo>
                    <a:pt x="185" y="6"/>
                  </a:lnTo>
                  <a:lnTo>
                    <a:pt x="170" y="3"/>
                  </a:lnTo>
                  <a:lnTo>
                    <a:pt x="159" y="0"/>
                  </a:lnTo>
                  <a:lnTo>
                    <a:pt x="149" y="8"/>
                  </a:lnTo>
                  <a:lnTo>
                    <a:pt x="126" y="29"/>
                  </a:lnTo>
                  <a:lnTo>
                    <a:pt x="114" y="41"/>
                  </a:lnTo>
                  <a:lnTo>
                    <a:pt x="103" y="52"/>
                  </a:lnTo>
                  <a:lnTo>
                    <a:pt x="98" y="57"/>
                  </a:lnTo>
                  <a:lnTo>
                    <a:pt x="95" y="61"/>
                  </a:lnTo>
                  <a:lnTo>
                    <a:pt x="93" y="64"/>
                  </a:lnTo>
                  <a:lnTo>
                    <a:pt x="93" y="68"/>
                  </a:lnTo>
                  <a:lnTo>
                    <a:pt x="94" y="94"/>
                  </a:lnTo>
                  <a:lnTo>
                    <a:pt x="95" y="125"/>
                  </a:lnTo>
                  <a:lnTo>
                    <a:pt x="95" y="140"/>
                  </a:lnTo>
                  <a:lnTo>
                    <a:pt x="95" y="153"/>
                  </a:lnTo>
                  <a:lnTo>
                    <a:pt x="94" y="164"/>
                  </a:lnTo>
                  <a:lnTo>
                    <a:pt x="93" y="172"/>
                  </a:lnTo>
                  <a:lnTo>
                    <a:pt x="86" y="180"/>
                  </a:lnTo>
                  <a:lnTo>
                    <a:pt x="78" y="188"/>
                  </a:lnTo>
                  <a:lnTo>
                    <a:pt x="67" y="197"/>
                  </a:lnTo>
                  <a:lnTo>
                    <a:pt x="53" y="206"/>
                  </a:lnTo>
                  <a:lnTo>
                    <a:pt x="40" y="214"/>
                  </a:lnTo>
                  <a:lnTo>
                    <a:pt x="26" y="222"/>
                  </a:lnTo>
                  <a:lnTo>
                    <a:pt x="13" y="228"/>
                  </a:lnTo>
                  <a:lnTo>
                    <a:pt x="0" y="235"/>
                  </a:lnTo>
                  <a:lnTo>
                    <a:pt x="2" y="246"/>
                  </a:lnTo>
                  <a:lnTo>
                    <a:pt x="3" y="256"/>
                  </a:lnTo>
                  <a:lnTo>
                    <a:pt x="2" y="264"/>
                  </a:lnTo>
                  <a:lnTo>
                    <a:pt x="1" y="272"/>
                  </a:lnTo>
                  <a:lnTo>
                    <a:pt x="0" y="278"/>
                  </a:lnTo>
                  <a:lnTo>
                    <a:pt x="0" y="284"/>
                  </a:lnTo>
                  <a:lnTo>
                    <a:pt x="0" y="289"/>
                  </a:lnTo>
                  <a:lnTo>
                    <a:pt x="2" y="295"/>
                  </a:lnTo>
                  <a:lnTo>
                    <a:pt x="7" y="301"/>
                  </a:lnTo>
                  <a:lnTo>
                    <a:pt x="15" y="307"/>
                  </a:lnTo>
                  <a:lnTo>
                    <a:pt x="26" y="314"/>
                  </a:lnTo>
                  <a:lnTo>
                    <a:pt x="41" y="321"/>
                  </a:lnTo>
                  <a:lnTo>
                    <a:pt x="62" y="331"/>
                  </a:lnTo>
                  <a:lnTo>
                    <a:pt x="89" y="341"/>
                  </a:lnTo>
                  <a:lnTo>
                    <a:pt x="120" y="355"/>
                  </a:lnTo>
                  <a:lnTo>
                    <a:pt x="159" y="370"/>
                  </a:lnTo>
                  <a:lnTo>
                    <a:pt x="180" y="374"/>
                  </a:lnTo>
                  <a:lnTo>
                    <a:pt x="198" y="379"/>
                  </a:lnTo>
                  <a:lnTo>
                    <a:pt x="214" y="385"/>
                  </a:lnTo>
                  <a:lnTo>
                    <a:pt x="226" y="393"/>
                  </a:lnTo>
                  <a:lnTo>
                    <a:pt x="237" y="400"/>
                  </a:lnTo>
                  <a:lnTo>
                    <a:pt x="246" y="410"/>
                  </a:lnTo>
                  <a:lnTo>
                    <a:pt x="252" y="418"/>
                  </a:lnTo>
                  <a:lnTo>
                    <a:pt x="258" y="427"/>
                  </a:lnTo>
                  <a:lnTo>
                    <a:pt x="262" y="435"/>
                  </a:lnTo>
                  <a:lnTo>
                    <a:pt x="265" y="443"/>
                  </a:lnTo>
                  <a:lnTo>
                    <a:pt x="266" y="451"/>
                  </a:lnTo>
                  <a:lnTo>
                    <a:pt x="269" y="458"/>
                  </a:lnTo>
                  <a:lnTo>
                    <a:pt x="270" y="469"/>
                  </a:lnTo>
                  <a:lnTo>
                    <a:pt x="272" y="475"/>
                  </a:lnTo>
                  <a:lnTo>
                    <a:pt x="277" y="481"/>
                  </a:lnTo>
                  <a:lnTo>
                    <a:pt x="282" y="485"/>
                  </a:lnTo>
                  <a:lnTo>
                    <a:pt x="287" y="489"/>
                  </a:lnTo>
                  <a:lnTo>
                    <a:pt x="294" y="492"/>
                  </a:lnTo>
                  <a:lnTo>
                    <a:pt x="307" y="497"/>
                  </a:lnTo>
                  <a:lnTo>
                    <a:pt x="325" y="505"/>
                  </a:lnTo>
                  <a:lnTo>
                    <a:pt x="328" y="503"/>
                  </a:lnTo>
                  <a:lnTo>
                    <a:pt x="331" y="501"/>
                  </a:lnTo>
                  <a:lnTo>
                    <a:pt x="335" y="500"/>
                  </a:lnTo>
                  <a:lnTo>
                    <a:pt x="338" y="500"/>
                  </a:lnTo>
                  <a:lnTo>
                    <a:pt x="346" y="499"/>
                  </a:lnTo>
                  <a:lnTo>
                    <a:pt x="353" y="500"/>
                  </a:lnTo>
                  <a:lnTo>
                    <a:pt x="366" y="503"/>
                  </a:lnTo>
                  <a:lnTo>
                    <a:pt x="372" y="505"/>
                  </a:lnTo>
                  <a:lnTo>
                    <a:pt x="383" y="505"/>
                  </a:lnTo>
                  <a:lnTo>
                    <a:pt x="407" y="505"/>
                  </a:lnTo>
                  <a:lnTo>
                    <a:pt x="437" y="505"/>
                  </a:lnTo>
                  <a:lnTo>
                    <a:pt x="458" y="505"/>
                  </a:lnTo>
                  <a:lnTo>
                    <a:pt x="465" y="449"/>
                  </a:lnTo>
                  <a:lnTo>
                    <a:pt x="478" y="443"/>
                  </a:lnTo>
                  <a:lnTo>
                    <a:pt x="492" y="437"/>
                  </a:lnTo>
                  <a:lnTo>
                    <a:pt x="524" y="4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03" name="Freeform 260"/>
            <p:cNvSpPr>
              <a:spLocks/>
            </p:cNvSpPr>
            <p:nvPr>
              <p:custDataLst>
                <p:tags r:id="rId188"/>
              </p:custDataLst>
            </p:nvPr>
          </p:nvSpPr>
          <p:spPr bwMode="auto">
            <a:xfrm>
              <a:off x="7565069" y="3110352"/>
              <a:ext cx="331788" cy="290512"/>
            </a:xfrm>
            <a:custGeom>
              <a:avLst/>
              <a:gdLst>
                <a:gd name="T0" fmla="*/ 2147483647 w 764"/>
                <a:gd name="T1" fmla="*/ 2147483647 h 555"/>
                <a:gd name="T2" fmla="*/ 2147483647 w 764"/>
                <a:gd name="T3" fmla="*/ 2147483647 h 555"/>
                <a:gd name="T4" fmla="*/ 2147483647 w 764"/>
                <a:gd name="T5" fmla="*/ 2147483647 h 555"/>
                <a:gd name="T6" fmla="*/ 2147483647 w 764"/>
                <a:gd name="T7" fmla="*/ 2147483647 h 555"/>
                <a:gd name="T8" fmla="*/ 2147483647 w 764"/>
                <a:gd name="T9" fmla="*/ 2147483647 h 555"/>
                <a:gd name="T10" fmla="*/ 2147483647 w 764"/>
                <a:gd name="T11" fmla="*/ 2147483647 h 555"/>
                <a:gd name="T12" fmla="*/ 2147483647 w 764"/>
                <a:gd name="T13" fmla="*/ 2147483647 h 555"/>
                <a:gd name="T14" fmla="*/ 2147483647 w 764"/>
                <a:gd name="T15" fmla="*/ 2147483647 h 555"/>
                <a:gd name="T16" fmla="*/ 2147483647 w 764"/>
                <a:gd name="T17" fmla="*/ 2147483647 h 555"/>
                <a:gd name="T18" fmla="*/ 2147483647 w 764"/>
                <a:gd name="T19" fmla="*/ 2147483647 h 555"/>
                <a:gd name="T20" fmla="*/ 2147483647 w 764"/>
                <a:gd name="T21" fmla="*/ 2147483647 h 555"/>
                <a:gd name="T22" fmla="*/ 2147483647 w 764"/>
                <a:gd name="T23" fmla="*/ 2147483647 h 555"/>
                <a:gd name="T24" fmla="*/ 2147483647 w 764"/>
                <a:gd name="T25" fmla="*/ 2147483647 h 555"/>
                <a:gd name="T26" fmla="*/ 2147483647 w 764"/>
                <a:gd name="T27" fmla="*/ 2147483647 h 555"/>
                <a:gd name="T28" fmla="*/ 2147483647 w 764"/>
                <a:gd name="T29" fmla="*/ 2147483647 h 555"/>
                <a:gd name="T30" fmla="*/ 2147483647 w 764"/>
                <a:gd name="T31" fmla="*/ 2147483647 h 555"/>
                <a:gd name="T32" fmla="*/ 2147483647 w 764"/>
                <a:gd name="T33" fmla="*/ 2147483647 h 555"/>
                <a:gd name="T34" fmla="*/ 2147483647 w 764"/>
                <a:gd name="T35" fmla="*/ 2147483647 h 555"/>
                <a:gd name="T36" fmla="*/ 2147483647 w 764"/>
                <a:gd name="T37" fmla="*/ 2147483647 h 555"/>
                <a:gd name="T38" fmla="*/ 2147483647 w 764"/>
                <a:gd name="T39" fmla="*/ 2147483647 h 555"/>
                <a:gd name="T40" fmla="*/ 2147483647 w 764"/>
                <a:gd name="T41" fmla="*/ 2147483647 h 555"/>
                <a:gd name="T42" fmla="*/ 2147483647 w 764"/>
                <a:gd name="T43" fmla="*/ 2147483647 h 555"/>
                <a:gd name="T44" fmla="*/ 2147483647 w 764"/>
                <a:gd name="T45" fmla="*/ 2147483647 h 555"/>
                <a:gd name="T46" fmla="*/ 2147483647 w 764"/>
                <a:gd name="T47" fmla="*/ 2147483647 h 555"/>
                <a:gd name="T48" fmla="*/ 2147483647 w 764"/>
                <a:gd name="T49" fmla="*/ 2147483647 h 555"/>
                <a:gd name="T50" fmla="*/ 2147483647 w 764"/>
                <a:gd name="T51" fmla="*/ 2147483647 h 555"/>
                <a:gd name="T52" fmla="*/ 2147483647 w 764"/>
                <a:gd name="T53" fmla="*/ 2147483647 h 555"/>
                <a:gd name="T54" fmla="*/ 2147483647 w 764"/>
                <a:gd name="T55" fmla="*/ 2147483647 h 555"/>
                <a:gd name="T56" fmla="*/ 2147483647 w 764"/>
                <a:gd name="T57" fmla="*/ 2147483647 h 555"/>
                <a:gd name="T58" fmla="*/ 2147483647 w 764"/>
                <a:gd name="T59" fmla="*/ 2147483647 h 555"/>
                <a:gd name="T60" fmla="*/ 2147483647 w 764"/>
                <a:gd name="T61" fmla="*/ 2147483647 h 555"/>
                <a:gd name="T62" fmla="*/ 2147483647 w 764"/>
                <a:gd name="T63" fmla="*/ 2147483647 h 555"/>
                <a:gd name="T64" fmla="*/ 2147483647 w 764"/>
                <a:gd name="T65" fmla="*/ 2147483647 h 555"/>
                <a:gd name="T66" fmla="*/ 2147483647 w 764"/>
                <a:gd name="T67" fmla="*/ 2147483647 h 555"/>
                <a:gd name="T68" fmla="*/ 2147483647 w 764"/>
                <a:gd name="T69" fmla="*/ 2147483647 h 555"/>
                <a:gd name="T70" fmla="*/ 2147483647 w 764"/>
                <a:gd name="T71" fmla="*/ 2147483647 h 555"/>
                <a:gd name="T72" fmla="*/ 2147483647 w 764"/>
                <a:gd name="T73" fmla="*/ 2147483647 h 555"/>
                <a:gd name="T74" fmla="*/ 2147483647 w 764"/>
                <a:gd name="T75" fmla="*/ 2147483647 h 555"/>
                <a:gd name="T76" fmla="*/ 2147483647 w 764"/>
                <a:gd name="T77" fmla="*/ 2147483647 h 555"/>
                <a:gd name="T78" fmla="*/ 2147483647 w 764"/>
                <a:gd name="T79" fmla="*/ 2147483647 h 555"/>
                <a:gd name="T80" fmla="*/ 2147483647 w 764"/>
                <a:gd name="T81" fmla="*/ 2147483647 h 555"/>
                <a:gd name="T82" fmla="*/ 2147483647 w 764"/>
                <a:gd name="T83" fmla="*/ 2147483647 h 555"/>
                <a:gd name="T84" fmla="*/ 2147483647 w 764"/>
                <a:gd name="T85" fmla="*/ 2147483647 h 555"/>
                <a:gd name="T86" fmla="*/ 2147483647 w 764"/>
                <a:gd name="T87" fmla="*/ 2147483647 h 555"/>
                <a:gd name="T88" fmla="*/ 2147483647 w 764"/>
                <a:gd name="T89" fmla="*/ 2147483647 h 555"/>
                <a:gd name="T90" fmla="*/ 2147483647 w 764"/>
                <a:gd name="T91" fmla="*/ 2147483647 h 555"/>
                <a:gd name="T92" fmla="*/ 2147483647 w 764"/>
                <a:gd name="T93" fmla="*/ 2147483647 h 555"/>
                <a:gd name="T94" fmla="*/ 2147483647 w 764"/>
                <a:gd name="T95" fmla="*/ 2147483647 h 555"/>
                <a:gd name="T96" fmla="*/ 2147483647 w 764"/>
                <a:gd name="T97" fmla="*/ 2147483647 h 555"/>
                <a:gd name="T98" fmla="*/ 2147483647 w 764"/>
                <a:gd name="T99" fmla="*/ 2147483647 h 555"/>
                <a:gd name="T100" fmla="*/ 2147483647 w 764"/>
                <a:gd name="T101" fmla="*/ 2147483647 h 555"/>
                <a:gd name="T102" fmla="*/ 2147483647 w 764"/>
                <a:gd name="T103" fmla="*/ 2147483647 h 555"/>
                <a:gd name="T104" fmla="*/ 2147483647 w 764"/>
                <a:gd name="T105" fmla="*/ 2147483647 h 555"/>
                <a:gd name="T106" fmla="*/ 2147483647 w 764"/>
                <a:gd name="T107" fmla="*/ 2147483647 h 555"/>
                <a:gd name="T108" fmla="*/ 2147483647 w 764"/>
                <a:gd name="T109" fmla="*/ 2147483647 h 555"/>
                <a:gd name="T110" fmla="*/ 2147483647 w 764"/>
                <a:gd name="T111" fmla="*/ 2147483647 h 555"/>
                <a:gd name="T112" fmla="*/ 2147483647 w 764"/>
                <a:gd name="T113" fmla="*/ 2147483647 h 555"/>
                <a:gd name="T114" fmla="*/ 2147483647 w 764"/>
                <a:gd name="T115" fmla="*/ 2147483647 h 555"/>
                <a:gd name="T116" fmla="*/ 2147483647 w 764"/>
                <a:gd name="T117" fmla="*/ 2147483647 h 555"/>
                <a:gd name="T118" fmla="*/ 0 w 764"/>
                <a:gd name="T119" fmla="*/ 2147483647 h 555"/>
                <a:gd name="T120" fmla="*/ 2147483647 w 764"/>
                <a:gd name="T121" fmla="*/ 2147483647 h 555"/>
                <a:gd name="T122" fmla="*/ 2147483647 w 764"/>
                <a:gd name="T123" fmla="*/ 2147483647 h 555"/>
                <a:gd name="T124" fmla="*/ 2147483647 w 764"/>
                <a:gd name="T125" fmla="*/ 2147483647 h 55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764" h="555">
                  <a:moveTo>
                    <a:pt x="39" y="191"/>
                  </a:moveTo>
                  <a:lnTo>
                    <a:pt x="48" y="194"/>
                  </a:lnTo>
                  <a:lnTo>
                    <a:pt x="56" y="196"/>
                  </a:lnTo>
                  <a:lnTo>
                    <a:pt x="62" y="196"/>
                  </a:lnTo>
                  <a:lnTo>
                    <a:pt x="68" y="195"/>
                  </a:lnTo>
                  <a:lnTo>
                    <a:pt x="77" y="192"/>
                  </a:lnTo>
                  <a:lnTo>
                    <a:pt x="85" y="191"/>
                  </a:lnTo>
                  <a:lnTo>
                    <a:pt x="93" y="190"/>
                  </a:lnTo>
                  <a:lnTo>
                    <a:pt x="101" y="190"/>
                  </a:lnTo>
                  <a:lnTo>
                    <a:pt x="107" y="188"/>
                  </a:lnTo>
                  <a:lnTo>
                    <a:pt x="114" y="186"/>
                  </a:lnTo>
                  <a:lnTo>
                    <a:pt x="128" y="182"/>
                  </a:lnTo>
                  <a:lnTo>
                    <a:pt x="140" y="175"/>
                  </a:lnTo>
                  <a:lnTo>
                    <a:pt x="152" y="168"/>
                  </a:lnTo>
                  <a:lnTo>
                    <a:pt x="164" y="160"/>
                  </a:lnTo>
                  <a:lnTo>
                    <a:pt x="175" y="151"/>
                  </a:lnTo>
                  <a:lnTo>
                    <a:pt x="185" y="142"/>
                  </a:lnTo>
                  <a:lnTo>
                    <a:pt x="189" y="136"/>
                  </a:lnTo>
                  <a:lnTo>
                    <a:pt x="192" y="131"/>
                  </a:lnTo>
                  <a:lnTo>
                    <a:pt x="194" y="126"/>
                  </a:lnTo>
                  <a:lnTo>
                    <a:pt x="195" y="120"/>
                  </a:lnTo>
                  <a:lnTo>
                    <a:pt x="197" y="109"/>
                  </a:lnTo>
                  <a:lnTo>
                    <a:pt x="198" y="98"/>
                  </a:lnTo>
                  <a:lnTo>
                    <a:pt x="199" y="88"/>
                  </a:lnTo>
                  <a:lnTo>
                    <a:pt x="202" y="78"/>
                  </a:lnTo>
                  <a:lnTo>
                    <a:pt x="204" y="74"/>
                  </a:lnTo>
                  <a:lnTo>
                    <a:pt x="206" y="71"/>
                  </a:lnTo>
                  <a:lnTo>
                    <a:pt x="208" y="69"/>
                  </a:lnTo>
                  <a:lnTo>
                    <a:pt x="212" y="68"/>
                  </a:lnTo>
                  <a:lnTo>
                    <a:pt x="221" y="64"/>
                  </a:lnTo>
                  <a:lnTo>
                    <a:pt x="231" y="62"/>
                  </a:lnTo>
                  <a:lnTo>
                    <a:pt x="240" y="60"/>
                  </a:lnTo>
                  <a:lnTo>
                    <a:pt x="249" y="60"/>
                  </a:lnTo>
                  <a:lnTo>
                    <a:pt x="266" y="61"/>
                  </a:lnTo>
                  <a:lnTo>
                    <a:pt x="285" y="61"/>
                  </a:lnTo>
                  <a:lnTo>
                    <a:pt x="294" y="62"/>
                  </a:lnTo>
                  <a:lnTo>
                    <a:pt x="303" y="63"/>
                  </a:lnTo>
                  <a:lnTo>
                    <a:pt x="310" y="64"/>
                  </a:lnTo>
                  <a:lnTo>
                    <a:pt x="317" y="66"/>
                  </a:lnTo>
                  <a:lnTo>
                    <a:pt x="329" y="71"/>
                  </a:lnTo>
                  <a:lnTo>
                    <a:pt x="339" y="77"/>
                  </a:lnTo>
                  <a:lnTo>
                    <a:pt x="348" y="82"/>
                  </a:lnTo>
                  <a:lnTo>
                    <a:pt x="357" y="88"/>
                  </a:lnTo>
                  <a:lnTo>
                    <a:pt x="362" y="90"/>
                  </a:lnTo>
                  <a:lnTo>
                    <a:pt x="366" y="91"/>
                  </a:lnTo>
                  <a:lnTo>
                    <a:pt x="372" y="92"/>
                  </a:lnTo>
                  <a:lnTo>
                    <a:pt x="378" y="93"/>
                  </a:lnTo>
                  <a:lnTo>
                    <a:pt x="386" y="93"/>
                  </a:lnTo>
                  <a:lnTo>
                    <a:pt x="394" y="92"/>
                  </a:lnTo>
                  <a:lnTo>
                    <a:pt x="402" y="90"/>
                  </a:lnTo>
                  <a:lnTo>
                    <a:pt x="407" y="89"/>
                  </a:lnTo>
                  <a:lnTo>
                    <a:pt x="419" y="84"/>
                  </a:lnTo>
                  <a:lnTo>
                    <a:pt x="429" y="78"/>
                  </a:lnTo>
                  <a:lnTo>
                    <a:pt x="439" y="72"/>
                  </a:lnTo>
                  <a:lnTo>
                    <a:pt x="449" y="66"/>
                  </a:lnTo>
                  <a:lnTo>
                    <a:pt x="460" y="61"/>
                  </a:lnTo>
                  <a:lnTo>
                    <a:pt x="471" y="55"/>
                  </a:lnTo>
                  <a:lnTo>
                    <a:pt x="472" y="48"/>
                  </a:lnTo>
                  <a:lnTo>
                    <a:pt x="475" y="41"/>
                  </a:lnTo>
                  <a:lnTo>
                    <a:pt x="479" y="33"/>
                  </a:lnTo>
                  <a:lnTo>
                    <a:pt x="485" y="25"/>
                  </a:lnTo>
                  <a:lnTo>
                    <a:pt x="496" y="11"/>
                  </a:lnTo>
                  <a:lnTo>
                    <a:pt x="505" y="0"/>
                  </a:lnTo>
                  <a:lnTo>
                    <a:pt x="508" y="4"/>
                  </a:lnTo>
                  <a:lnTo>
                    <a:pt x="512" y="8"/>
                  </a:lnTo>
                  <a:lnTo>
                    <a:pt x="518" y="12"/>
                  </a:lnTo>
                  <a:lnTo>
                    <a:pt x="525" y="15"/>
                  </a:lnTo>
                  <a:lnTo>
                    <a:pt x="530" y="19"/>
                  </a:lnTo>
                  <a:lnTo>
                    <a:pt x="537" y="22"/>
                  </a:lnTo>
                  <a:lnTo>
                    <a:pt x="541" y="26"/>
                  </a:lnTo>
                  <a:lnTo>
                    <a:pt x="544" y="31"/>
                  </a:lnTo>
                  <a:lnTo>
                    <a:pt x="550" y="45"/>
                  </a:lnTo>
                  <a:lnTo>
                    <a:pt x="554" y="58"/>
                  </a:lnTo>
                  <a:lnTo>
                    <a:pt x="556" y="70"/>
                  </a:lnTo>
                  <a:lnTo>
                    <a:pt x="559" y="81"/>
                  </a:lnTo>
                  <a:lnTo>
                    <a:pt x="561" y="87"/>
                  </a:lnTo>
                  <a:lnTo>
                    <a:pt x="562" y="91"/>
                  </a:lnTo>
                  <a:lnTo>
                    <a:pt x="564" y="95"/>
                  </a:lnTo>
                  <a:lnTo>
                    <a:pt x="566" y="99"/>
                  </a:lnTo>
                  <a:lnTo>
                    <a:pt x="570" y="101"/>
                  </a:lnTo>
                  <a:lnTo>
                    <a:pt x="574" y="103"/>
                  </a:lnTo>
                  <a:lnTo>
                    <a:pt x="578" y="104"/>
                  </a:lnTo>
                  <a:lnTo>
                    <a:pt x="584" y="105"/>
                  </a:lnTo>
                  <a:lnTo>
                    <a:pt x="589" y="104"/>
                  </a:lnTo>
                  <a:lnTo>
                    <a:pt x="596" y="100"/>
                  </a:lnTo>
                  <a:lnTo>
                    <a:pt x="602" y="95"/>
                  </a:lnTo>
                  <a:lnTo>
                    <a:pt x="610" y="88"/>
                  </a:lnTo>
                  <a:lnTo>
                    <a:pt x="622" y="73"/>
                  </a:lnTo>
                  <a:lnTo>
                    <a:pt x="631" y="61"/>
                  </a:lnTo>
                  <a:lnTo>
                    <a:pt x="723" y="61"/>
                  </a:lnTo>
                  <a:lnTo>
                    <a:pt x="736" y="61"/>
                  </a:lnTo>
                  <a:lnTo>
                    <a:pt x="743" y="66"/>
                  </a:lnTo>
                  <a:lnTo>
                    <a:pt x="748" y="70"/>
                  </a:lnTo>
                  <a:lnTo>
                    <a:pt x="752" y="75"/>
                  </a:lnTo>
                  <a:lnTo>
                    <a:pt x="755" y="79"/>
                  </a:lnTo>
                  <a:lnTo>
                    <a:pt x="759" y="87"/>
                  </a:lnTo>
                  <a:lnTo>
                    <a:pt x="764" y="93"/>
                  </a:lnTo>
                  <a:lnTo>
                    <a:pt x="740" y="95"/>
                  </a:lnTo>
                  <a:lnTo>
                    <a:pt x="711" y="97"/>
                  </a:lnTo>
                  <a:lnTo>
                    <a:pt x="679" y="100"/>
                  </a:lnTo>
                  <a:lnTo>
                    <a:pt x="647" y="103"/>
                  </a:lnTo>
                  <a:lnTo>
                    <a:pt x="632" y="106"/>
                  </a:lnTo>
                  <a:lnTo>
                    <a:pt x="618" y="109"/>
                  </a:lnTo>
                  <a:lnTo>
                    <a:pt x="605" y="112"/>
                  </a:lnTo>
                  <a:lnTo>
                    <a:pt x="594" y="117"/>
                  </a:lnTo>
                  <a:lnTo>
                    <a:pt x="584" y="122"/>
                  </a:lnTo>
                  <a:lnTo>
                    <a:pt x="577" y="127"/>
                  </a:lnTo>
                  <a:lnTo>
                    <a:pt x="574" y="130"/>
                  </a:lnTo>
                  <a:lnTo>
                    <a:pt x="572" y="134"/>
                  </a:lnTo>
                  <a:lnTo>
                    <a:pt x="571" y="137"/>
                  </a:lnTo>
                  <a:lnTo>
                    <a:pt x="571" y="142"/>
                  </a:lnTo>
                  <a:lnTo>
                    <a:pt x="571" y="147"/>
                  </a:lnTo>
                  <a:lnTo>
                    <a:pt x="572" y="152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2" y="164"/>
                  </a:lnTo>
                  <a:lnTo>
                    <a:pt x="587" y="169"/>
                  </a:lnTo>
                  <a:lnTo>
                    <a:pt x="594" y="173"/>
                  </a:lnTo>
                  <a:lnTo>
                    <a:pt x="599" y="177"/>
                  </a:lnTo>
                  <a:lnTo>
                    <a:pt x="601" y="180"/>
                  </a:lnTo>
                  <a:lnTo>
                    <a:pt x="602" y="183"/>
                  </a:lnTo>
                  <a:lnTo>
                    <a:pt x="604" y="186"/>
                  </a:lnTo>
                  <a:lnTo>
                    <a:pt x="604" y="191"/>
                  </a:lnTo>
                  <a:lnTo>
                    <a:pt x="604" y="195"/>
                  </a:lnTo>
                  <a:lnTo>
                    <a:pt x="602" y="200"/>
                  </a:lnTo>
                  <a:lnTo>
                    <a:pt x="601" y="204"/>
                  </a:lnTo>
                  <a:lnTo>
                    <a:pt x="599" y="207"/>
                  </a:lnTo>
                  <a:lnTo>
                    <a:pt x="594" y="213"/>
                  </a:lnTo>
                  <a:lnTo>
                    <a:pt x="587" y="220"/>
                  </a:lnTo>
                  <a:lnTo>
                    <a:pt x="582" y="226"/>
                  </a:lnTo>
                  <a:lnTo>
                    <a:pt x="576" y="233"/>
                  </a:lnTo>
                  <a:lnTo>
                    <a:pt x="574" y="237"/>
                  </a:lnTo>
                  <a:lnTo>
                    <a:pt x="572" y="242"/>
                  </a:lnTo>
                  <a:lnTo>
                    <a:pt x="571" y="247"/>
                  </a:lnTo>
                  <a:lnTo>
                    <a:pt x="571" y="252"/>
                  </a:lnTo>
                  <a:lnTo>
                    <a:pt x="565" y="255"/>
                  </a:lnTo>
                  <a:lnTo>
                    <a:pt x="560" y="256"/>
                  </a:lnTo>
                  <a:lnTo>
                    <a:pt x="555" y="259"/>
                  </a:lnTo>
                  <a:lnTo>
                    <a:pt x="551" y="262"/>
                  </a:lnTo>
                  <a:lnTo>
                    <a:pt x="542" y="269"/>
                  </a:lnTo>
                  <a:lnTo>
                    <a:pt x="535" y="277"/>
                  </a:lnTo>
                  <a:lnTo>
                    <a:pt x="529" y="287"/>
                  </a:lnTo>
                  <a:lnTo>
                    <a:pt x="523" y="298"/>
                  </a:lnTo>
                  <a:lnTo>
                    <a:pt x="519" y="310"/>
                  </a:lnTo>
                  <a:lnTo>
                    <a:pt x="515" y="323"/>
                  </a:lnTo>
                  <a:lnTo>
                    <a:pt x="512" y="336"/>
                  </a:lnTo>
                  <a:lnTo>
                    <a:pt x="509" y="349"/>
                  </a:lnTo>
                  <a:lnTo>
                    <a:pt x="508" y="363"/>
                  </a:lnTo>
                  <a:lnTo>
                    <a:pt x="506" y="377"/>
                  </a:lnTo>
                  <a:lnTo>
                    <a:pt x="505" y="402"/>
                  </a:lnTo>
                  <a:lnTo>
                    <a:pt x="505" y="425"/>
                  </a:lnTo>
                  <a:lnTo>
                    <a:pt x="497" y="425"/>
                  </a:lnTo>
                  <a:lnTo>
                    <a:pt x="492" y="423"/>
                  </a:lnTo>
                  <a:lnTo>
                    <a:pt x="486" y="420"/>
                  </a:lnTo>
                  <a:lnTo>
                    <a:pt x="482" y="415"/>
                  </a:lnTo>
                  <a:lnTo>
                    <a:pt x="477" y="412"/>
                  </a:lnTo>
                  <a:lnTo>
                    <a:pt x="473" y="409"/>
                  </a:lnTo>
                  <a:lnTo>
                    <a:pt x="470" y="407"/>
                  </a:lnTo>
                  <a:lnTo>
                    <a:pt x="464" y="406"/>
                  </a:lnTo>
                  <a:lnTo>
                    <a:pt x="460" y="407"/>
                  </a:lnTo>
                  <a:lnTo>
                    <a:pt x="455" y="408"/>
                  </a:lnTo>
                  <a:lnTo>
                    <a:pt x="451" y="410"/>
                  </a:lnTo>
                  <a:lnTo>
                    <a:pt x="447" y="412"/>
                  </a:lnTo>
                  <a:lnTo>
                    <a:pt x="439" y="418"/>
                  </a:lnTo>
                  <a:lnTo>
                    <a:pt x="431" y="425"/>
                  </a:lnTo>
                  <a:lnTo>
                    <a:pt x="423" y="432"/>
                  </a:lnTo>
                  <a:lnTo>
                    <a:pt x="416" y="438"/>
                  </a:lnTo>
                  <a:lnTo>
                    <a:pt x="411" y="440"/>
                  </a:lnTo>
                  <a:lnTo>
                    <a:pt x="407" y="442"/>
                  </a:lnTo>
                  <a:lnTo>
                    <a:pt x="403" y="443"/>
                  </a:lnTo>
                  <a:lnTo>
                    <a:pt x="398" y="444"/>
                  </a:lnTo>
                  <a:lnTo>
                    <a:pt x="393" y="444"/>
                  </a:lnTo>
                  <a:lnTo>
                    <a:pt x="388" y="446"/>
                  </a:lnTo>
                  <a:lnTo>
                    <a:pt x="385" y="449"/>
                  </a:lnTo>
                  <a:lnTo>
                    <a:pt x="382" y="453"/>
                  </a:lnTo>
                  <a:lnTo>
                    <a:pt x="375" y="463"/>
                  </a:lnTo>
                  <a:lnTo>
                    <a:pt x="372" y="476"/>
                  </a:lnTo>
                  <a:lnTo>
                    <a:pt x="369" y="489"/>
                  </a:lnTo>
                  <a:lnTo>
                    <a:pt x="366" y="501"/>
                  </a:lnTo>
                  <a:lnTo>
                    <a:pt x="365" y="511"/>
                  </a:lnTo>
                  <a:lnTo>
                    <a:pt x="365" y="517"/>
                  </a:lnTo>
                  <a:lnTo>
                    <a:pt x="362" y="520"/>
                  </a:lnTo>
                  <a:lnTo>
                    <a:pt x="358" y="522"/>
                  </a:lnTo>
                  <a:lnTo>
                    <a:pt x="350" y="525"/>
                  </a:lnTo>
                  <a:lnTo>
                    <a:pt x="342" y="528"/>
                  </a:lnTo>
                  <a:lnTo>
                    <a:pt x="320" y="535"/>
                  </a:lnTo>
                  <a:lnTo>
                    <a:pt x="296" y="541"/>
                  </a:lnTo>
                  <a:lnTo>
                    <a:pt x="270" y="546"/>
                  </a:lnTo>
                  <a:lnTo>
                    <a:pt x="246" y="551"/>
                  </a:lnTo>
                  <a:lnTo>
                    <a:pt x="226" y="554"/>
                  </a:lnTo>
                  <a:lnTo>
                    <a:pt x="212" y="555"/>
                  </a:lnTo>
                  <a:lnTo>
                    <a:pt x="194" y="554"/>
                  </a:lnTo>
                  <a:lnTo>
                    <a:pt x="176" y="553"/>
                  </a:lnTo>
                  <a:lnTo>
                    <a:pt x="159" y="550"/>
                  </a:lnTo>
                  <a:lnTo>
                    <a:pt x="142" y="548"/>
                  </a:lnTo>
                  <a:lnTo>
                    <a:pt x="113" y="542"/>
                  </a:lnTo>
                  <a:lnTo>
                    <a:pt x="92" y="536"/>
                  </a:lnTo>
                  <a:lnTo>
                    <a:pt x="93" y="529"/>
                  </a:lnTo>
                  <a:lnTo>
                    <a:pt x="94" y="523"/>
                  </a:lnTo>
                  <a:lnTo>
                    <a:pt x="95" y="518"/>
                  </a:lnTo>
                  <a:lnTo>
                    <a:pt x="97" y="513"/>
                  </a:lnTo>
                  <a:lnTo>
                    <a:pt x="103" y="504"/>
                  </a:lnTo>
                  <a:lnTo>
                    <a:pt x="109" y="496"/>
                  </a:lnTo>
                  <a:lnTo>
                    <a:pt x="115" y="488"/>
                  </a:lnTo>
                  <a:lnTo>
                    <a:pt x="120" y="479"/>
                  </a:lnTo>
                  <a:lnTo>
                    <a:pt x="123" y="473"/>
                  </a:lnTo>
                  <a:lnTo>
                    <a:pt x="124" y="468"/>
                  </a:lnTo>
                  <a:lnTo>
                    <a:pt x="125" y="462"/>
                  </a:lnTo>
                  <a:lnTo>
                    <a:pt x="126" y="456"/>
                  </a:lnTo>
                  <a:lnTo>
                    <a:pt x="125" y="451"/>
                  </a:lnTo>
                  <a:lnTo>
                    <a:pt x="124" y="446"/>
                  </a:lnTo>
                  <a:lnTo>
                    <a:pt x="123" y="442"/>
                  </a:lnTo>
                  <a:lnTo>
                    <a:pt x="120" y="439"/>
                  </a:lnTo>
                  <a:lnTo>
                    <a:pt x="117" y="437"/>
                  </a:lnTo>
                  <a:lnTo>
                    <a:pt x="114" y="435"/>
                  </a:lnTo>
                  <a:lnTo>
                    <a:pt x="111" y="433"/>
                  </a:lnTo>
                  <a:lnTo>
                    <a:pt x="106" y="432"/>
                  </a:lnTo>
                  <a:lnTo>
                    <a:pt x="89" y="431"/>
                  </a:lnTo>
                  <a:lnTo>
                    <a:pt x="72" y="432"/>
                  </a:lnTo>
                  <a:lnTo>
                    <a:pt x="69" y="431"/>
                  </a:lnTo>
                  <a:lnTo>
                    <a:pt x="66" y="430"/>
                  </a:lnTo>
                  <a:lnTo>
                    <a:pt x="62" y="429"/>
                  </a:lnTo>
                  <a:lnTo>
                    <a:pt x="59" y="427"/>
                  </a:lnTo>
                  <a:lnTo>
                    <a:pt x="52" y="421"/>
                  </a:lnTo>
                  <a:lnTo>
                    <a:pt x="47" y="413"/>
                  </a:lnTo>
                  <a:lnTo>
                    <a:pt x="42" y="405"/>
                  </a:lnTo>
                  <a:lnTo>
                    <a:pt x="38" y="395"/>
                  </a:lnTo>
                  <a:lnTo>
                    <a:pt x="34" y="384"/>
                  </a:lnTo>
                  <a:lnTo>
                    <a:pt x="30" y="373"/>
                  </a:lnTo>
                  <a:lnTo>
                    <a:pt x="26" y="349"/>
                  </a:lnTo>
                  <a:lnTo>
                    <a:pt x="22" y="327"/>
                  </a:lnTo>
                  <a:lnTo>
                    <a:pt x="19" y="309"/>
                  </a:lnTo>
                  <a:lnTo>
                    <a:pt x="19" y="295"/>
                  </a:lnTo>
                  <a:lnTo>
                    <a:pt x="16" y="295"/>
                  </a:lnTo>
                  <a:lnTo>
                    <a:pt x="13" y="293"/>
                  </a:lnTo>
                  <a:lnTo>
                    <a:pt x="10" y="291"/>
                  </a:lnTo>
                  <a:lnTo>
                    <a:pt x="7" y="289"/>
                  </a:lnTo>
                  <a:lnTo>
                    <a:pt x="4" y="286"/>
                  </a:lnTo>
                  <a:lnTo>
                    <a:pt x="2" y="283"/>
                  </a:lnTo>
                  <a:lnTo>
                    <a:pt x="0" y="280"/>
                  </a:lnTo>
                  <a:lnTo>
                    <a:pt x="0" y="277"/>
                  </a:lnTo>
                  <a:lnTo>
                    <a:pt x="0" y="274"/>
                  </a:lnTo>
                  <a:lnTo>
                    <a:pt x="1" y="271"/>
                  </a:lnTo>
                  <a:lnTo>
                    <a:pt x="2" y="268"/>
                  </a:lnTo>
                  <a:lnTo>
                    <a:pt x="4" y="265"/>
                  </a:lnTo>
                  <a:lnTo>
                    <a:pt x="10" y="259"/>
                  </a:lnTo>
                  <a:lnTo>
                    <a:pt x="16" y="254"/>
                  </a:lnTo>
                  <a:lnTo>
                    <a:pt x="22" y="248"/>
                  </a:lnTo>
                  <a:lnTo>
                    <a:pt x="27" y="243"/>
                  </a:lnTo>
                  <a:lnTo>
                    <a:pt x="31" y="238"/>
                  </a:lnTo>
                  <a:lnTo>
                    <a:pt x="33" y="234"/>
                  </a:lnTo>
                  <a:lnTo>
                    <a:pt x="34" y="221"/>
                  </a:lnTo>
                  <a:lnTo>
                    <a:pt x="36" y="213"/>
                  </a:lnTo>
                  <a:lnTo>
                    <a:pt x="38" y="205"/>
                  </a:lnTo>
                  <a:lnTo>
                    <a:pt x="39" y="1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04" name="Freeform 261"/>
            <p:cNvSpPr>
              <a:spLocks/>
            </p:cNvSpPr>
            <p:nvPr>
              <p:custDataLst>
                <p:tags r:id="rId189"/>
              </p:custDataLst>
            </p:nvPr>
          </p:nvSpPr>
          <p:spPr bwMode="auto">
            <a:xfrm>
              <a:off x="7596819" y="3159564"/>
              <a:ext cx="365125" cy="423863"/>
            </a:xfrm>
            <a:custGeom>
              <a:avLst/>
              <a:gdLst>
                <a:gd name="T0" fmla="*/ 2147483647 w 831"/>
                <a:gd name="T1" fmla="*/ 2147483647 h 812"/>
                <a:gd name="T2" fmla="*/ 2147483647 w 831"/>
                <a:gd name="T3" fmla="*/ 2147483647 h 812"/>
                <a:gd name="T4" fmla="*/ 2147483647 w 831"/>
                <a:gd name="T5" fmla="*/ 2147483647 h 812"/>
                <a:gd name="T6" fmla="*/ 2147483647 w 831"/>
                <a:gd name="T7" fmla="*/ 2147483647 h 812"/>
                <a:gd name="T8" fmla="*/ 2147483647 w 831"/>
                <a:gd name="T9" fmla="*/ 2147483647 h 812"/>
                <a:gd name="T10" fmla="*/ 2147483647 w 831"/>
                <a:gd name="T11" fmla="*/ 2147483647 h 812"/>
                <a:gd name="T12" fmla="*/ 2147483647 w 831"/>
                <a:gd name="T13" fmla="*/ 2147483647 h 812"/>
                <a:gd name="T14" fmla="*/ 2147483647 w 831"/>
                <a:gd name="T15" fmla="*/ 2147483647 h 812"/>
                <a:gd name="T16" fmla="*/ 2147483647 w 831"/>
                <a:gd name="T17" fmla="*/ 2147483647 h 812"/>
                <a:gd name="T18" fmla="*/ 2147483647 w 831"/>
                <a:gd name="T19" fmla="*/ 2147483647 h 812"/>
                <a:gd name="T20" fmla="*/ 2147483647 w 831"/>
                <a:gd name="T21" fmla="*/ 2147483647 h 812"/>
                <a:gd name="T22" fmla="*/ 2147483647 w 831"/>
                <a:gd name="T23" fmla="*/ 2147483647 h 812"/>
                <a:gd name="T24" fmla="*/ 2147483647 w 831"/>
                <a:gd name="T25" fmla="*/ 2147483647 h 812"/>
                <a:gd name="T26" fmla="*/ 2147483647 w 831"/>
                <a:gd name="T27" fmla="*/ 2147483647 h 812"/>
                <a:gd name="T28" fmla="*/ 2147483647 w 831"/>
                <a:gd name="T29" fmla="*/ 2147483647 h 812"/>
                <a:gd name="T30" fmla="*/ 2147483647 w 831"/>
                <a:gd name="T31" fmla="*/ 2147483647 h 812"/>
                <a:gd name="T32" fmla="*/ 2147483647 w 831"/>
                <a:gd name="T33" fmla="*/ 2147483647 h 812"/>
                <a:gd name="T34" fmla="*/ 2147483647 w 831"/>
                <a:gd name="T35" fmla="*/ 2147483647 h 812"/>
                <a:gd name="T36" fmla="*/ 2147483647 w 831"/>
                <a:gd name="T37" fmla="*/ 2147483647 h 812"/>
                <a:gd name="T38" fmla="*/ 2147483647 w 831"/>
                <a:gd name="T39" fmla="*/ 2147483647 h 812"/>
                <a:gd name="T40" fmla="*/ 2147483647 w 831"/>
                <a:gd name="T41" fmla="*/ 2147483647 h 812"/>
                <a:gd name="T42" fmla="*/ 2147483647 w 831"/>
                <a:gd name="T43" fmla="*/ 2147483647 h 812"/>
                <a:gd name="T44" fmla="*/ 2147483647 w 831"/>
                <a:gd name="T45" fmla="*/ 2147483647 h 812"/>
                <a:gd name="T46" fmla="*/ 2147483647 w 831"/>
                <a:gd name="T47" fmla="*/ 2147483647 h 812"/>
                <a:gd name="T48" fmla="*/ 2147483647 w 831"/>
                <a:gd name="T49" fmla="*/ 2147483647 h 812"/>
                <a:gd name="T50" fmla="*/ 2147483647 w 831"/>
                <a:gd name="T51" fmla="*/ 2147483647 h 812"/>
                <a:gd name="T52" fmla="*/ 2147483647 w 831"/>
                <a:gd name="T53" fmla="*/ 2147483647 h 812"/>
                <a:gd name="T54" fmla="*/ 2147483647 w 831"/>
                <a:gd name="T55" fmla="*/ 2147483647 h 812"/>
                <a:gd name="T56" fmla="*/ 2147483647 w 831"/>
                <a:gd name="T57" fmla="*/ 2147483647 h 812"/>
                <a:gd name="T58" fmla="*/ 2147483647 w 831"/>
                <a:gd name="T59" fmla="*/ 2147483647 h 812"/>
                <a:gd name="T60" fmla="*/ 2147483647 w 831"/>
                <a:gd name="T61" fmla="*/ 2147483647 h 812"/>
                <a:gd name="T62" fmla="*/ 2147483647 w 831"/>
                <a:gd name="T63" fmla="*/ 2147483647 h 812"/>
                <a:gd name="T64" fmla="*/ 2147483647 w 831"/>
                <a:gd name="T65" fmla="*/ 2147483647 h 812"/>
                <a:gd name="T66" fmla="*/ 2147483647 w 831"/>
                <a:gd name="T67" fmla="*/ 2147483647 h 812"/>
                <a:gd name="T68" fmla="*/ 2147483647 w 831"/>
                <a:gd name="T69" fmla="*/ 2147483647 h 812"/>
                <a:gd name="T70" fmla="*/ 2147483647 w 831"/>
                <a:gd name="T71" fmla="*/ 2147483647 h 812"/>
                <a:gd name="T72" fmla="*/ 2147483647 w 831"/>
                <a:gd name="T73" fmla="*/ 2147483647 h 812"/>
                <a:gd name="T74" fmla="*/ 2147483647 w 831"/>
                <a:gd name="T75" fmla="*/ 2147483647 h 812"/>
                <a:gd name="T76" fmla="*/ 2147483647 w 831"/>
                <a:gd name="T77" fmla="*/ 2147483647 h 812"/>
                <a:gd name="T78" fmla="*/ 2147483647 w 831"/>
                <a:gd name="T79" fmla="*/ 2147483647 h 812"/>
                <a:gd name="T80" fmla="*/ 2147483647 w 831"/>
                <a:gd name="T81" fmla="*/ 2147483647 h 812"/>
                <a:gd name="T82" fmla="*/ 2147483647 w 831"/>
                <a:gd name="T83" fmla="*/ 2147483647 h 812"/>
                <a:gd name="T84" fmla="*/ 2147483647 w 831"/>
                <a:gd name="T85" fmla="*/ 2147483647 h 812"/>
                <a:gd name="T86" fmla="*/ 2147483647 w 831"/>
                <a:gd name="T87" fmla="*/ 2147483647 h 812"/>
                <a:gd name="T88" fmla="*/ 2147483647 w 831"/>
                <a:gd name="T89" fmla="*/ 2147483647 h 812"/>
                <a:gd name="T90" fmla="*/ 2147483647 w 831"/>
                <a:gd name="T91" fmla="*/ 2147483647 h 812"/>
                <a:gd name="T92" fmla="*/ 2147483647 w 831"/>
                <a:gd name="T93" fmla="*/ 2147483647 h 812"/>
                <a:gd name="T94" fmla="*/ 2147483647 w 831"/>
                <a:gd name="T95" fmla="*/ 2147483647 h 812"/>
                <a:gd name="T96" fmla="*/ 2147483647 w 831"/>
                <a:gd name="T97" fmla="*/ 2147483647 h 812"/>
                <a:gd name="T98" fmla="*/ 2147483647 w 831"/>
                <a:gd name="T99" fmla="*/ 2147483647 h 812"/>
                <a:gd name="T100" fmla="*/ 2147483647 w 831"/>
                <a:gd name="T101" fmla="*/ 2147483647 h 812"/>
                <a:gd name="T102" fmla="*/ 2147483647 w 831"/>
                <a:gd name="T103" fmla="*/ 2147483647 h 812"/>
                <a:gd name="T104" fmla="*/ 2147483647 w 831"/>
                <a:gd name="T105" fmla="*/ 2147483647 h 812"/>
                <a:gd name="T106" fmla="*/ 2147483647 w 831"/>
                <a:gd name="T107" fmla="*/ 2147483647 h 8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831" h="812">
                  <a:moveTo>
                    <a:pt x="831" y="98"/>
                  </a:moveTo>
                  <a:lnTo>
                    <a:pt x="817" y="95"/>
                  </a:lnTo>
                  <a:lnTo>
                    <a:pt x="803" y="91"/>
                  </a:lnTo>
                  <a:lnTo>
                    <a:pt x="791" y="87"/>
                  </a:lnTo>
                  <a:lnTo>
                    <a:pt x="779" y="82"/>
                  </a:lnTo>
                  <a:lnTo>
                    <a:pt x="769" y="77"/>
                  </a:lnTo>
                  <a:lnTo>
                    <a:pt x="758" y="71"/>
                  </a:lnTo>
                  <a:lnTo>
                    <a:pt x="749" y="65"/>
                  </a:lnTo>
                  <a:lnTo>
                    <a:pt x="740" y="58"/>
                  </a:lnTo>
                  <a:lnTo>
                    <a:pt x="707" y="29"/>
                  </a:lnTo>
                  <a:lnTo>
                    <a:pt x="679" y="0"/>
                  </a:lnTo>
                  <a:lnTo>
                    <a:pt x="655" y="2"/>
                  </a:lnTo>
                  <a:lnTo>
                    <a:pt x="626" y="4"/>
                  </a:lnTo>
                  <a:lnTo>
                    <a:pt x="594" y="7"/>
                  </a:lnTo>
                  <a:lnTo>
                    <a:pt x="562" y="10"/>
                  </a:lnTo>
                  <a:lnTo>
                    <a:pt x="547" y="13"/>
                  </a:lnTo>
                  <a:lnTo>
                    <a:pt x="533" y="16"/>
                  </a:lnTo>
                  <a:lnTo>
                    <a:pt x="520" y="19"/>
                  </a:lnTo>
                  <a:lnTo>
                    <a:pt x="509" y="24"/>
                  </a:lnTo>
                  <a:lnTo>
                    <a:pt x="499" y="29"/>
                  </a:lnTo>
                  <a:lnTo>
                    <a:pt x="492" y="34"/>
                  </a:lnTo>
                  <a:lnTo>
                    <a:pt x="489" y="37"/>
                  </a:lnTo>
                  <a:lnTo>
                    <a:pt x="487" y="41"/>
                  </a:lnTo>
                  <a:lnTo>
                    <a:pt x="486" y="44"/>
                  </a:lnTo>
                  <a:lnTo>
                    <a:pt x="486" y="49"/>
                  </a:lnTo>
                  <a:lnTo>
                    <a:pt x="486" y="54"/>
                  </a:lnTo>
                  <a:lnTo>
                    <a:pt x="487" y="59"/>
                  </a:lnTo>
                  <a:lnTo>
                    <a:pt x="489" y="63"/>
                  </a:lnTo>
                  <a:lnTo>
                    <a:pt x="491" y="66"/>
                  </a:lnTo>
                  <a:lnTo>
                    <a:pt x="497" y="71"/>
                  </a:lnTo>
                  <a:lnTo>
                    <a:pt x="502" y="76"/>
                  </a:lnTo>
                  <a:lnTo>
                    <a:pt x="509" y="80"/>
                  </a:lnTo>
                  <a:lnTo>
                    <a:pt x="514" y="84"/>
                  </a:lnTo>
                  <a:lnTo>
                    <a:pt x="516" y="87"/>
                  </a:lnTo>
                  <a:lnTo>
                    <a:pt x="517" y="90"/>
                  </a:lnTo>
                  <a:lnTo>
                    <a:pt x="519" y="93"/>
                  </a:lnTo>
                  <a:lnTo>
                    <a:pt x="519" y="98"/>
                  </a:lnTo>
                  <a:lnTo>
                    <a:pt x="519" y="102"/>
                  </a:lnTo>
                  <a:lnTo>
                    <a:pt x="517" y="107"/>
                  </a:lnTo>
                  <a:lnTo>
                    <a:pt x="516" y="111"/>
                  </a:lnTo>
                  <a:lnTo>
                    <a:pt x="514" y="114"/>
                  </a:lnTo>
                  <a:lnTo>
                    <a:pt x="509" y="120"/>
                  </a:lnTo>
                  <a:lnTo>
                    <a:pt x="502" y="127"/>
                  </a:lnTo>
                  <a:lnTo>
                    <a:pt x="497" y="133"/>
                  </a:lnTo>
                  <a:lnTo>
                    <a:pt x="491" y="140"/>
                  </a:lnTo>
                  <a:lnTo>
                    <a:pt x="489" y="144"/>
                  </a:lnTo>
                  <a:lnTo>
                    <a:pt x="487" y="149"/>
                  </a:lnTo>
                  <a:lnTo>
                    <a:pt x="486" y="154"/>
                  </a:lnTo>
                  <a:lnTo>
                    <a:pt x="486" y="159"/>
                  </a:lnTo>
                  <a:lnTo>
                    <a:pt x="480" y="162"/>
                  </a:lnTo>
                  <a:lnTo>
                    <a:pt x="475" y="163"/>
                  </a:lnTo>
                  <a:lnTo>
                    <a:pt x="470" y="166"/>
                  </a:lnTo>
                  <a:lnTo>
                    <a:pt x="466" y="169"/>
                  </a:lnTo>
                  <a:lnTo>
                    <a:pt x="457" y="176"/>
                  </a:lnTo>
                  <a:lnTo>
                    <a:pt x="450" y="184"/>
                  </a:lnTo>
                  <a:lnTo>
                    <a:pt x="444" y="194"/>
                  </a:lnTo>
                  <a:lnTo>
                    <a:pt x="438" y="205"/>
                  </a:lnTo>
                  <a:lnTo>
                    <a:pt x="434" y="217"/>
                  </a:lnTo>
                  <a:lnTo>
                    <a:pt x="430" y="230"/>
                  </a:lnTo>
                  <a:lnTo>
                    <a:pt x="427" y="243"/>
                  </a:lnTo>
                  <a:lnTo>
                    <a:pt x="424" y="256"/>
                  </a:lnTo>
                  <a:lnTo>
                    <a:pt x="423" y="270"/>
                  </a:lnTo>
                  <a:lnTo>
                    <a:pt x="421" y="284"/>
                  </a:lnTo>
                  <a:lnTo>
                    <a:pt x="420" y="309"/>
                  </a:lnTo>
                  <a:lnTo>
                    <a:pt x="420" y="332"/>
                  </a:lnTo>
                  <a:lnTo>
                    <a:pt x="412" y="332"/>
                  </a:lnTo>
                  <a:lnTo>
                    <a:pt x="407" y="330"/>
                  </a:lnTo>
                  <a:lnTo>
                    <a:pt x="401" y="327"/>
                  </a:lnTo>
                  <a:lnTo>
                    <a:pt x="397" y="322"/>
                  </a:lnTo>
                  <a:lnTo>
                    <a:pt x="392" y="319"/>
                  </a:lnTo>
                  <a:lnTo>
                    <a:pt x="388" y="316"/>
                  </a:lnTo>
                  <a:lnTo>
                    <a:pt x="385" y="314"/>
                  </a:lnTo>
                  <a:lnTo>
                    <a:pt x="379" y="313"/>
                  </a:lnTo>
                  <a:lnTo>
                    <a:pt x="375" y="314"/>
                  </a:lnTo>
                  <a:lnTo>
                    <a:pt x="370" y="315"/>
                  </a:lnTo>
                  <a:lnTo>
                    <a:pt x="366" y="317"/>
                  </a:lnTo>
                  <a:lnTo>
                    <a:pt x="362" y="319"/>
                  </a:lnTo>
                  <a:lnTo>
                    <a:pt x="354" y="325"/>
                  </a:lnTo>
                  <a:lnTo>
                    <a:pt x="346" y="332"/>
                  </a:lnTo>
                  <a:lnTo>
                    <a:pt x="338" y="339"/>
                  </a:lnTo>
                  <a:lnTo>
                    <a:pt x="331" y="345"/>
                  </a:lnTo>
                  <a:lnTo>
                    <a:pt x="326" y="347"/>
                  </a:lnTo>
                  <a:lnTo>
                    <a:pt x="322" y="349"/>
                  </a:lnTo>
                  <a:lnTo>
                    <a:pt x="318" y="350"/>
                  </a:lnTo>
                  <a:lnTo>
                    <a:pt x="313" y="351"/>
                  </a:lnTo>
                  <a:lnTo>
                    <a:pt x="308" y="351"/>
                  </a:lnTo>
                  <a:lnTo>
                    <a:pt x="303" y="353"/>
                  </a:lnTo>
                  <a:lnTo>
                    <a:pt x="300" y="356"/>
                  </a:lnTo>
                  <a:lnTo>
                    <a:pt x="297" y="360"/>
                  </a:lnTo>
                  <a:lnTo>
                    <a:pt x="290" y="370"/>
                  </a:lnTo>
                  <a:lnTo>
                    <a:pt x="287" y="383"/>
                  </a:lnTo>
                  <a:lnTo>
                    <a:pt x="284" y="396"/>
                  </a:lnTo>
                  <a:lnTo>
                    <a:pt x="281" y="408"/>
                  </a:lnTo>
                  <a:lnTo>
                    <a:pt x="280" y="418"/>
                  </a:lnTo>
                  <a:lnTo>
                    <a:pt x="280" y="424"/>
                  </a:lnTo>
                  <a:lnTo>
                    <a:pt x="277" y="427"/>
                  </a:lnTo>
                  <a:lnTo>
                    <a:pt x="273" y="429"/>
                  </a:lnTo>
                  <a:lnTo>
                    <a:pt x="265" y="432"/>
                  </a:lnTo>
                  <a:lnTo>
                    <a:pt x="257" y="435"/>
                  </a:lnTo>
                  <a:lnTo>
                    <a:pt x="235" y="442"/>
                  </a:lnTo>
                  <a:lnTo>
                    <a:pt x="211" y="448"/>
                  </a:lnTo>
                  <a:lnTo>
                    <a:pt x="185" y="453"/>
                  </a:lnTo>
                  <a:lnTo>
                    <a:pt x="161" y="458"/>
                  </a:lnTo>
                  <a:lnTo>
                    <a:pt x="141" y="461"/>
                  </a:lnTo>
                  <a:lnTo>
                    <a:pt x="127" y="462"/>
                  </a:lnTo>
                  <a:lnTo>
                    <a:pt x="109" y="461"/>
                  </a:lnTo>
                  <a:lnTo>
                    <a:pt x="91" y="460"/>
                  </a:lnTo>
                  <a:lnTo>
                    <a:pt x="74" y="457"/>
                  </a:lnTo>
                  <a:lnTo>
                    <a:pt x="56" y="455"/>
                  </a:lnTo>
                  <a:lnTo>
                    <a:pt x="26" y="449"/>
                  </a:lnTo>
                  <a:lnTo>
                    <a:pt x="0" y="443"/>
                  </a:lnTo>
                  <a:lnTo>
                    <a:pt x="8" y="455"/>
                  </a:lnTo>
                  <a:lnTo>
                    <a:pt x="19" y="470"/>
                  </a:lnTo>
                  <a:lnTo>
                    <a:pt x="34" y="487"/>
                  </a:lnTo>
                  <a:lnTo>
                    <a:pt x="51" y="505"/>
                  </a:lnTo>
                  <a:lnTo>
                    <a:pt x="60" y="513"/>
                  </a:lnTo>
                  <a:lnTo>
                    <a:pt x="68" y="521"/>
                  </a:lnTo>
                  <a:lnTo>
                    <a:pt x="77" y="528"/>
                  </a:lnTo>
                  <a:lnTo>
                    <a:pt x="87" y="535"/>
                  </a:lnTo>
                  <a:lnTo>
                    <a:pt x="96" y="540"/>
                  </a:lnTo>
                  <a:lnTo>
                    <a:pt x="105" y="544"/>
                  </a:lnTo>
                  <a:lnTo>
                    <a:pt x="112" y="546"/>
                  </a:lnTo>
                  <a:lnTo>
                    <a:pt x="120" y="547"/>
                  </a:lnTo>
                  <a:lnTo>
                    <a:pt x="121" y="561"/>
                  </a:lnTo>
                  <a:lnTo>
                    <a:pt x="123" y="577"/>
                  </a:lnTo>
                  <a:lnTo>
                    <a:pt x="127" y="585"/>
                  </a:lnTo>
                  <a:lnTo>
                    <a:pt x="131" y="591"/>
                  </a:lnTo>
                  <a:lnTo>
                    <a:pt x="134" y="593"/>
                  </a:lnTo>
                  <a:lnTo>
                    <a:pt x="138" y="595"/>
                  </a:lnTo>
                  <a:lnTo>
                    <a:pt x="142" y="596"/>
                  </a:lnTo>
                  <a:lnTo>
                    <a:pt x="147" y="597"/>
                  </a:lnTo>
                  <a:lnTo>
                    <a:pt x="147" y="616"/>
                  </a:lnTo>
                  <a:lnTo>
                    <a:pt x="127" y="629"/>
                  </a:lnTo>
                  <a:lnTo>
                    <a:pt x="107" y="641"/>
                  </a:lnTo>
                  <a:lnTo>
                    <a:pt x="99" y="647"/>
                  </a:lnTo>
                  <a:lnTo>
                    <a:pt x="93" y="654"/>
                  </a:lnTo>
                  <a:lnTo>
                    <a:pt x="90" y="658"/>
                  </a:lnTo>
                  <a:lnTo>
                    <a:pt x="88" y="663"/>
                  </a:lnTo>
                  <a:lnTo>
                    <a:pt x="87" y="667"/>
                  </a:lnTo>
                  <a:lnTo>
                    <a:pt x="87" y="671"/>
                  </a:lnTo>
                  <a:lnTo>
                    <a:pt x="87" y="680"/>
                  </a:lnTo>
                  <a:lnTo>
                    <a:pt x="87" y="689"/>
                  </a:lnTo>
                  <a:lnTo>
                    <a:pt x="87" y="701"/>
                  </a:lnTo>
                  <a:lnTo>
                    <a:pt x="87" y="721"/>
                  </a:lnTo>
                  <a:lnTo>
                    <a:pt x="109" y="720"/>
                  </a:lnTo>
                  <a:lnTo>
                    <a:pt x="132" y="719"/>
                  </a:lnTo>
                  <a:lnTo>
                    <a:pt x="154" y="717"/>
                  </a:lnTo>
                  <a:lnTo>
                    <a:pt x="177" y="714"/>
                  </a:lnTo>
                  <a:lnTo>
                    <a:pt x="199" y="711"/>
                  </a:lnTo>
                  <a:lnTo>
                    <a:pt x="222" y="710"/>
                  </a:lnTo>
                  <a:lnTo>
                    <a:pt x="244" y="708"/>
                  </a:lnTo>
                  <a:lnTo>
                    <a:pt x="266" y="708"/>
                  </a:lnTo>
                  <a:lnTo>
                    <a:pt x="284" y="707"/>
                  </a:lnTo>
                  <a:lnTo>
                    <a:pt x="297" y="705"/>
                  </a:lnTo>
                  <a:lnTo>
                    <a:pt x="302" y="705"/>
                  </a:lnTo>
                  <a:lnTo>
                    <a:pt x="310" y="705"/>
                  </a:lnTo>
                  <a:lnTo>
                    <a:pt x="318" y="706"/>
                  </a:lnTo>
                  <a:lnTo>
                    <a:pt x="326" y="708"/>
                  </a:lnTo>
                  <a:lnTo>
                    <a:pt x="328" y="714"/>
                  </a:lnTo>
                  <a:lnTo>
                    <a:pt x="330" y="721"/>
                  </a:lnTo>
                  <a:lnTo>
                    <a:pt x="333" y="728"/>
                  </a:lnTo>
                  <a:lnTo>
                    <a:pt x="338" y="735"/>
                  </a:lnTo>
                  <a:lnTo>
                    <a:pt x="345" y="742"/>
                  </a:lnTo>
                  <a:lnTo>
                    <a:pt x="352" y="749"/>
                  </a:lnTo>
                  <a:lnTo>
                    <a:pt x="359" y="756"/>
                  </a:lnTo>
                  <a:lnTo>
                    <a:pt x="368" y="762"/>
                  </a:lnTo>
                  <a:lnTo>
                    <a:pt x="378" y="769"/>
                  </a:lnTo>
                  <a:lnTo>
                    <a:pt x="388" y="776"/>
                  </a:lnTo>
                  <a:lnTo>
                    <a:pt x="398" y="781"/>
                  </a:lnTo>
                  <a:lnTo>
                    <a:pt x="408" y="785"/>
                  </a:lnTo>
                  <a:lnTo>
                    <a:pt x="418" y="789"/>
                  </a:lnTo>
                  <a:lnTo>
                    <a:pt x="427" y="792"/>
                  </a:lnTo>
                  <a:lnTo>
                    <a:pt x="437" y="794"/>
                  </a:lnTo>
                  <a:lnTo>
                    <a:pt x="446" y="794"/>
                  </a:lnTo>
                  <a:lnTo>
                    <a:pt x="449" y="803"/>
                  </a:lnTo>
                  <a:lnTo>
                    <a:pt x="453" y="812"/>
                  </a:lnTo>
                  <a:lnTo>
                    <a:pt x="454" y="806"/>
                  </a:lnTo>
                  <a:lnTo>
                    <a:pt x="455" y="800"/>
                  </a:lnTo>
                  <a:lnTo>
                    <a:pt x="457" y="795"/>
                  </a:lnTo>
                  <a:lnTo>
                    <a:pt x="460" y="791"/>
                  </a:lnTo>
                  <a:lnTo>
                    <a:pt x="464" y="787"/>
                  </a:lnTo>
                  <a:lnTo>
                    <a:pt x="467" y="783"/>
                  </a:lnTo>
                  <a:lnTo>
                    <a:pt x="471" y="780"/>
                  </a:lnTo>
                  <a:lnTo>
                    <a:pt x="477" y="778"/>
                  </a:lnTo>
                  <a:lnTo>
                    <a:pt x="487" y="774"/>
                  </a:lnTo>
                  <a:lnTo>
                    <a:pt x="499" y="770"/>
                  </a:lnTo>
                  <a:lnTo>
                    <a:pt x="512" y="768"/>
                  </a:lnTo>
                  <a:lnTo>
                    <a:pt x="525" y="767"/>
                  </a:lnTo>
                  <a:lnTo>
                    <a:pt x="539" y="765"/>
                  </a:lnTo>
                  <a:lnTo>
                    <a:pt x="554" y="764"/>
                  </a:lnTo>
                  <a:lnTo>
                    <a:pt x="567" y="761"/>
                  </a:lnTo>
                  <a:lnTo>
                    <a:pt x="580" y="758"/>
                  </a:lnTo>
                  <a:lnTo>
                    <a:pt x="586" y="756"/>
                  </a:lnTo>
                  <a:lnTo>
                    <a:pt x="591" y="753"/>
                  </a:lnTo>
                  <a:lnTo>
                    <a:pt x="597" y="750"/>
                  </a:lnTo>
                  <a:lnTo>
                    <a:pt x="602" y="747"/>
                  </a:lnTo>
                  <a:lnTo>
                    <a:pt x="606" y="743"/>
                  </a:lnTo>
                  <a:lnTo>
                    <a:pt x="611" y="738"/>
                  </a:lnTo>
                  <a:lnTo>
                    <a:pt x="615" y="733"/>
                  </a:lnTo>
                  <a:lnTo>
                    <a:pt x="618" y="727"/>
                  </a:lnTo>
                  <a:lnTo>
                    <a:pt x="614" y="725"/>
                  </a:lnTo>
                  <a:lnTo>
                    <a:pt x="610" y="722"/>
                  </a:lnTo>
                  <a:lnTo>
                    <a:pt x="604" y="718"/>
                  </a:lnTo>
                  <a:lnTo>
                    <a:pt x="598" y="712"/>
                  </a:lnTo>
                  <a:lnTo>
                    <a:pt x="584" y="700"/>
                  </a:lnTo>
                  <a:lnTo>
                    <a:pt x="571" y="686"/>
                  </a:lnTo>
                  <a:lnTo>
                    <a:pt x="559" y="671"/>
                  </a:lnTo>
                  <a:lnTo>
                    <a:pt x="548" y="655"/>
                  </a:lnTo>
                  <a:lnTo>
                    <a:pt x="545" y="648"/>
                  </a:lnTo>
                  <a:lnTo>
                    <a:pt x="542" y="641"/>
                  </a:lnTo>
                  <a:lnTo>
                    <a:pt x="539" y="634"/>
                  </a:lnTo>
                  <a:lnTo>
                    <a:pt x="538" y="628"/>
                  </a:lnTo>
                  <a:lnTo>
                    <a:pt x="534" y="627"/>
                  </a:lnTo>
                  <a:lnTo>
                    <a:pt x="530" y="626"/>
                  </a:lnTo>
                  <a:lnTo>
                    <a:pt x="526" y="624"/>
                  </a:lnTo>
                  <a:lnTo>
                    <a:pt x="523" y="620"/>
                  </a:lnTo>
                  <a:lnTo>
                    <a:pt x="517" y="613"/>
                  </a:lnTo>
                  <a:lnTo>
                    <a:pt x="512" y="603"/>
                  </a:lnTo>
                  <a:lnTo>
                    <a:pt x="512" y="579"/>
                  </a:lnTo>
                  <a:lnTo>
                    <a:pt x="526" y="578"/>
                  </a:lnTo>
                  <a:lnTo>
                    <a:pt x="539" y="577"/>
                  </a:lnTo>
                  <a:lnTo>
                    <a:pt x="551" y="575"/>
                  </a:lnTo>
                  <a:lnTo>
                    <a:pt x="562" y="571"/>
                  </a:lnTo>
                  <a:lnTo>
                    <a:pt x="572" y="568"/>
                  </a:lnTo>
                  <a:lnTo>
                    <a:pt x="582" y="563"/>
                  </a:lnTo>
                  <a:lnTo>
                    <a:pt x="591" y="558"/>
                  </a:lnTo>
                  <a:lnTo>
                    <a:pt x="600" y="552"/>
                  </a:lnTo>
                  <a:lnTo>
                    <a:pt x="607" y="545"/>
                  </a:lnTo>
                  <a:lnTo>
                    <a:pt x="615" y="538"/>
                  </a:lnTo>
                  <a:lnTo>
                    <a:pt x="622" y="531"/>
                  </a:lnTo>
                  <a:lnTo>
                    <a:pt x="628" y="523"/>
                  </a:lnTo>
                  <a:lnTo>
                    <a:pt x="639" y="507"/>
                  </a:lnTo>
                  <a:lnTo>
                    <a:pt x="650" y="489"/>
                  </a:lnTo>
                  <a:lnTo>
                    <a:pt x="669" y="453"/>
                  </a:lnTo>
                  <a:lnTo>
                    <a:pt x="688" y="417"/>
                  </a:lnTo>
                  <a:lnTo>
                    <a:pt x="699" y="401"/>
                  </a:lnTo>
                  <a:lnTo>
                    <a:pt x="710" y="387"/>
                  </a:lnTo>
                  <a:lnTo>
                    <a:pt x="716" y="379"/>
                  </a:lnTo>
                  <a:lnTo>
                    <a:pt x="723" y="373"/>
                  </a:lnTo>
                  <a:lnTo>
                    <a:pt x="730" y="368"/>
                  </a:lnTo>
                  <a:lnTo>
                    <a:pt x="738" y="363"/>
                  </a:lnTo>
                  <a:lnTo>
                    <a:pt x="732" y="351"/>
                  </a:lnTo>
                  <a:lnTo>
                    <a:pt x="727" y="340"/>
                  </a:lnTo>
                  <a:lnTo>
                    <a:pt x="726" y="335"/>
                  </a:lnTo>
                  <a:lnTo>
                    <a:pt x="725" y="330"/>
                  </a:lnTo>
                  <a:lnTo>
                    <a:pt x="725" y="324"/>
                  </a:lnTo>
                  <a:lnTo>
                    <a:pt x="725" y="319"/>
                  </a:lnTo>
                  <a:lnTo>
                    <a:pt x="726" y="314"/>
                  </a:lnTo>
                  <a:lnTo>
                    <a:pt x="727" y="309"/>
                  </a:lnTo>
                  <a:lnTo>
                    <a:pt x="729" y="305"/>
                  </a:lnTo>
                  <a:lnTo>
                    <a:pt x="733" y="301"/>
                  </a:lnTo>
                  <a:lnTo>
                    <a:pt x="736" y="298"/>
                  </a:lnTo>
                  <a:lnTo>
                    <a:pt x="740" y="295"/>
                  </a:lnTo>
                  <a:lnTo>
                    <a:pt x="746" y="292"/>
                  </a:lnTo>
                  <a:lnTo>
                    <a:pt x="751" y="289"/>
                  </a:lnTo>
                  <a:lnTo>
                    <a:pt x="722" y="262"/>
                  </a:lnTo>
                  <a:lnTo>
                    <a:pt x="700" y="242"/>
                  </a:lnTo>
                  <a:lnTo>
                    <a:pt x="690" y="232"/>
                  </a:lnTo>
                  <a:lnTo>
                    <a:pt x="680" y="221"/>
                  </a:lnTo>
                  <a:lnTo>
                    <a:pt x="670" y="207"/>
                  </a:lnTo>
                  <a:lnTo>
                    <a:pt x="658" y="190"/>
                  </a:lnTo>
                  <a:lnTo>
                    <a:pt x="658" y="147"/>
                  </a:lnTo>
                  <a:lnTo>
                    <a:pt x="701" y="145"/>
                  </a:lnTo>
                  <a:lnTo>
                    <a:pt x="733" y="143"/>
                  </a:lnTo>
                  <a:lnTo>
                    <a:pt x="758" y="140"/>
                  </a:lnTo>
                  <a:lnTo>
                    <a:pt x="778" y="136"/>
                  </a:lnTo>
                  <a:lnTo>
                    <a:pt x="785" y="134"/>
                  </a:lnTo>
                  <a:lnTo>
                    <a:pt x="792" y="131"/>
                  </a:lnTo>
                  <a:lnTo>
                    <a:pt x="799" y="127"/>
                  </a:lnTo>
                  <a:lnTo>
                    <a:pt x="805" y="123"/>
                  </a:lnTo>
                  <a:lnTo>
                    <a:pt x="817" y="113"/>
                  </a:lnTo>
                  <a:lnTo>
                    <a:pt x="831" y="9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05" name="Freeform 262"/>
            <p:cNvSpPr>
              <a:spLocks/>
            </p:cNvSpPr>
            <p:nvPr>
              <p:custDataLst>
                <p:tags r:id="rId190"/>
              </p:custDataLst>
            </p:nvPr>
          </p:nvSpPr>
          <p:spPr bwMode="auto">
            <a:xfrm>
              <a:off x="8387394" y="3427852"/>
              <a:ext cx="220663" cy="585787"/>
            </a:xfrm>
            <a:custGeom>
              <a:avLst/>
              <a:gdLst>
                <a:gd name="T0" fmla="*/ 2147483647 w 505"/>
                <a:gd name="T1" fmla="*/ 2147483647 h 1121"/>
                <a:gd name="T2" fmla="*/ 2147483647 w 505"/>
                <a:gd name="T3" fmla="*/ 2147483647 h 1121"/>
                <a:gd name="T4" fmla="*/ 2147483647 w 505"/>
                <a:gd name="T5" fmla="*/ 2147483647 h 1121"/>
                <a:gd name="T6" fmla="*/ 2147483647 w 505"/>
                <a:gd name="T7" fmla="*/ 2147483647 h 1121"/>
                <a:gd name="T8" fmla="*/ 2147483647 w 505"/>
                <a:gd name="T9" fmla="*/ 2147483647 h 1121"/>
                <a:gd name="T10" fmla="*/ 2147483647 w 505"/>
                <a:gd name="T11" fmla="*/ 2147483647 h 1121"/>
                <a:gd name="T12" fmla="*/ 2147483647 w 505"/>
                <a:gd name="T13" fmla="*/ 2147483647 h 1121"/>
                <a:gd name="T14" fmla="*/ 2147483647 w 505"/>
                <a:gd name="T15" fmla="*/ 2147483647 h 1121"/>
                <a:gd name="T16" fmla="*/ 2147483647 w 505"/>
                <a:gd name="T17" fmla="*/ 2147483647 h 1121"/>
                <a:gd name="T18" fmla="*/ 2147483647 w 505"/>
                <a:gd name="T19" fmla="*/ 2147483647 h 1121"/>
                <a:gd name="T20" fmla="*/ 2147483647 w 505"/>
                <a:gd name="T21" fmla="*/ 2147483647 h 1121"/>
                <a:gd name="T22" fmla="*/ 2147483647 w 505"/>
                <a:gd name="T23" fmla="*/ 2147483647 h 1121"/>
                <a:gd name="T24" fmla="*/ 2147483647 w 505"/>
                <a:gd name="T25" fmla="*/ 2147483647 h 1121"/>
                <a:gd name="T26" fmla="*/ 2147483647 w 505"/>
                <a:gd name="T27" fmla="*/ 2147483647 h 1121"/>
                <a:gd name="T28" fmla="*/ 2147483647 w 505"/>
                <a:gd name="T29" fmla="*/ 2147483647 h 1121"/>
                <a:gd name="T30" fmla="*/ 2147483647 w 505"/>
                <a:gd name="T31" fmla="*/ 2147483647 h 1121"/>
                <a:gd name="T32" fmla="*/ 2147483647 w 505"/>
                <a:gd name="T33" fmla="*/ 2147483647 h 1121"/>
                <a:gd name="T34" fmla="*/ 2147483647 w 505"/>
                <a:gd name="T35" fmla="*/ 2147483647 h 1121"/>
                <a:gd name="T36" fmla="*/ 2147483647 w 505"/>
                <a:gd name="T37" fmla="*/ 2147483647 h 1121"/>
                <a:gd name="T38" fmla="*/ 2147483647 w 505"/>
                <a:gd name="T39" fmla="*/ 2147483647 h 1121"/>
                <a:gd name="T40" fmla="*/ 2147483647 w 505"/>
                <a:gd name="T41" fmla="*/ 2147483647 h 1121"/>
                <a:gd name="T42" fmla="*/ 2147483647 w 505"/>
                <a:gd name="T43" fmla="*/ 2147483647 h 1121"/>
                <a:gd name="T44" fmla="*/ 2147483647 w 505"/>
                <a:gd name="T45" fmla="*/ 2147483647 h 1121"/>
                <a:gd name="T46" fmla="*/ 2147483647 w 505"/>
                <a:gd name="T47" fmla="*/ 2147483647 h 1121"/>
                <a:gd name="T48" fmla="*/ 2147483647 w 505"/>
                <a:gd name="T49" fmla="*/ 2147483647 h 1121"/>
                <a:gd name="T50" fmla="*/ 2147483647 w 505"/>
                <a:gd name="T51" fmla="*/ 2147483647 h 1121"/>
                <a:gd name="T52" fmla="*/ 2147483647 w 505"/>
                <a:gd name="T53" fmla="*/ 2147483647 h 1121"/>
                <a:gd name="T54" fmla="*/ 2147483647 w 505"/>
                <a:gd name="T55" fmla="*/ 2147483647 h 1121"/>
                <a:gd name="T56" fmla="*/ 2147483647 w 505"/>
                <a:gd name="T57" fmla="*/ 2147483647 h 1121"/>
                <a:gd name="T58" fmla="*/ 2147483647 w 505"/>
                <a:gd name="T59" fmla="*/ 2147483647 h 1121"/>
                <a:gd name="T60" fmla="*/ 2147483647 w 505"/>
                <a:gd name="T61" fmla="*/ 2147483647 h 1121"/>
                <a:gd name="T62" fmla="*/ 2147483647 w 505"/>
                <a:gd name="T63" fmla="*/ 2147483647 h 1121"/>
                <a:gd name="T64" fmla="*/ 2147483647 w 505"/>
                <a:gd name="T65" fmla="*/ 2147483647 h 1121"/>
                <a:gd name="T66" fmla="*/ 2147483647 w 505"/>
                <a:gd name="T67" fmla="*/ 2147483647 h 1121"/>
                <a:gd name="T68" fmla="*/ 2147483647 w 505"/>
                <a:gd name="T69" fmla="*/ 2147483647 h 1121"/>
                <a:gd name="T70" fmla="*/ 2147483647 w 505"/>
                <a:gd name="T71" fmla="*/ 2147483647 h 1121"/>
                <a:gd name="T72" fmla="*/ 2147483647 w 505"/>
                <a:gd name="T73" fmla="*/ 2147483647 h 1121"/>
                <a:gd name="T74" fmla="*/ 2147483647 w 505"/>
                <a:gd name="T75" fmla="*/ 2147483647 h 1121"/>
                <a:gd name="T76" fmla="*/ 2147483647 w 505"/>
                <a:gd name="T77" fmla="*/ 2147483647 h 1121"/>
                <a:gd name="T78" fmla="*/ 2147483647 w 505"/>
                <a:gd name="T79" fmla="*/ 2147483647 h 1121"/>
                <a:gd name="T80" fmla="*/ 2147483647 w 505"/>
                <a:gd name="T81" fmla="*/ 2147483647 h 1121"/>
                <a:gd name="T82" fmla="*/ 2147483647 w 505"/>
                <a:gd name="T83" fmla="*/ 2147483647 h 1121"/>
                <a:gd name="T84" fmla="*/ 2147483647 w 505"/>
                <a:gd name="T85" fmla="*/ 2147483647 h 1121"/>
                <a:gd name="T86" fmla="*/ 2147483647 w 505"/>
                <a:gd name="T87" fmla="*/ 2147483647 h 1121"/>
                <a:gd name="T88" fmla="*/ 2147483647 w 505"/>
                <a:gd name="T89" fmla="*/ 2147483647 h 1121"/>
                <a:gd name="T90" fmla="*/ 2147483647 w 505"/>
                <a:gd name="T91" fmla="*/ 2147483647 h 1121"/>
                <a:gd name="T92" fmla="*/ 2147483647 w 505"/>
                <a:gd name="T93" fmla="*/ 2147483647 h 1121"/>
                <a:gd name="T94" fmla="*/ 2147483647 w 505"/>
                <a:gd name="T95" fmla="*/ 2147483647 h 1121"/>
                <a:gd name="T96" fmla="*/ 2147483647 w 505"/>
                <a:gd name="T97" fmla="*/ 2147483647 h 1121"/>
                <a:gd name="T98" fmla="*/ 2147483647 w 505"/>
                <a:gd name="T99" fmla="*/ 2147483647 h 1121"/>
                <a:gd name="T100" fmla="*/ 2147483647 w 505"/>
                <a:gd name="T101" fmla="*/ 2147483647 h 1121"/>
                <a:gd name="T102" fmla="*/ 2147483647 w 505"/>
                <a:gd name="T103" fmla="*/ 2147483647 h 1121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505" h="1121">
                  <a:moveTo>
                    <a:pt x="446" y="1121"/>
                  </a:moveTo>
                  <a:lnTo>
                    <a:pt x="445" y="1106"/>
                  </a:lnTo>
                  <a:lnTo>
                    <a:pt x="443" y="1091"/>
                  </a:lnTo>
                  <a:lnTo>
                    <a:pt x="440" y="1079"/>
                  </a:lnTo>
                  <a:lnTo>
                    <a:pt x="438" y="1067"/>
                  </a:lnTo>
                  <a:lnTo>
                    <a:pt x="437" y="1056"/>
                  </a:lnTo>
                  <a:lnTo>
                    <a:pt x="437" y="1045"/>
                  </a:lnTo>
                  <a:lnTo>
                    <a:pt x="438" y="1040"/>
                  </a:lnTo>
                  <a:lnTo>
                    <a:pt x="439" y="1034"/>
                  </a:lnTo>
                  <a:lnTo>
                    <a:pt x="443" y="1028"/>
                  </a:lnTo>
                  <a:lnTo>
                    <a:pt x="446" y="1022"/>
                  </a:lnTo>
                  <a:lnTo>
                    <a:pt x="430" y="1022"/>
                  </a:lnTo>
                  <a:lnTo>
                    <a:pt x="420" y="1022"/>
                  </a:lnTo>
                  <a:lnTo>
                    <a:pt x="411" y="1022"/>
                  </a:lnTo>
                  <a:lnTo>
                    <a:pt x="399" y="1022"/>
                  </a:lnTo>
                  <a:lnTo>
                    <a:pt x="399" y="1001"/>
                  </a:lnTo>
                  <a:lnTo>
                    <a:pt x="399" y="988"/>
                  </a:lnTo>
                  <a:lnTo>
                    <a:pt x="399" y="975"/>
                  </a:lnTo>
                  <a:lnTo>
                    <a:pt x="399" y="961"/>
                  </a:lnTo>
                  <a:lnTo>
                    <a:pt x="405" y="957"/>
                  </a:lnTo>
                  <a:lnTo>
                    <a:pt x="411" y="953"/>
                  </a:lnTo>
                  <a:lnTo>
                    <a:pt x="414" y="949"/>
                  </a:lnTo>
                  <a:lnTo>
                    <a:pt x="416" y="946"/>
                  </a:lnTo>
                  <a:lnTo>
                    <a:pt x="419" y="939"/>
                  </a:lnTo>
                  <a:lnTo>
                    <a:pt x="419" y="931"/>
                  </a:lnTo>
                  <a:lnTo>
                    <a:pt x="419" y="922"/>
                  </a:lnTo>
                  <a:lnTo>
                    <a:pt x="419" y="915"/>
                  </a:lnTo>
                  <a:lnTo>
                    <a:pt x="419" y="908"/>
                  </a:lnTo>
                  <a:lnTo>
                    <a:pt x="419" y="899"/>
                  </a:lnTo>
                  <a:lnTo>
                    <a:pt x="413" y="899"/>
                  </a:lnTo>
                  <a:lnTo>
                    <a:pt x="409" y="899"/>
                  </a:lnTo>
                  <a:lnTo>
                    <a:pt x="404" y="898"/>
                  </a:lnTo>
                  <a:lnTo>
                    <a:pt x="402" y="896"/>
                  </a:lnTo>
                  <a:lnTo>
                    <a:pt x="400" y="895"/>
                  </a:lnTo>
                  <a:lnTo>
                    <a:pt x="398" y="893"/>
                  </a:lnTo>
                  <a:lnTo>
                    <a:pt x="397" y="891"/>
                  </a:lnTo>
                  <a:lnTo>
                    <a:pt x="395" y="889"/>
                  </a:lnTo>
                  <a:lnTo>
                    <a:pt x="394" y="879"/>
                  </a:lnTo>
                  <a:lnTo>
                    <a:pt x="392" y="868"/>
                  </a:lnTo>
                  <a:lnTo>
                    <a:pt x="382" y="838"/>
                  </a:lnTo>
                  <a:lnTo>
                    <a:pt x="371" y="811"/>
                  </a:lnTo>
                  <a:lnTo>
                    <a:pt x="360" y="786"/>
                  </a:lnTo>
                  <a:lnTo>
                    <a:pt x="348" y="764"/>
                  </a:lnTo>
                  <a:lnTo>
                    <a:pt x="336" y="741"/>
                  </a:lnTo>
                  <a:lnTo>
                    <a:pt x="324" y="719"/>
                  </a:lnTo>
                  <a:lnTo>
                    <a:pt x="312" y="695"/>
                  </a:lnTo>
                  <a:lnTo>
                    <a:pt x="300" y="672"/>
                  </a:lnTo>
                  <a:lnTo>
                    <a:pt x="299" y="684"/>
                  </a:lnTo>
                  <a:lnTo>
                    <a:pt x="298" y="694"/>
                  </a:lnTo>
                  <a:lnTo>
                    <a:pt x="296" y="703"/>
                  </a:lnTo>
                  <a:lnTo>
                    <a:pt x="292" y="710"/>
                  </a:lnTo>
                  <a:lnTo>
                    <a:pt x="291" y="713"/>
                  </a:lnTo>
                  <a:lnTo>
                    <a:pt x="288" y="715"/>
                  </a:lnTo>
                  <a:lnTo>
                    <a:pt x="286" y="717"/>
                  </a:lnTo>
                  <a:lnTo>
                    <a:pt x="282" y="718"/>
                  </a:lnTo>
                  <a:lnTo>
                    <a:pt x="276" y="720"/>
                  </a:lnTo>
                  <a:lnTo>
                    <a:pt x="266" y="721"/>
                  </a:lnTo>
                  <a:lnTo>
                    <a:pt x="246" y="751"/>
                  </a:lnTo>
                  <a:lnTo>
                    <a:pt x="238" y="748"/>
                  </a:lnTo>
                  <a:lnTo>
                    <a:pt x="226" y="742"/>
                  </a:lnTo>
                  <a:lnTo>
                    <a:pt x="214" y="736"/>
                  </a:lnTo>
                  <a:lnTo>
                    <a:pt x="207" y="733"/>
                  </a:lnTo>
                  <a:lnTo>
                    <a:pt x="190" y="734"/>
                  </a:lnTo>
                  <a:lnTo>
                    <a:pt x="176" y="735"/>
                  </a:lnTo>
                  <a:lnTo>
                    <a:pt x="169" y="736"/>
                  </a:lnTo>
                  <a:lnTo>
                    <a:pt x="165" y="736"/>
                  </a:lnTo>
                  <a:lnTo>
                    <a:pt x="162" y="735"/>
                  </a:lnTo>
                  <a:lnTo>
                    <a:pt x="159" y="733"/>
                  </a:lnTo>
                  <a:lnTo>
                    <a:pt x="167" y="646"/>
                  </a:lnTo>
                  <a:lnTo>
                    <a:pt x="133" y="567"/>
                  </a:lnTo>
                  <a:lnTo>
                    <a:pt x="122" y="551"/>
                  </a:lnTo>
                  <a:lnTo>
                    <a:pt x="112" y="539"/>
                  </a:lnTo>
                  <a:lnTo>
                    <a:pt x="107" y="533"/>
                  </a:lnTo>
                  <a:lnTo>
                    <a:pt x="103" y="527"/>
                  </a:lnTo>
                  <a:lnTo>
                    <a:pt x="101" y="520"/>
                  </a:lnTo>
                  <a:lnTo>
                    <a:pt x="100" y="511"/>
                  </a:lnTo>
                  <a:lnTo>
                    <a:pt x="85" y="508"/>
                  </a:lnTo>
                  <a:lnTo>
                    <a:pt x="74" y="505"/>
                  </a:lnTo>
                  <a:lnTo>
                    <a:pt x="62" y="504"/>
                  </a:lnTo>
                  <a:lnTo>
                    <a:pt x="51" y="502"/>
                  </a:lnTo>
                  <a:lnTo>
                    <a:pt x="41" y="498"/>
                  </a:lnTo>
                  <a:lnTo>
                    <a:pt x="32" y="493"/>
                  </a:lnTo>
                  <a:lnTo>
                    <a:pt x="23" y="487"/>
                  </a:lnTo>
                  <a:lnTo>
                    <a:pt x="16" y="479"/>
                  </a:lnTo>
                  <a:lnTo>
                    <a:pt x="8" y="471"/>
                  </a:lnTo>
                  <a:lnTo>
                    <a:pt x="0" y="462"/>
                  </a:lnTo>
                  <a:lnTo>
                    <a:pt x="8" y="458"/>
                  </a:lnTo>
                  <a:lnTo>
                    <a:pt x="13" y="454"/>
                  </a:lnTo>
                  <a:lnTo>
                    <a:pt x="19" y="450"/>
                  </a:lnTo>
                  <a:lnTo>
                    <a:pt x="23" y="445"/>
                  </a:lnTo>
                  <a:lnTo>
                    <a:pt x="31" y="435"/>
                  </a:lnTo>
                  <a:lnTo>
                    <a:pt x="38" y="422"/>
                  </a:lnTo>
                  <a:lnTo>
                    <a:pt x="45" y="397"/>
                  </a:lnTo>
                  <a:lnTo>
                    <a:pt x="54" y="369"/>
                  </a:lnTo>
                  <a:lnTo>
                    <a:pt x="58" y="361"/>
                  </a:lnTo>
                  <a:lnTo>
                    <a:pt x="62" y="351"/>
                  </a:lnTo>
                  <a:lnTo>
                    <a:pt x="64" y="340"/>
                  </a:lnTo>
                  <a:lnTo>
                    <a:pt x="65" y="328"/>
                  </a:lnTo>
                  <a:lnTo>
                    <a:pt x="67" y="302"/>
                  </a:lnTo>
                  <a:lnTo>
                    <a:pt x="67" y="277"/>
                  </a:lnTo>
                  <a:lnTo>
                    <a:pt x="67" y="274"/>
                  </a:lnTo>
                  <a:lnTo>
                    <a:pt x="68" y="272"/>
                  </a:lnTo>
                  <a:lnTo>
                    <a:pt x="70" y="269"/>
                  </a:lnTo>
                  <a:lnTo>
                    <a:pt x="73" y="268"/>
                  </a:lnTo>
                  <a:lnTo>
                    <a:pt x="80" y="265"/>
                  </a:lnTo>
                  <a:lnTo>
                    <a:pt x="88" y="264"/>
                  </a:lnTo>
                  <a:lnTo>
                    <a:pt x="96" y="263"/>
                  </a:lnTo>
                  <a:lnTo>
                    <a:pt x="103" y="262"/>
                  </a:lnTo>
                  <a:lnTo>
                    <a:pt x="110" y="261"/>
                  </a:lnTo>
                  <a:lnTo>
                    <a:pt x="113" y="258"/>
                  </a:lnTo>
                  <a:lnTo>
                    <a:pt x="119" y="253"/>
                  </a:lnTo>
                  <a:lnTo>
                    <a:pt x="124" y="247"/>
                  </a:lnTo>
                  <a:lnTo>
                    <a:pt x="129" y="239"/>
                  </a:lnTo>
                  <a:lnTo>
                    <a:pt x="132" y="231"/>
                  </a:lnTo>
                  <a:lnTo>
                    <a:pt x="134" y="222"/>
                  </a:lnTo>
                  <a:lnTo>
                    <a:pt x="136" y="213"/>
                  </a:lnTo>
                  <a:lnTo>
                    <a:pt x="137" y="202"/>
                  </a:lnTo>
                  <a:lnTo>
                    <a:pt x="140" y="192"/>
                  </a:lnTo>
                  <a:lnTo>
                    <a:pt x="141" y="152"/>
                  </a:lnTo>
                  <a:lnTo>
                    <a:pt x="140" y="117"/>
                  </a:lnTo>
                  <a:lnTo>
                    <a:pt x="141" y="114"/>
                  </a:lnTo>
                  <a:lnTo>
                    <a:pt x="143" y="110"/>
                  </a:lnTo>
                  <a:lnTo>
                    <a:pt x="145" y="107"/>
                  </a:lnTo>
                  <a:lnTo>
                    <a:pt x="150" y="104"/>
                  </a:lnTo>
                  <a:lnTo>
                    <a:pt x="159" y="98"/>
                  </a:lnTo>
                  <a:lnTo>
                    <a:pt x="170" y="91"/>
                  </a:lnTo>
                  <a:lnTo>
                    <a:pt x="193" y="83"/>
                  </a:lnTo>
                  <a:lnTo>
                    <a:pt x="207" y="80"/>
                  </a:lnTo>
                  <a:lnTo>
                    <a:pt x="210" y="77"/>
                  </a:lnTo>
                  <a:lnTo>
                    <a:pt x="213" y="74"/>
                  </a:lnTo>
                  <a:lnTo>
                    <a:pt x="217" y="70"/>
                  </a:lnTo>
                  <a:lnTo>
                    <a:pt x="219" y="66"/>
                  </a:lnTo>
                  <a:lnTo>
                    <a:pt x="224" y="56"/>
                  </a:lnTo>
                  <a:lnTo>
                    <a:pt x="227" y="45"/>
                  </a:lnTo>
                  <a:lnTo>
                    <a:pt x="234" y="21"/>
                  </a:lnTo>
                  <a:lnTo>
                    <a:pt x="240" y="0"/>
                  </a:lnTo>
                  <a:lnTo>
                    <a:pt x="251" y="7"/>
                  </a:lnTo>
                  <a:lnTo>
                    <a:pt x="260" y="15"/>
                  </a:lnTo>
                  <a:lnTo>
                    <a:pt x="269" y="23"/>
                  </a:lnTo>
                  <a:lnTo>
                    <a:pt x="277" y="31"/>
                  </a:lnTo>
                  <a:lnTo>
                    <a:pt x="286" y="39"/>
                  </a:lnTo>
                  <a:lnTo>
                    <a:pt x="294" y="44"/>
                  </a:lnTo>
                  <a:lnTo>
                    <a:pt x="300" y="47"/>
                  </a:lnTo>
                  <a:lnTo>
                    <a:pt x="305" y="48"/>
                  </a:lnTo>
                  <a:lnTo>
                    <a:pt x="312" y="49"/>
                  </a:lnTo>
                  <a:lnTo>
                    <a:pt x="320" y="49"/>
                  </a:lnTo>
                  <a:lnTo>
                    <a:pt x="325" y="75"/>
                  </a:lnTo>
                  <a:lnTo>
                    <a:pt x="332" y="99"/>
                  </a:lnTo>
                  <a:lnTo>
                    <a:pt x="335" y="110"/>
                  </a:lnTo>
                  <a:lnTo>
                    <a:pt x="337" y="122"/>
                  </a:lnTo>
                  <a:lnTo>
                    <a:pt x="338" y="134"/>
                  </a:lnTo>
                  <a:lnTo>
                    <a:pt x="339" y="147"/>
                  </a:lnTo>
                  <a:lnTo>
                    <a:pt x="338" y="155"/>
                  </a:lnTo>
                  <a:lnTo>
                    <a:pt x="337" y="161"/>
                  </a:lnTo>
                  <a:lnTo>
                    <a:pt x="335" y="167"/>
                  </a:lnTo>
                  <a:lnTo>
                    <a:pt x="332" y="173"/>
                  </a:lnTo>
                  <a:lnTo>
                    <a:pt x="324" y="183"/>
                  </a:lnTo>
                  <a:lnTo>
                    <a:pt x="316" y="194"/>
                  </a:lnTo>
                  <a:lnTo>
                    <a:pt x="308" y="204"/>
                  </a:lnTo>
                  <a:lnTo>
                    <a:pt x="300" y="216"/>
                  </a:lnTo>
                  <a:lnTo>
                    <a:pt x="297" y="221"/>
                  </a:lnTo>
                  <a:lnTo>
                    <a:pt x="294" y="227"/>
                  </a:lnTo>
                  <a:lnTo>
                    <a:pt x="293" y="233"/>
                  </a:lnTo>
                  <a:lnTo>
                    <a:pt x="292" y="240"/>
                  </a:lnTo>
                  <a:lnTo>
                    <a:pt x="293" y="245"/>
                  </a:lnTo>
                  <a:lnTo>
                    <a:pt x="294" y="250"/>
                  </a:lnTo>
                  <a:lnTo>
                    <a:pt x="297" y="253"/>
                  </a:lnTo>
                  <a:lnTo>
                    <a:pt x="300" y="256"/>
                  </a:lnTo>
                  <a:lnTo>
                    <a:pt x="304" y="258"/>
                  </a:lnTo>
                  <a:lnTo>
                    <a:pt x="309" y="261"/>
                  </a:lnTo>
                  <a:lnTo>
                    <a:pt x="313" y="262"/>
                  </a:lnTo>
                  <a:lnTo>
                    <a:pt x="319" y="264"/>
                  </a:lnTo>
                  <a:lnTo>
                    <a:pt x="330" y="266"/>
                  </a:lnTo>
                  <a:lnTo>
                    <a:pt x="341" y="268"/>
                  </a:lnTo>
                  <a:lnTo>
                    <a:pt x="346" y="270"/>
                  </a:lnTo>
                  <a:lnTo>
                    <a:pt x="350" y="272"/>
                  </a:lnTo>
                  <a:lnTo>
                    <a:pt x="355" y="274"/>
                  </a:lnTo>
                  <a:lnTo>
                    <a:pt x="359" y="277"/>
                  </a:lnTo>
                  <a:lnTo>
                    <a:pt x="366" y="284"/>
                  </a:lnTo>
                  <a:lnTo>
                    <a:pt x="371" y="291"/>
                  </a:lnTo>
                  <a:lnTo>
                    <a:pt x="375" y="298"/>
                  </a:lnTo>
                  <a:lnTo>
                    <a:pt x="378" y="304"/>
                  </a:lnTo>
                  <a:lnTo>
                    <a:pt x="384" y="319"/>
                  </a:lnTo>
                  <a:lnTo>
                    <a:pt x="392" y="333"/>
                  </a:lnTo>
                  <a:lnTo>
                    <a:pt x="398" y="345"/>
                  </a:lnTo>
                  <a:lnTo>
                    <a:pt x="404" y="359"/>
                  </a:lnTo>
                  <a:lnTo>
                    <a:pt x="411" y="374"/>
                  </a:lnTo>
                  <a:lnTo>
                    <a:pt x="420" y="387"/>
                  </a:lnTo>
                  <a:lnTo>
                    <a:pt x="425" y="394"/>
                  </a:lnTo>
                  <a:lnTo>
                    <a:pt x="430" y="400"/>
                  </a:lnTo>
                  <a:lnTo>
                    <a:pt x="436" y="405"/>
                  </a:lnTo>
                  <a:lnTo>
                    <a:pt x="442" y="409"/>
                  </a:lnTo>
                  <a:lnTo>
                    <a:pt x="448" y="413"/>
                  </a:lnTo>
                  <a:lnTo>
                    <a:pt x="456" y="416"/>
                  </a:lnTo>
                  <a:lnTo>
                    <a:pt x="464" y="418"/>
                  </a:lnTo>
                  <a:lnTo>
                    <a:pt x="472" y="418"/>
                  </a:lnTo>
                  <a:lnTo>
                    <a:pt x="477" y="418"/>
                  </a:lnTo>
                  <a:lnTo>
                    <a:pt x="487" y="418"/>
                  </a:lnTo>
                  <a:lnTo>
                    <a:pt x="498" y="418"/>
                  </a:lnTo>
                  <a:lnTo>
                    <a:pt x="505" y="418"/>
                  </a:lnTo>
                  <a:lnTo>
                    <a:pt x="499" y="439"/>
                  </a:lnTo>
                  <a:lnTo>
                    <a:pt x="489" y="460"/>
                  </a:lnTo>
                  <a:lnTo>
                    <a:pt x="483" y="470"/>
                  </a:lnTo>
                  <a:lnTo>
                    <a:pt x="479" y="482"/>
                  </a:lnTo>
                  <a:lnTo>
                    <a:pt x="476" y="494"/>
                  </a:lnTo>
                  <a:lnTo>
                    <a:pt x="472" y="505"/>
                  </a:lnTo>
                  <a:lnTo>
                    <a:pt x="479" y="499"/>
                  </a:lnTo>
                  <a:lnTo>
                    <a:pt x="458" y="503"/>
                  </a:lnTo>
                  <a:lnTo>
                    <a:pt x="437" y="507"/>
                  </a:lnTo>
                  <a:lnTo>
                    <a:pt x="427" y="510"/>
                  </a:lnTo>
                  <a:lnTo>
                    <a:pt x="417" y="512"/>
                  </a:lnTo>
                  <a:lnTo>
                    <a:pt x="408" y="515"/>
                  </a:lnTo>
                  <a:lnTo>
                    <a:pt x="399" y="519"/>
                  </a:lnTo>
                  <a:lnTo>
                    <a:pt x="391" y="523"/>
                  </a:lnTo>
                  <a:lnTo>
                    <a:pt x="383" y="528"/>
                  </a:lnTo>
                  <a:lnTo>
                    <a:pt x="376" y="534"/>
                  </a:lnTo>
                  <a:lnTo>
                    <a:pt x="370" y="543"/>
                  </a:lnTo>
                  <a:lnTo>
                    <a:pt x="366" y="551"/>
                  </a:lnTo>
                  <a:lnTo>
                    <a:pt x="363" y="561"/>
                  </a:lnTo>
                  <a:lnTo>
                    <a:pt x="360" y="572"/>
                  </a:lnTo>
                  <a:lnTo>
                    <a:pt x="359" y="585"/>
                  </a:lnTo>
                  <a:lnTo>
                    <a:pt x="360" y="601"/>
                  </a:lnTo>
                  <a:lnTo>
                    <a:pt x="363" y="614"/>
                  </a:lnTo>
                  <a:lnTo>
                    <a:pt x="366" y="626"/>
                  </a:lnTo>
                  <a:lnTo>
                    <a:pt x="370" y="637"/>
                  </a:lnTo>
                  <a:lnTo>
                    <a:pt x="376" y="647"/>
                  </a:lnTo>
                  <a:lnTo>
                    <a:pt x="382" y="657"/>
                  </a:lnTo>
                  <a:lnTo>
                    <a:pt x="389" y="666"/>
                  </a:lnTo>
                  <a:lnTo>
                    <a:pt x="395" y="675"/>
                  </a:lnTo>
                  <a:lnTo>
                    <a:pt x="402" y="683"/>
                  </a:lnTo>
                  <a:lnTo>
                    <a:pt x="409" y="692"/>
                  </a:lnTo>
                  <a:lnTo>
                    <a:pt x="415" y="701"/>
                  </a:lnTo>
                  <a:lnTo>
                    <a:pt x="421" y="712"/>
                  </a:lnTo>
                  <a:lnTo>
                    <a:pt x="425" y="723"/>
                  </a:lnTo>
                  <a:lnTo>
                    <a:pt x="430" y="735"/>
                  </a:lnTo>
                  <a:lnTo>
                    <a:pt x="432" y="748"/>
                  </a:lnTo>
                  <a:lnTo>
                    <a:pt x="433" y="764"/>
                  </a:lnTo>
                  <a:lnTo>
                    <a:pt x="432" y="769"/>
                  </a:lnTo>
                  <a:lnTo>
                    <a:pt x="431" y="773"/>
                  </a:lnTo>
                  <a:lnTo>
                    <a:pt x="428" y="776"/>
                  </a:lnTo>
                  <a:lnTo>
                    <a:pt x="425" y="780"/>
                  </a:lnTo>
                  <a:lnTo>
                    <a:pt x="423" y="784"/>
                  </a:lnTo>
                  <a:lnTo>
                    <a:pt x="421" y="789"/>
                  </a:lnTo>
                  <a:lnTo>
                    <a:pt x="420" y="794"/>
                  </a:lnTo>
                  <a:lnTo>
                    <a:pt x="419" y="801"/>
                  </a:lnTo>
                  <a:lnTo>
                    <a:pt x="420" y="809"/>
                  </a:lnTo>
                  <a:lnTo>
                    <a:pt x="421" y="818"/>
                  </a:lnTo>
                  <a:lnTo>
                    <a:pt x="423" y="826"/>
                  </a:lnTo>
                  <a:lnTo>
                    <a:pt x="426" y="834"/>
                  </a:lnTo>
                  <a:lnTo>
                    <a:pt x="435" y="851"/>
                  </a:lnTo>
                  <a:lnTo>
                    <a:pt x="445" y="868"/>
                  </a:lnTo>
                  <a:lnTo>
                    <a:pt x="467" y="903"/>
                  </a:lnTo>
                  <a:lnTo>
                    <a:pt x="486" y="937"/>
                  </a:lnTo>
                  <a:lnTo>
                    <a:pt x="486" y="951"/>
                  </a:lnTo>
                  <a:lnTo>
                    <a:pt x="483" y="965"/>
                  </a:lnTo>
                  <a:lnTo>
                    <a:pt x="482" y="980"/>
                  </a:lnTo>
                  <a:lnTo>
                    <a:pt x="479" y="997"/>
                  </a:lnTo>
                  <a:lnTo>
                    <a:pt x="472" y="1027"/>
                  </a:lnTo>
                  <a:lnTo>
                    <a:pt x="466" y="1057"/>
                  </a:lnTo>
                  <a:lnTo>
                    <a:pt x="458" y="1082"/>
                  </a:lnTo>
                  <a:lnTo>
                    <a:pt x="451" y="1103"/>
                  </a:lnTo>
                  <a:lnTo>
                    <a:pt x="447" y="1116"/>
                  </a:lnTo>
                  <a:lnTo>
                    <a:pt x="446" y="1121"/>
                  </a:lnTo>
                </a:path>
              </a:pathLst>
            </a:custGeom>
            <a:solidFill>
              <a:srgbClr val="19194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06" name="Freeform 263"/>
            <p:cNvSpPr>
              <a:spLocks/>
            </p:cNvSpPr>
            <p:nvPr>
              <p:custDataLst>
                <p:tags r:id="rId191"/>
              </p:custDataLst>
            </p:nvPr>
          </p:nvSpPr>
          <p:spPr bwMode="auto">
            <a:xfrm>
              <a:off x="5710869" y="3937439"/>
              <a:ext cx="80963" cy="58738"/>
            </a:xfrm>
            <a:custGeom>
              <a:avLst/>
              <a:gdLst>
                <a:gd name="T0" fmla="*/ 2147483647 w 180"/>
                <a:gd name="T1" fmla="*/ 2147483647 h 112"/>
                <a:gd name="T2" fmla="*/ 2147483647 w 180"/>
                <a:gd name="T3" fmla="*/ 2147483647 h 112"/>
                <a:gd name="T4" fmla="*/ 2147483647 w 180"/>
                <a:gd name="T5" fmla="*/ 2147483647 h 112"/>
                <a:gd name="T6" fmla="*/ 2147483647 w 180"/>
                <a:gd name="T7" fmla="*/ 2147483647 h 112"/>
                <a:gd name="T8" fmla="*/ 2147483647 w 180"/>
                <a:gd name="T9" fmla="*/ 2147483647 h 112"/>
                <a:gd name="T10" fmla="*/ 2147483647 w 180"/>
                <a:gd name="T11" fmla="*/ 2147483647 h 112"/>
                <a:gd name="T12" fmla="*/ 2147483647 w 180"/>
                <a:gd name="T13" fmla="*/ 2147483647 h 112"/>
                <a:gd name="T14" fmla="*/ 2147483647 w 180"/>
                <a:gd name="T15" fmla="*/ 2147483647 h 112"/>
                <a:gd name="T16" fmla="*/ 2147483647 w 180"/>
                <a:gd name="T17" fmla="*/ 2147483647 h 112"/>
                <a:gd name="T18" fmla="*/ 2147483647 w 180"/>
                <a:gd name="T19" fmla="*/ 2147483647 h 112"/>
                <a:gd name="T20" fmla="*/ 2147483647 w 180"/>
                <a:gd name="T21" fmla="*/ 2147483647 h 112"/>
                <a:gd name="T22" fmla="*/ 2147483647 w 180"/>
                <a:gd name="T23" fmla="*/ 2147483647 h 112"/>
                <a:gd name="T24" fmla="*/ 2147483647 w 180"/>
                <a:gd name="T25" fmla="*/ 2147483647 h 112"/>
                <a:gd name="T26" fmla="*/ 2147483647 w 180"/>
                <a:gd name="T27" fmla="*/ 2147483647 h 112"/>
                <a:gd name="T28" fmla="*/ 2147483647 w 180"/>
                <a:gd name="T29" fmla="*/ 2147483647 h 112"/>
                <a:gd name="T30" fmla="*/ 2147483647 w 180"/>
                <a:gd name="T31" fmla="*/ 2147483647 h 112"/>
                <a:gd name="T32" fmla="*/ 2147483647 w 180"/>
                <a:gd name="T33" fmla="*/ 2147483647 h 112"/>
                <a:gd name="T34" fmla="*/ 2147483647 w 180"/>
                <a:gd name="T35" fmla="*/ 2147483647 h 112"/>
                <a:gd name="T36" fmla="*/ 2147483647 w 180"/>
                <a:gd name="T37" fmla="*/ 2147483647 h 112"/>
                <a:gd name="T38" fmla="*/ 2147483647 w 180"/>
                <a:gd name="T39" fmla="*/ 2147483647 h 112"/>
                <a:gd name="T40" fmla="*/ 2147483647 w 180"/>
                <a:gd name="T41" fmla="*/ 2147483647 h 112"/>
                <a:gd name="T42" fmla="*/ 2147483647 w 180"/>
                <a:gd name="T43" fmla="*/ 2147483647 h 112"/>
                <a:gd name="T44" fmla="*/ 0 w 180"/>
                <a:gd name="T45" fmla="*/ 2147483647 h 112"/>
                <a:gd name="T46" fmla="*/ 2147483647 w 180"/>
                <a:gd name="T47" fmla="*/ 2147483647 h 112"/>
                <a:gd name="T48" fmla="*/ 2147483647 w 180"/>
                <a:gd name="T49" fmla="*/ 2147483647 h 112"/>
                <a:gd name="T50" fmla="*/ 2147483647 w 180"/>
                <a:gd name="T51" fmla="*/ 2147483647 h 112"/>
                <a:gd name="T52" fmla="*/ 2147483647 w 180"/>
                <a:gd name="T53" fmla="*/ 2147483647 h 112"/>
                <a:gd name="T54" fmla="*/ 2147483647 w 180"/>
                <a:gd name="T55" fmla="*/ 2147483647 h 112"/>
                <a:gd name="T56" fmla="*/ 2147483647 w 180"/>
                <a:gd name="T57" fmla="*/ 0 h 112"/>
                <a:gd name="T58" fmla="*/ 2147483647 w 180"/>
                <a:gd name="T59" fmla="*/ 2147483647 h 112"/>
                <a:gd name="T60" fmla="*/ 2147483647 w 180"/>
                <a:gd name="T61" fmla="*/ 2147483647 h 112"/>
                <a:gd name="T62" fmla="*/ 2147483647 w 180"/>
                <a:gd name="T63" fmla="*/ 2147483647 h 11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180" h="112">
                  <a:moveTo>
                    <a:pt x="180" y="7"/>
                  </a:moveTo>
                  <a:lnTo>
                    <a:pt x="171" y="24"/>
                  </a:lnTo>
                  <a:lnTo>
                    <a:pt x="163" y="39"/>
                  </a:lnTo>
                  <a:lnTo>
                    <a:pt x="152" y="53"/>
                  </a:lnTo>
                  <a:lnTo>
                    <a:pt x="141" y="66"/>
                  </a:lnTo>
                  <a:lnTo>
                    <a:pt x="129" y="80"/>
                  </a:lnTo>
                  <a:lnTo>
                    <a:pt x="115" y="92"/>
                  </a:lnTo>
                  <a:lnTo>
                    <a:pt x="101" y="102"/>
                  </a:lnTo>
                  <a:lnTo>
                    <a:pt x="87" y="112"/>
                  </a:lnTo>
                  <a:lnTo>
                    <a:pt x="82" y="107"/>
                  </a:lnTo>
                  <a:lnTo>
                    <a:pt x="79" y="101"/>
                  </a:lnTo>
                  <a:lnTo>
                    <a:pt x="76" y="95"/>
                  </a:lnTo>
                  <a:lnTo>
                    <a:pt x="74" y="88"/>
                  </a:lnTo>
                  <a:lnTo>
                    <a:pt x="70" y="81"/>
                  </a:lnTo>
                  <a:lnTo>
                    <a:pt x="68" y="74"/>
                  </a:lnTo>
                  <a:lnTo>
                    <a:pt x="65" y="69"/>
                  </a:lnTo>
                  <a:lnTo>
                    <a:pt x="60" y="63"/>
                  </a:lnTo>
                  <a:lnTo>
                    <a:pt x="45" y="48"/>
                  </a:lnTo>
                  <a:lnTo>
                    <a:pt x="36" y="38"/>
                  </a:lnTo>
                  <a:lnTo>
                    <a:pt x="30" y="33"/>
                  </a:lnTo>
                  <a:lnTo>
                    <a:pt x="25" y="31"/>
                  </a:lnTo>
                  <a:lnTo>
                    <a:pt x="18" y="30"/>
                  </a:lnTo>
                  <a:lnTo>
                    <a:pt x="0" y="26"/>
                  </a:lnTo>
                  <a:lnTo>
                    <a:pt x="26" y="14"/>
                  </a:lnTo>
                  <a:lnTo>
                    <a:pt x="41" y="9"/>
                  </a:lnTo>
                  <a:lnTo>
                    <a:pt x="56" y="5"/>
                  </a:lnTo>
                  <a:lnTo>
                    <a:pt x="74" y="3"/>
                  </a:lnTo>
                  <a:lnTo>
                    <a:pt x="93" y="1"/>
                  </a:lnTo>
                  <a:lnTo>
                    <a:pt x="114" y="0"/>
                  </a:lnTo>
                  <a:lnTo>
                    <a:pt x="135" y="1"/>
                  </a:lnTo>
                  <a:lnTo>
                    <a:pt x="157" y="3"/>
                  </a:lnTo>
                  <a:lnTo>
                    <a:pt x="180" y="7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07" name="Freeform 264"/>
            <p:cNvSpPr>
              <a:spLocks/>
            </p:cNvSpPr>
            <p:nvPr>
              <p:custDataLst>
                <p:tags r:id="rId192"/>
              </p:custDataLst>
            </p:nvPr>
          </p:nvSpPr>
          <p:spPr bwMode="auto">
            <a:xfrm>
              <a:off x="5795007" y="4019989"/>
              <a:ext cx="74612" cy="100013"/>
            </a:xfrm>
            <a:custGeom>
              <a:avLst/>
              <a:gdLst>
                <a:gd name="T0" fmla="*/ 0 w 173"/>
                <a:gd name="T1" fmla="*/ 2147483647 h 192"/>
                <a:gd name="T2" fmla="*/ 2147483647 w 173"/>
                <a:gd name="T3" fmla="*/ 2147483647 h 192"/>
                <a:gd name="T4" fmla="*/ 2147483647 w 173"/>
                <a:gd name="T5" fmla="*/ 2147483647 h 192"/>
                <a:gd name="T6" fmla="*/ 2147483647 w 173"/>
                <a:gd name="T7" fmla="*/ 2147483647 h 192"/>
                <a:gd name="T8" fmla="*/ 2147483647 w 173"/>
                <a:gd name="T9" fmla="*/ 2147483647 h 192"/>
                <a:gd name="T10" fmla="*/ 2147483647 w 173"/>
                <a:gd name="T11" fmla="*/ 2147483647 h 192"/>
                <a:gd name="T12" fmla="*/ 2147483647 w 173"/>
                <a:gd name="T13" fmla="*/ 2147483647 h 192"/>
                <a:gd name="T14" fmla="*/ 2147483647 w 173"/>
                <a:gd name="T15" fmla="*/ 2147483647 h 192"/>
                <a:gd name="T16" fmla="*/ 2147483647 w 173"/>
                <a:gd name="T17" fmla="*/ 2147483647 h 192"/>
                <a:gd name="T18" fmla="*/ 2147483647 w 173"/>
                <a:gd name="T19" fmla="*/ 2147483647 h 192"/>
                <a:gd name="T20" fmla="*/ 2147483647 w 173"/>
                <a:gd name="T21" fmla="*/ 0 h 192"/>
                <a:gd name="T22" fmla="*/ 2147483647 w 173"/>
                <a:gd name="T23" fmla="*/ 2147483647 h 192"/>
                <a:gd name="T24" fmla="*/ 2147483647 w 173"/>
                <a:gd name="T25" fmla="*/ 2147483647 h 192"/>
                <a:gd name="T26" fmla="*/ 2147483647 w 173"/>
                <a:gd name="T27" fmla="*/ 2147483647 h 192"/>
                <a:gd name="T28" fmla="*/ 2147483647 w 173"/>
                <a:gd name="T29" fmla="*/ 2147483647 h 192"/>
                <a:gd name="T30" fmla="*/ 2147483647 w 173"/>
                <a:gd name="T31" fmla="*/ 2147483647 h 192"/>
                <a:gd name="T32" fmla="*/ 2147483647 w 173"/>
                <a:gd name="T33" fmla="*/ 2147483647 h 192"/>
                <a:gd name="T34" fmla="*/ 2147483647 w 173"/>
                <a:gd name="T35" fmla="*/ 2147483647 h 192"/>
                <a:gd name="T36" fmla="*/ 2147483647 w 173"/>
                <a:gd name="T37" fmla="*/ 2147483647 h 192"/>
                <a:gd name="T38" fmla="*/ 2147483647 w 173"/>
                <a:gd name="T39" fmla="*/ 2147483647 h 192"/>
                <a:gd name="T40" fmla="*/ 2147483647 w 173"/>
                <a:gd name="T41" fmla="*/ 2147483647 h 192"/>
                <a:gd name="T42" fmla="*/ 2147483647 w 173"/>
                <a:gd name="T43" fmla="*/ 2147483647 h 192"/>
                <a:gd name="T44" fmla="*/ 2147483647 w 173"/>
                <a:gd name="T45" fmla="*/ 2147483647 h 192"/>
                <a:gd name="T46" fmla="*/ 2147483647 w 173"/>
                <a:gd name="T47" fmla="*/ 2147483647 h 192"/>
                <a:gd name="T48" fmla="*/ 2147483647 w 173"/>
                <a:gd name="T49" fmla="*/ 2147483647 h 192"/>
                <a:gd name="T50" fmla="*/ 2147483647 w 173"/>
                <a:gd name="T51" fmla="*/ 2147483647 h 192"/>
                <a:gd name="T52" fmla="*/ 2147483647 w 173"/>
                <a:gd name="T53" fmla="*/ 2147483647 h 192"/>
                <a:gd name="T54" fmla="*/ 2147483647 w 173"/>
                <a:gd name="T55" fmla="*/ 2147483647 h 192"/>
                <a:gd name="T56" fmla="*/ 2147483647 w 173"/>
                <a:gd name="T57" fmla="*/ 2147483647 h 192"/>
                <a:gd name="T58" fmla="*/ 2147483647 w 173"/>
                <a:gd name="T59" fmla="*/ 2147483647 h 192"/>
                <a:gd name="T60" fmla="*/ 2147483647 w 173"/>
                <a:gd name="T61" fmla="*/ 2147483647 h 192"/>
                <a:gd name="T62" fmla="*/ 2147483647 w 173"/>
                <a:gd name="T63" fmla="*/ 2147483647 h 192"/>
                <a:gd name="T64" fmla="*/ 2147483647 w 173"/>
                <a:gd name="T65" fmla="*/ 2147483647 h 192"/>
                <a:gd name="T66" fmla="*/ 2147483647 w 173"/>
                <a:gd name="T67" fmla="*/ 2147483647 h 192"/>
                <a:gd name="T68" fmla="*/ 2147483647 w 173"/>
                <a:gd name="T69" fmla="*/ 2147483647 h 192"/>
                <a:gd name="T70" fmla="*/ 2147483647 w 173"/>
                <a:gd name="T71" fmla="*/ 2147483647 h 192"/>
                <a:gd name="T72" fmla="*/ 2147483647 w 173"/>
                <a:gd name="T73" fmla="*/ 2147483647 h 192"/>
                <a:gd name="T74" fmla="*/ 2147483647 w 173"/>
                <a:gd name="T75" fmla="*/ 2147483647 h 192"/>
                <a:gd name="T76" fmla="*/ 2147483647 w 173"/>
                <a:gd name="T77" fmla="*/ 2147483647 h 192"/>
                <a:gd name="T78" fmla="*/ 2147483647 w 173"/>
                <a:gd name="T79" fmla="*/ 2147483647 h 192"/>
                <a:gd name="T80" fmla="*/ 2147483647 w 173"/>
                <a:gd name="T81" fmla="*/ 2147483647 h 192"/>
                <a:gd name="T82" fmla="*/ 2147483647 w 173"/>
                <a:gd name="T83" fmla="*/ 2147483647 h 192"/>
                <a:gd name="T84" fmla="*/ 0 w 173"/>
                <a:gd name="T85" fmla="*/ 2147483647 h 19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73" h="192">
                  <a:moveTo>
                    <a:pt x="0" y="68"/>
                  </a:moveTo>
                  <a:lnTo>
                    <a:pt x="27" y="42"/>
                  </a:lnTo>
                  <a:lnTo>
                    <a:pt x="51" y="21"/>
                  </a:lnTo>
                  <a:lnTo>
                    <a:pt x="56" y="16"/>
                  </a:lnTo>
                  <a:lnTo>
                    <a:pt x="63" y="12"/>
                  </a:lnTo>
                  <a:lnTo>
                    <a:pt x="70" y="8"/>
                  </a:lnTo>
                  <a:lnTo>
                    <a:pt x="76" y="6"/>
                  </a:lnTo>
                  <a:lnTo>
                    <a:pt x="83" y="3"/>
                  </a:lnTo>
                  <a:lnTo>
                    <a:pt x="90" y="2"/>
                  </a:lnTo>
                  <a:lnTo>
                    <a:pt x="98" y="1"/>
                  </a:lnTo>
                  <a:lnTo>
                    <a:pt x="107" y="0"/>
                  </a:lnTo>
                  <a:lnTo>
                    <a:pt x="116" y="1"/>
                  </a:lnTo>
                  <a:lnTo>
                    <a:pt x="124" y="2"/>
                  </a:lnTo>
                  <a:lnTo>
                    <a:pt x="132" y="5"/>
                  </a:lnTo>
                  <a:lnTo>
                    <a:pt x="139" y="8"/>
                  </a:lnTo>
                  <a:lnTo>
                    <a:pt x="145" y="13"/>
                  </a:lnTo>
                  <a:lnTo>
                    <a:pt x="151" y="19"/>
                  </a:lnTo>
                  <a:lnTo>
                    <a:pt x="155" y="24"/>
                  </a:lnTo>
                  <a:lnTo>
                    <a:pt x="160" y="30"/>
                  </a:lnTo>
                  <a:lnTo>
                    <a:pt x="163" y="37"/>
                  </a:lnTo>
                  <a:lnTo>
                    <a:pt x="166" y="43"/>
                  </a:lnTo>
                  <a:lnTo>
                    <a:pt x="168" y="50"/>
                  </a:lnTo>
                  <a:lnTo>
                    <a:pt x="169" y="57"/>
                  </a:lnTo>
                  <a:lnTo>
                    <a:pt x="172" y="72"/>
                  </a:lnTo>
                  <a:lnTo>
                    <a:pt x="173" y="87"/>
                  </a:lnTo>
                  <a:lnTo>
                    <a:pt x="157" y="114"/>
                  </a:lnTo>
                  <a:lnTo>
                    <a:pt x="146" y="137"/>
                  </a:lnTo>
                  <a:lnTo>
                    <a:pt x="139" y="148"/>
                  </a:lnTo>
                  <a:lnTo>
                    <a:pt x="130" y="160"/>
                  </a:lnTo>
                  <a:lnTo>
                    <a:pt x="117" y="174"/>
                  </a:lnTo>
                  <a:lnTo>
                    <a:pt x="99" y="192"/>
                  </a:lnTo>
                  <a:lnTo>
                    <a:pt x="86" y="183"/>
                  </a:lnTo>
                  <a:lnTo>
                    <a:pt x="74" y="176"/>
                  </a:lnTo>
                  <a:lnTo>
                    <a:pt x="63" y="169"/>
                  </a:lnTo>
                  <a:lnTo>
                    <a:pt x="54" y="163"/>
                  </a:lnTo>
                  <a:lnTo>
                    <a:pt x="46" y="156"/>
                  </a:lnTo>
                  <a:lnTo>
                    <a:pt x="40" y="150"/>
                  </a:lnTo>
                  <a:lnTo>
                    <a:pt x="34" y="144"/>
                  </a:lnTo>
                  <a:lnTo>
                    <a:pt x="30" y="137"/>
                  </a:lnTo>
                  <a:lnTo>
                    <a:pt x="22" y="123"/>
                  </a:lnTo>
                  <a:lnTo>
                    <a:pt x="16" y="107"/>
                  </a:lnTo>
                  <a:lnTo>
                    <a:pt x="9" y="90"/>
                  </a:lnTo>
                  <a:lnTo>
                    <a:pt x="0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08" name="Freeform 265"/>
            <p:cNvSpPr>
              <a:spLocks/>
            </p:cNvSpPr>
            <p:nvPr>
              <p:custDataLst>
                <p:tags r:id="rId193"/>
              </p:custDataLst>
            </p:nvPr>
          </p:nvSpPr>
          <p:spPr bwMode="auto">
            <a:xfrm>
              <a:off x="5837869" y="4070789"/>
              <a:ext cx="104775" cy="131763"/>
            </a:xfrm>
            <a:custGeom>
              <a:avLst/>
              <a:gdLst>
                <a:gd name="T0" fmla="*/ 2147483647 w 233"/>
                <a:gd name="T1" fmla="*/ 0 h 252"/>
                <a:gd name="T2" fmla="*/ 2147483647 w 233"/>
                <a:gd name="T3" fmla="*/ 2147483647 h 252"/>
                <a:gd name="T4" fmla="*/ 2147483647 w 233"/>
                <a:gd name="T5" fmla="*/ 2147483647 h 252"/>
                <a:gd name="T6" fmla="*/ 2147483647 w 233"/>
                <a:gd name="T7" fmla="*/ 2147483647 h 252"/>
                <a:gd name="T8" fmla="*/ 2147483647 w 233"/>
                <a:gd name="T9" fmla="*/ 2147483647 h 252"/>
                <a:gd name="T10" fmla="*/ 2147483647 w 233"/>
                <a:gd name="T11" fmla="*/ 2147483647 h 252"/>
                <a:gd name="T12" fmla="*/ 2147483647 w 233"/>
                <a:gd name="T13" fmla="*/ 0 h 252"/>
                <a:gd name="T14" fmla="*/ 2147483647 w 233"/>
                <a:gd name="T15" fmla="*/ 2147483647 h 252"/>
                <a:gd name="T16" fmla="*/ 2147483647 w 233"/>
                <a:gd name="T17" fmla="*/ 2147483647 h 252"/>
                <a:gd name="T18" fmla="*/ 2147483647 w 233"/>
                <a:gd name="T19" fmla="*/ 2147483647 h 252"/>
                <a:gd name="T20" fmla="*/ 2147483647 w 233"/>
                <a:gd name="T21" fmla="*/ 2147483647 h 252"/>
                <a:gd name="T22" fmla="*/ 2147483647 w 233"/>
                <a:gd name="T23" fmla="*/ 2147483647 h 252"/>
                <a:gd name="T24" fmla="*/ 2147483647 w 233"/>
                <a:gd name="T25" fmla="*/ 2147483647 h 252"/>
                <a:gd name="T26" fmla="*/ 2147483647 w 233"/>
                <a:gd name="T27" fmla="*/ 2147483647 h 252"/>
                <a:gd name="T28" fmla="*/ 2147483647 w 233"/>
                <a:gd name="T29" fmla="*/ 2147483647 h 252"/>
                <a:gd name="T30" fmla="*/ 2147483647 w 233"/>
                <a:gd name="T31" fmla="*/ 2147483647 h 252"/>
                <a:gd name="T32" fmla="*/ 2147483647 w 233"/>
                <a:gd name="T33" fmla="*/ 2147483647 h 252"/>
                <a:gd name="T34" fmla="*/ 2147483647 w 233"/>
                <a:gd name="T35" fmla="*/ 2147483647 h 252"/>
                <a:gd name="T36" fmla="*/ 2147483647 w 233"/>
                <a:gd name="T37" fmla="*/ 2147483647 h 252"/>
                <a:gd name="T38" fmla="*/ 2147483647 w 233"/>
                <a:gd name="T39" fmla="*/ 2147483647 h 252"/>
                <a:gd name="T40" fmla="*/ 2147483647 w 233"/>
                <a:gd name="T41" fmla="*/ 2147483647 h 252"/>
                <a:gd name="T42" fmla="*/ 2147483647 w 233"/>
                <a:gd name="T43" fmla="*/ 2147483647 h 252"/>
                <a:gd name="T44" fmla="*/ 2147483647 w 233"/>
                <a:gd name="T45" fmla="*/ 2147483647 h 252"/>
                <a:gd name="T46" fmla="*/ 2147483647 w 233"/>
                <a:gd name="T47" fmla="*/ 2147483647 h 252"/>
                <a:gd name="T48" fmla="*/ 2147483647 w 233"/>
                <a:gd name="T49" fmla="*/ 2147483647 h 252"/>
                <a:gd name="T50" fmla="*/ 2147483647 w 233"/>
                <a:gd name="T51" fmla="*/ 2147483647 h 252"/>
                <a:gd name="T52" fmla="*/ 2147483647 w 233"/>
                <a:gd name="T53" fmla="*/ 2147483647 h 252"/>
                <a:gd name="T54" fmla="*/ 2147483647 w 233"/>
                <a:gd name="T55" fmla="*/ 2147483647 h 252"/>
                <a:gd name="T56" fmla="*/ 2147483647 w 233"/>
                <a:gd name="T57" fmla="*/ 2147483647 h 252"/>
                <a:gd name="T58" fmla="*/ 2147483647 w 233"/>
                <a:gd name="T59" fmla="*/ 2147483647 h 252"/>
                <a:gd name="T60" fmla="*/ 2147483647 w 233"/>
                <a:gd name="T61" fmla="*/ 2147483647 h 252"/>
                <a:gd name="T62" fmla="*/ 2147483647 w 233"/>
                <a:gd name="T63" fmla="*/ 2147483647 h 252"/>
                <a:gd name="T64" fmla="*/ 2147483647 w 233"/>
                <a:gd name="T65" fmla="*/ 2147483647 h 252"/>
                <a:gd name="T66" fmla="*/ 2147483647 w 233"/>
                <a:gd name="T67" fmla="*/ 2147483647 h 252"/>
                <a:gd name="T68" fmla="*/ 2147483647 w 233"/>
                <a:gd name="T69" fmla="*/ 2147483647 h 252"/>
                <a:gd name="T70" fmla="*/ 2147483647 w 233"/>
                <a:gd name="T71" fmla="*/ 2147483647 h 252"/>
                <a:gd name="T72" fmla="*/ 2147483647 w 233"/>
                <a:gd name="T73" fmla="*/ 2147483647 h 252"/>
                <a:gd name="T74" fmla="*/ 2147483647 w 233"/>
                <a:gd name="T75" fmla="*/ 2147483647 h 252"/>
                <a:gd name="T76" fmla="*/ 2147483647 w 233"/>
                <a:gd name="T77" fmla="*/ 2147483647 h 252"/>
                <a:gd name="T78" fmla="*/ 2147483647 w 233"/>
                <a:gd name="T79" fmla="*/ 2147483647 h 252"/>
                <a:gd name="T80" fmla="*/ 2147483647 w 233"/>
                <a:gd name="T81" fmla="*/ 2147483647 h 252"/>
                <a:gd name="T82" fmla="*/ 2147483647 w 233"/>
                <a:gd name="T83" fmla="*/ 2147483647 h 252"/>
                <a:gd name="T84" fmla="*/ 2147483647 w 233"/>
                <a:gd name="T85" fmla="*/ 2147483647 h 252"/>
                <a:gd name="T86" fmla="*/ 2147483647 w 233"/>
                <a:gd name="T87" fmla="*/ 2147483647 h 252"/>
                <a:gd name="T88" fmla="*/ 2147483647 w 233"/>
                <a:gd name="T89" fmla="*/ 2147483647 h 252"/>
                <a:gd name="T90" fmla="*/ 2147483647 w 233"/>
                <a:gd name="T91" fmla="*/ 2147483647 h 252"/>
                <a:gd name="T92" fmla="*/ 2147483647 w 233"/>
                <a:gd name="T93" fmla="*/ 2147483647 h 252"/>
                <a:gd name="T94" fmla="*/ 0 w 233"/>
                <a:gd name="T95" fmla="*/ 2147483647 h 252"/>
                <a:gd name="T96" fmla="*/ 2147483647 w 233"/>
                <a:gd name="T97" fmla="*/ 2147483647 h 252"/>
                <a:gd name="T98" fmla="*/ 2147483647 w 233"/>
                <a:gd name="T99" fmla="*/ 2147483647 h 252"/>
                <a:gd name="T100" fmla="*/ 2147483647 w 233"/>
                <a:gd name="T101" fmla="*/ 2147483647 h 252"/>
                <a:gd name="T102" fmla="*/ 2147483647 w 233"/>
                <a:gd name="T103" fmla="*/ 2147483647 h 252"/>
                <a:gd name="T104" fmla="*/ 2147483647 w 233"/>
                <a:gd name="T105" fmla="*/ 2147483647 h 252"/>
                <a:gd name="T106" fmla="*/ 2147483647 w 233"/>
                <a:gd name="T107" fmla="*/ 0 h 25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3" h="252">
                  <a:moveTo>
                    <a:pt x="74" y="0"/>
                  </a:moveTo>
                  <a:lnTo>
                    <a:pt x="83" y="2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9" y="2"/>
                  </a:lnTo>
                  <a:lnTo>
                    <a:pt x="106" y="1"/>
                  </a:lnTo>
                  <a:lnTo>
                    <a:pt x="113" y="0"/>
                  </a:lnTo>
                  <a:lnTo>
                    <a:pt x="125" y="17"/>
                  </a:lnTo>
                  <a:lnTo>
                    <a:pt x="140" y="37"/>
                  </a:lnTo>
                  <a:lnTo>
                    <a:pt x="144" y="42"/>
                  </a:lnTo>
                  <a:lnTo>
                    <a:pt x="148" y="46"/>
                  </a:lnTo>
                  <a:lnTo>
                    <a:pt x="153" y="49"/>
                  </a:lnTo>
                  <a:lnTo>
                    <a:pt x="157" y="52"/>
                  </a:lnTo>
                  <a:lnTo>
                    <a:pt x="163" y="54"/>
                  </a:lnTo>
                  <a:lnTo>
                    <a:pt x="168" y="56"/>
                  </a:lnTo>
                  <a:lnTo>
                    <a:pt x="174" y="56"/>
                  </a:lnTo>
                  <a:lnTo>
                    <a:pt x="180" y="56"/>
                  </a:lnTo>
                  <a:lnTo>
                    <a:pt x="180" y="80"/>
                  </a:lnTo>
                  <a:lnTo>
                    <a:pt x="193" y="103"/>
                  </a:lnTo>
                  <a:lnTo>
                    <a:pt x="212" y="128"/>
                  </a:lnTo>
                  <a:lnTo>
                    <a:pt x="215" y="135"/>
                  </a:lnTo>
                  <a:lnTo>
                    <a:pt x="220" y="142"/>
                  </a:lnTo>
                  <a:lnTo>
                    <a:pt x="223" y="151"/>
                  </a:lnTo>
                  <a:lnTo>
                    <a:pt x="226" y="160"/>
                  </a:lnTo>
                  <a:lnTo>
                    <a:pt x="230" y="170"/>
                  </a:lnTo>
                  <a:lnTo>
                    <a:pt x="232" y="180"/>
                  </a:lnTo>
                  <a:lnTo>
                    <a:pt x="233" y="191"/>
                  </a:lnTo>
                  <a:lnTo>
                    <a:pt x="233" y="204"/>
                  </a:lnTo>
                  <a:lnTo>
                    <a:pt x="232" y="216"/>
                  </a:lnTo>
                  <a:lnTo>
                    <a:pt x="230" y="228"/>
                  </a:lnTo>
                  <a:lnTo>
                    <a:pt x="227" y="240"/>
                  </a:lnTo>
                  <a:lnTo>
                    <a:pt x="226" y="252"/>
                  </a:lnTo>
                  <a:lnTo>
                    <a:pt x="222" y="252"/>
                  </a:lnTo>
                  <a:lnTo>
                    <a:pt x="215" y="250"/>
                  </a:lnTo>
                  <a:lnTo>
                    <a:pt x="208" y="246"/>
                  </a:lnTo>
                  <a:lnTo>
                    <a:pt x="198" y="241"/>
                  </a:lnTo>
                  <a:lnTo>
                    <a:pt x="176" y="226"/>
                  </a:lnTo>
                  <a:lnTo>
                    <a:pt x="151" y="208"/>
                  </a:lnTo>
                  <a:lnTo>
                    <a:pt x="125" y="186"/>
                  </a:lnTo>
                  <a:lnTo>
                    <a:pt x="100" y="165"/>
                  </a:lnTo>
                  <a:lnTo>
                    <a:pt x="78" y="145"/>
                  </a:lnTo>
                  <a:lnTo>
                    <a:pt x="61" y="129"/>
                  </a:lnTo>
                  <a:lnTo>
                    <a:pt x="55" y="125"/>
                  </a:lnTo>
                  <a:lnTo>
                    <a:pt x="48" y="120"/>
                  </a:lnTo>
                  <a:lnTo>
                    <a:pt x="41" y="116"/>
                  </a:lnTo>
                  <a:lnTo>
                    <a:pt x="33" y="112"/>
                  </a:lnTo>
                  <a:lnTo>
                    <a:pt x="17" y="104"/>
                  </a:lnTo>
                  <a:lnTo>
                    <a:pt x="0" y="99"/>
                  </a:lnTo>
                  <a:lnTo>
                    <a:pt x="40" y="63"/>
                  </a:lnTo>
                  <a:lnTo>
                    <a:pt x="59" y="43"/>
                  </a:lnTo>
                  <a:lnTo>
                    <a:pt x="65" y="33"/>
                  </a:lnTo>
                  <a:lnTo>
                    <a:pt x="69" y="25"/>
                  </a:lnTo>
                  <a:lnTo>
                    <a:pt x="72" y="14"/>
                  </a:lnTo>
                  <a:lnTo>
                    <a:pt x="7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09" name="Freeform 266"/>
            <p:cNvSpPr>
              <a:spLocks/>
            </p:cNvSpPr>
            <p:nvPr>
              <p:custDataLst>
                <p:tags r:id="rId194"/>
              </p:custDataLst>
            </p:nvPr>
          </p:nvSpPr>
          <p:spPr bwMode="auto">
            <a:xfrm>
              <a:off x="6052182" y="3989827"/>
              <a:ext cx="104775" cy="201612"/>
            </a:xfrm>
            <a:custGeom>
              <a:avLst/>
              <a:gdLst>
                <a:gd name="T0" fmla="*/ 2147483647 w 246"/>
                <a:gd name="T1" fmla="*/ 2147483647 h 380"/>
                <a:gd name="T2" fmla="*/ 2147483647 w 246"/>
                <a:gd name="T3" fmla="*/ 2147483647 h 380"/>
                <a:gd name="T4" fmla="*/ 2147483647 w 246"/>
                <a:gd name="T5" fmla="*/ 2147483647 h 380"/>
                <a:gd name="T6" fmla="*/ 2147483647 w 246"/>
                <a:gd name="T7" fmla="*/ 2147483647 h 380"/>
                <a:gd name="T8" fmla="*/ 2147483647 w 246"/>
                <a:gd name="T9" fmla="*/ 2147483647 h 380"/>
                <a:gd name="T10" fmla="*/ 2147483647 w 246"/>
                <a:gd name="T11" fmla="*/ 2147483647 h 380"/>
                <a:gd name="T12" fmla="*/ 2147483647 w 246"/>
                <a:gd name="T13" fmla="*/ 2147483647 h 380"/>
                <a:gd name="T14" fmla="*/ 2147483647 w 246"/>
                <a:gd name="T15" fmla="*/ 2147483647 h 380"/>
                <a:gd name="T16" fmla="*/ 2147483647 w 246"/>
                <a:gd name="T17" fmla="*/ 2147483647 h 380"/>
                <a:gd name="T18" fmla="*/ 2147483647 w 246"/>
                <a:gd name="T19" fmla="*/ 2147483647 h 380"/>
                <a:gd name="T20" fmla="*/ 2147483647 w 246"/>
                <a:gd name="T21" fmla="*/ 2147483647 h 380"/>
                <a:gd name="T22" fmla="*/ 2147483647 w 246"/>
                <a:gd name="T23" fmla="*/ 2147483647 h 380"/>
                <a:gd name="T24" fmla="*/ 2147483647 w 246"/>
                <a:gd name="T25" fmla="*/ 2147483647 h 380"/>
                <a:gd name="T26" fmla="*/ 2147483647 w 246"/>
                <a:gd name="T27" fmla="*/ 2147483647 h 380"/>
                <a:gd name="T28" fmla="*/ 0 w 246"/>
                <a:gd name="T29" fmla="*/ 2147483647 h 380"/>
                <a:gd name="T30" fmla="*/ 2147483647 w 246"/>
                <a:gd name="T31" fmla="*/ 2147483647 h 380"/>
                <a:gd name="T32" fmla="*/ 2147483647 w 246"/>
                <a:gd name="T33" fmla="*/ 2147483647 h 380"/>
                <a:gd name="T34" fmla="*/ 2147483647 w 246"/>
                <a:gd name="T35" fmla="*/ 2147483647 h 380"/>
                <a:gd name="T36" fmla="*/ 2147483647 w 246"/>
                <a:gd name="T37" fmla="*/ 2147483647 h 380"/>
                <a:gd name="T38" fmla="*/ 2147483647 w 246"/>
                <a:gd name="T39" fmla="*/ 2147483647 h 380"/>
                <a:gd name="T40" fmla="*/ 2147483647 w 246"/>
                <a:gd name="T41" fmla="*/ 2147483647 h 380"/>
                <a:gd name="T42" fmla="*/ 2147483647 w 246"/>
                <a:gd name="T43" fmla="*/ 2147483647 h 380"/>
                <a:gd name="T44" fmla="*/ 2147483647 w 246"/>
                <a:gd name="T45" fmla="*/ 2147483647 h 380"/>
                <a:gd name="T46" fmla="*/ 2147483647 w 246"/>
                <a:gd name="T47" fmla="*/ 2147483647 h 380"/>
                <a:gd name="T48" fmla="*/ 2147483647 w 246"/>
                <a:gd name="T49" fmla="*/ 2147483647 h 380"/>
                <a:gd name="T50" fmla="*/ 2147483647 w 246"/>
                <a:gd name="T51" fmla="*/ 2147483647 h 380"/>
                <a:gd name="T52" fmla="*/ 2147483647 w 246"/>
                <a:gd name="T53" fmla="*/ 2147483647 h 380"/>
                <a:gd name="T54" fmla="*/ 2147483647 w 246"/>
                <a:gd name="T55" fmla="*/ 2147483647 h 380"/>
                <a:gd name="T56" fmla="*/ 2147483647 w 246"/>
                <a:gd name="T57" fmla="*/ 2147483647 h 380"/>
                <a:gd name="T58" fmla="*/ 2147483647 w 246"/>
                <a:gd name="T59" fmla="*/ 2147483647 h 380"/>
                <a:gd name="T60" fmla="*/ 2147483647 w 246"/>
                <a:gd name="T61" fmla="*/ 2147483647 h 380"/>
                <a:gd name="T62" fmla="*/ 2147483647 w 246"/>
                <a:gd name="T63" fmla="*/ 0 h 380"/>
                <a:gd name="T64" fmla="*/ 2147483647 w 246"/>
                <a:gd name="T65" fmla="*/ 0 h 380"/>
                <a:gd name="T66" fmla="*/ 2147483647 w 246"/>
                <a:gd name="T67" fmla="*/ 2147483647 h 380"/>
                <a:gd name="T68" fmla="*/ 2147483647 w 246"/>
                <a:gd name="T69" fmla="*/ 2147483647 h 380"/>
                <a:gd name="T70" fmla="*/ 2147483647 w 246"/>
                <a:gd name="T71" fmla="*/ 2147483647 h 380"/>
                <a:gd name="T72" fmla="*/ 2147483647 w 246"/>
                <a:gd name="T73" fmla="*/ 2147483647 h 380"/>
                <a:gd name="T74" fmla="*/ 2147483647 w 246"/>
                <a:gd name="T75" fmla="*/ 2147483647 h 380"/>
                <a:gd name="T76" fmla="*/ 2147483647 w 246"/>
                <a:gd name="T77" fmla="*/ 2147483647 h 380"/>
                <a:gd name="T78" fmla="*/ 2147483647 w 246"/>
                <a:gd name="T79" fmla="*/ 2147483647 h 380"/>
                <a:gd name="T80" fmla="*/ 2147483647 w 246"/>
                <a:gd name="T81" fmla="*/ 2147483647 h 380"/>
                <a:gd name="T82" fmla="*/ 2147483647 w 246"/>
                <a:gd name="T83" fmla="*/ 2147483647 h 380"/>
                <a:gd name="T84" fmla="*/ 2147483647 w 246"/>
                <a:gd name="T85" fmla="*/ 2147483647 h 380"/>
                <a:gd name="T86" fmla="*/ 2147483647 w 246"/>
                <a:gd name="T87" fmla="*/ 2147483647 h 380"/>
                <a:gd name="T88" fmla="*/ 2147483647 w 246"/>
                <a:gd name="T89" fmla="*/ 2147483647 h 380"/>
                <a:gd name="T90" fmla="*/ 2147483647 w 246"/>
                <a:gd name="T91" fmla="*/ 2147483647 h 380"/>
                <a:gd name="T92" fmla="*/ 2147483647 w 246"/>
                <a:gd name="T93" fmla="*/ 2147483647 h 380"/>
                <a:gd name="T94" fmla="*/ 2147483647 w 246"/>
                <a:gd name="T95" fmla="*/ 2147483647 h 380"/>
                <a:gd name="T96" fmla="*/ 2147483647 w 246"/>
                <a:gd name="T97" fmla="*/ 2147483647 h 380"/>
                <a:gd name="T98" fmla="*/ 2147483647 w 246"/>
                <a:gd name="T99" fmla="*/ 2147483647 h 380"/>
                <a:gd name="T100" fmla="*/ 2147483647 w 246"/>
                <a:gd name="T101" fmla="*/ 2147483647 h 380"/>
                <a:gd name="T102" fmla="*/ 2147483647 w 246"/>
                <a:gd name="T103" fmla="*/ 2147483647 h 380"/>
                <a:gd name="T104" fmla="*/ 2147483647 w 246"/>
                <a:gd name="T105" fmla="*/ 2147483647 h 380"/>
                <a:gd name="T106" fmla="*/ 2147483647 w 246"/>
                <a:gd name="T107" fmla="*/ 2147483647 h 380"/>
                <a:gd name="T108" fmla="*/ 2147483647 w 246"/>
                <a:gd name="T109" fmla="*/ 2147483647 h 380"/>
                <a:gd name="T110" fmla="*/ 2147483647 w 246"/>
                <a:gd name="T111" fmla="*/ 2147483647 h 380"/>
                <a:gd name="T112" fmla="*/ 2147483647 w 246"/>
                <a:gd name="T113" fmla="*/ 2147483647 h 380"/>
                <a:gd name="T114" fmla="*/ 2147483647 w 246"/>
                <a:gd name="T115" fmla="*/ 2147483647 h 380"/>
                <a:gd name="T116" fmla="*/ 2147483647 w 246"/>
                <a:gd name="T117" fmla="*/ 2147483647 h 380"/>
                <a:gd name="T118" fmla="*/ 2147483647 w 246"/>
                <a:gd name="T119" fmla="*/ 2147483647 h 380"/>
                <a:gd name="T120" fmla="*/ 2147483647 w 246"/>
                <a:gd name="T121" fmla="*/ 2147483647 h 38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46" h="380">
                  <a:moveTo>
                    <a:pt x="13" y="376"/>
                  </a:moveTo>
                  <a:lnTo>
                    <a:pt x="14" y="367"/>
                  </a:lnTo>
                  <a:lnTo>
                    <a:pt x="15" y="359"/>
                  </a:lnTo>
                  <a:lnTo>
                    <a:pt x="18" y="351"/>
                  </a:lnTo>
                  <a:lnTo>
                    <a:pt x="20" y="344"/>
                  </a:lnTo>
                  <a:lnTo>
                    <a:pt x="25" y="333"/>
                  </a:lnTo>
                  <a:lnTo>
                    <a:pt x="26" y="327"/>
                  </a:lnTo>
                  <a:lnTo>
                    <a:pt x="25" y="321"/>
                  </a:lnTo>
                  <a:lnTo>
                    <a:pt x="23" y="314"/>
                  </a:lnTo>
                  <a:lnTo>
                    <a:pt x="19" y="305"/>
                  </a:lnTo>
                  <a:lnTo>
                    <a:pt x="13" y="295"/>
                  </a:lnTo>
                  <a:lnTo>
                    <a:pt x="9" y="285"/>
                  </a:lnTo>
                  <a:lnTo>
                    <a:pt x="4" y="275"/>
                  </a:lnTo>
                  <a:lnTo>
                    <a:pt x="1" y="267"/>
                  </a:lnTo>
                  <a:lnTo>
                    <a:pt x="0" y="259"/>
                  </a:lnTo>
                  <a:lnTo>
                    <a:pt x="1" y="251"/>
                  </a:lnTo>
                  <a:lnTo>
                    <a:pt x="2" y="243"/>
                  </a:lnTo>
                  <a:lnTo>
                    <a:pt x="3" y="236"/>
                  </a:lnTo>
                  <a:lnTo>
                    <a:pt x="6" y="230"/>
                  </a:lnTo>
                  <a:lnTo>
                    <a:pt x="11" y="218"/>
                  </a:lnTo>
                  <a:lnTo>
                    <a:pt x="19" y="207"/>
                  </a:lnTo>
                  <a:lnTo>
                    <a:pt x="26" y="197"/>
                  </a:lnTo>
                  <a:lnTo>
                    <a:pt x="34" y="185"/>
                  </a:lnTo>
                  <a:lnTo>
                    <a:pt x="41" y="173"/>
                  </a:lnTo>
                  <a:lnTo>
                    <a:pt x="47" y="160"/>
                  </a:lnTo>
                  <a:lnTo>
                    <a:pt x="26" y="73"/>
                  </a:lnTo>
                  <a:lnTo>
                    <a:pt x="26" y="50"/>
                  </a:lnTo>
                  <a:lnTo>
                    <a:pt x="24" y="33"/>
                  </a:lnTo>
                  <a:lnTo>
                    <a:pt x="24" y="25"/>
                  </a:lnTo>
                  <a:lnTo>
                    <a:pt x="24" y="16"/>
                  </a:lnTo>
                  <a:lnTo>
                    <a:pt x="25" y="8"/>
                  </a:lnTo>
                  <a:lnTo>
                    <a:pt x="26" y="0"/>
                  </a:lnTo>
                  <a:lnTo>
                    <a:pt x="180" y="0"/>
                  </a:lnTo>
                  <a:lnTo>
                    <a:pt x="220" y="129"/>
                  </a:lnTo>
                  <a:lnTo>
                    <a:pt x="220" y="210"/>
                  </a:lnTo>
                  <a:lnTo>
                    <a:pt x="220" y="220"/>
                  </a:lnTo>
                  <a:lnTo>
                    <a:pt x="221" y="230"/>
                  </a:lnTo>
                  <a:lnTo>
                    <a:pt x="223" y="240"/>
                  </a:lnTo>
                  <a:lnTo>
                    <a:pt x="225" y="250"/>
                  </a:lnTo>
                  <a:lnTo>
                    <a:pt x="228" y="259"/>
                  </a:lnTo>
                  <a:lnTo>
                    <a:pt x="234" y="268"/>
                  </a:lnTo>
                  <a:lnTo>
                    <a:pt x="239" y="278"/>
                  </a:lnTo>
                  <a:lnTo>
                    <a:pt x="246" y="289"/>
                  </a:lnTo>
                  <a:lnTo>
                    <a:pt x="224" y="295"/>
                  </a:lnTo>
                  <a:lnTo>
                    <a:pt x="202" y="302"/>
                  </a:lnTo>
                  <a:lnTo>
                    <a:pt x="181" y="310"/>
                  </a:lnTo>
                  <a:lnTo>
                    <a:pt x="160" y="319"/>
                  </a:lnTo>
                  <a:lnTo>
                    <a:pt x="141" y="328"/>
                  </a:lnTo>
                  <a:lnTo>
                    <a:pt x="120" y="338"/>
                  </a:lnTo>
                  <a:lnTo>
                    <a:pt x="100" y="347"/>
                  </a:lnTo>
                  <a:lnTo>
                    <a:pt x="80" y="358"/>
                  </a:lnTo>
                  <a:lnTo>
                    <a:pt x="75" y="363"/>
                  </a:lnTo>
                  <a:lnTo>
                    <a:pt x="69" y="367"/>
                  </a:lnTo>
                  <a:lnTo>
                    <a:pt x="62" y="372"/>
                  </a:lnTo>
                  <a:lnTo>
                    <a:pt x="54" y="376"/>
                  </a:lnTo>
                  <a:lnTo>
                    <a:pt x="46" y="379"/>
                  </a:lnTo>
                  <a:lnTo>
                    <a:pt x="36" y="380"/>
                  </a:lnTo>
                  <a:lnTo>
                    <a:pt x="31" y="380"/>
                  </a:lnTo>
                  <a:lnTo>
                    <a:pt x="25" y="379"/>
                  </a:lnTo>
                  <a:lnTo>
                    <a:pt x="20" y="378"/>
                  </a:lnTo>
                  <a:lnTo>
                    <a:pt x="13" y="376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0" name="Freeform 267"/>
            <p:cNvSpPr>
              <a:spLocks/>
            </p:cNvSpPr>
            <p:nvPr>
              <p:custDataLst>
                <p:tags r:id="rId195"/>
              </p:custDataLst>
            </p:nvPr>
          </p:nvSpPr>
          <p:spPr bwMode="auto">
            <a:xfrm>
              <a:off x="5704519" y="3905689"/>
              <a:ext cx="87313" cy="58738"/>
            </a:xfrm>
            <a:custGeom>
              <a:avLst/>
              <a:gdLst>
                <a:gd name="T0" fmla="*/ 2147483647 w 193"/>
                <a:gd name="T1" fmla="*/ 2147483647 h 38"/>
                <a:gd name="T2" fmla="*/ 2147483647 w 193"/>
                <a:gd name="T3" fmla="*/ 2147483647 h 38"/>
                <a:gd name="T4" fmla="*/ 2147483647 w 193"/>
                <a:gd name="T5" fmla="*/ 2147483647 h 38"/>
                <a:gd name="T6" fmla="*/ 2147483647 w 193"/>
                <a:gd name="T7" fmla="*/ 2147483647 h 38"/>
                <a:gd name="T8" fmla="*/ 2147483647 w 193"/>
                <a:gd name="T9" fmla="*/ 2147483647 h 38"/>
                <a:gd name="T10" fmla="*/ 2147483647 w 193"/>
                <a:gd name="T11" fmla="*/ 2147483647 h 38"/>
                <a:gd name="T12" fmla="*/ 2147483647 w 193"/>
                <a:gd name="T13" fmla="*/ 0 h 38"/>
                <a:gd name="T14" fmla="*/ 2147483647 w 193"/>
                <a:gd name="T15" fmla="*/ 2147483647 h 38"/>
                <a:gd name="T16" fmla="*/ 2147483647 w 193"/>
                <a:gd name="T17" fmla="*/ 2147483647 h 38"/>
                <a:gd name="T18" fmla="*/ 2147483647 w 193"/>
                <a:gd name="T19" fmla="*/ 2147483647 h 38"/>
                <a:gd name="T20" fmla="*/ 2147483647 w 193"/>
                <a:gd name="T21" fmla="*/ 2147483647 h 38"/>
                <a:gd name="T22" fmla="*/ 2147483647 w 193"/>
                <a:gd name="T23" fmla="*/ 2147483647 h 38"/>
                <a:gd name="T24" fmla="*/ 2147483647 w 193"/>
                <a:gd name="T25" fmla="*/ 2147483647 h 38"/>
                <a:gd name="T26" fmla="*/ 2147483647 w 193"/>
                <a:gd name="T27" fmla="*/ 2147483647 h 38"/>
                <a:gd name="T28" fmla="*/ 2147483647 w 193"/>
                <a:gd name="T29" fmla="*/ 2147483647 h 38"/>
                <a:gd name="T30" fmla="*/ 2147483647 w 193"/>
                <a:gd name="T31" fmla="*/ 2147483647 h 38"/>
                <a:gd name="T32" fmla="*/ 2147483647 w 193"/>
                <a:gd name="T33" fmla="*/ 2147483647 h 38"/>
                <a:gd name="T34" fmla="*/ 2147483647 w 193"/>
                <a:gd name="T35" fmla="*/ 2147483647 h 38"/>
                <a:gd name="T36" fmla="*/ 2147483647 w 193"/>
                <a:gd name="T37" fmla="*/ 2147483647 h 38"/>
                <a:gd name="T38" fmla="*/ 2147483647 w 193"/>
                <a:gd name="T39" fmla="*/ 2147483647 h 38"/>
                <a:gd name="T40" fmla="*/ 2147483647 w 193"/>
                <a:gd name="T41" fmla="*/ 2147483647 h 38"/>
                <a:gd name="T42" fmla="*/ 2147483647 w 193"/>
                <a:gd name="T43" fmla="*/ 2147483647 h 38"/>
                <a:gd name="T44" fmla="*/ 2147483647 w 193"/>
                <a:gd name="T45" fmla="*/ 2147483647 h 38"/>
                <a:gd name="T46" fmla="*/ 2147483647 w 193"/>
                <a:gd name="T47" fmla="*/ 2147483647 h 38"/>
                <a:gd name="T48" fmla="*/ 2147483647 w 193"/>
                <a:gd name="T49" fmla="*/ 2147483647 h 38"/>
                <a:gd name="T50" fmla="*/ 2147483647 w 193"/>
                <a:gd name="T51" fmla="*/ 2147483647 h 38"/>
                <a:gd name="T52" fmla="*/ 2147483647 w 193"/>
                <a:gd name="T53" fmla="*/ 2147483647 h 38"/>
                <a:gd name="T54" fmla="*/ 2147483647 w 193"/>
                <a:gd name="T55" fmla="*/ 2147483647 h 38"/>
                <a:gd name="T56" fmla="*/ 2147483647 w 193"/>
                <a:gd name="T57" fmla="*/ 2147483647 h 38"/>
                <a:gd name="T58" fmla="*/ 2147483647 w 193"/>
                <a:gd name="T59" fmla="*/ 2147483647 h 38"/>
                <a:gd name="T60" fmla="*/ 0 w 193"/>
                <a:gd name="T61" fmla="*/ 2147483647 h 38"/>
                <a:gd name="T62" fmla="*/ 0 w 193"/>
                <a:gd name="T63" fmla="*/ 2147483647 h 38"/>
                <a:gd name="T64" fmla="*/ 2147483647 w 193"/>
                <a:gd name="T65" fmla="*/ 2147483647 h 38"/>
                <a:gd name="T66" fmla="*/ 2147483647 w 193"/>
                <a:gd name="T67" fmla="*/ 2147483647 h 38"/>
                <a:gd name="T68" fmla="*/ 2147483647 w 193"/>
                <a:gd name="T69" fmla="*/ 2147483647 h 3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93" h="38">
                  <a:moveTo>
                    <a:pt x="7" y="20"/>
                  </a:moveTo>
                  <a:lnTo>
                    <a:pt x="38" y="11"/>
                  </a:lnTo>
                  <a:lnTo>
                    <a:pt x="67" y="5"/>
                  </a:lnTo>
                  <a:lnTo>
                    <a:pt x="80" y="3"/>
                  </a:lnTo>
                  <a:lnTo>
                    <a:pt x="94" y="2"/>
                  </a:lnTo>
                  <a:lnTo>
                    <a:pt x="110" y="1"/>
                  </a:lnTo>
                  <a:lnTo>
                    <a:pt x="126" y="0"/>
                  </a:lnTo>
                  <a:lnTo>
                    <a:pt x="138" y="1"/>
                  </a:lnTo>
                  <a:lnTo>
                    <a:pt x="149" y="1"/>
                  </a:lnTo>
                  <a:lnTo>
                    <a:pt x="160" y="2"/>
                  </a:lnTo>
                  <a:lnTo>
                    <a:pt x="169" y="4"/>
                  </a:lnTo>
                  <a:lnTo>
                    <a:pt x="178" y="6"/>
                  </a:lnTo>
                  <a:lnTo>
                    <a:pt x="184" y="11"/>
                  </a:lnTo>
                  <a:lnTo>
                    <a:pt x="187" y="13"/>
                  </a:lnTo>
                  <a:lnTo>
                    <a:pt x="189" y="18"/>
                  </a:lnTo>
                  <a:lnTo>
                    <a:pt x="191" y="21"/>
                  </a:lnTo>
                  <a:lnTo>
                    <a:pt x="193" y="26"/>
                  </a:lnTo>
                  <a:lnTo>
                    <a:pt x="183" y="27"/>
                  </a:lnTo>
                  <a:lnTo>
                    <a:pt x="173" y="28"/>
                  </a:lnTo>
                  <a:lnTo>
                    <a:pt x="165" y="28"/>
                  </a:lnTo>
                  <a:lnTo>
                    <a:pt x="156" y="28"/>
                  </a:lnTo>
                  <a:lnTo>
                    <a:pt x="138" y="27"/>
                  </a:lnTo>
                  <a:lnTo>
                    <a:pt x="120" y="26"/>
                  </a:lnTo>
                  <a:lnTo>
                    <a:pt x="103" y="26"/>
                  </a:lnTo>
                  <a:lnTo>
                    <a:pt x="89" y="28"/>
                  </a:lnTo>
                  <a:lnTo>
                    <a:pt x="76" y="30"/>
                  </a:lnTo>
                  <a:lnTo>
                    <a:pt x="63" y="32"/>
                  </a:lnTo>
                  <a:lnTo>
                    <a:pt x="49" y="34"/>
                  </a:lnTo>
                  <a:lnTo>
                    <a:pt x="35" y="36"/>
                  </a:lnTo>
                  <a:lnTo>
                    <a:pt x="19" y="37"/>
                  </a:lnTo>
                  <a:lnTo>
                    <a:pt x="0" y="38"/>
                  </a:lnTo>
                  <a:lnTo>
                    <a:pt x="0" y="33"/>
                  </a:lnTo>
                  <a:lnTo>
                    <a:pt x="1" y="29"/>
                  </a:lnTo>
                  <a:lnTo>
                    <a:pt x="3" y="24"/>
                  </a:lnTo>
                  <a:lnTo>
                    <a:pt x="7" y="20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1" name="Freeform 268"/>
            <p:cNvSpPr>
              <a:spLocks/>
            </p:cNvSpPr>
            <p:nvPr>
              <p:custDataLst>
                <p:tags r:id="rId196"/>
              </p:custDataLst>
            </p:nvPr>
          </p:nvSpPr>
          <p:spPr bwMode="auto">
            <a:xfrm>
              <a:off x="6129969" y="3983477"/>
              <a:ext cx="42863" cy="155575"/>
            </a:xfrm>
            <a:custGeom>
              <a:avLst/>
              <a:gdLst>
                <a:gd name="T0" fmla="*/ 2147483647 w 99"/>
                <a:gd name="T1" fmla="*/ 2147483647 h 301"/>
                <a:gd name="T2" fmla="*/ 2147483647 w 99"/>
                <a:gd name="T3" fmla="*/ 2147483647 h 301"/>
                <a:gd name="T4" fmla="*/ 2147483647 w 99"/>
                <a:gd name="T5" fmla="*/ 2147483647 h 301"/>
                <a:gd name="T6" fmla="*/ 2147483647 w 99"/>
                <a:gd name="T7" fmla="*/ 2147483647 h 301"/>
                <a:gd name="T8" fmla="*/ 2147483647 w 99"/>
                <a:gd name="T9" fmla="*/ 2147483647 h 301"/>
                <a:gd name="T10" fmla="*/ 2147483647 w 99"/>
                <a:gd name="T11" fmla="*/ 2147483647 h 301"/>
                <a:gd name="T12" fmla="*/ 2147483647 w 99"/>
                <a:gd name="T13" fmla="*/ 2147483647 h 301"/>
                <a:gd name="T14" fmla="*/ 2147483647 w 99"/>
                <a:gd name="T15" fmla="*/ 2147483647 h 301"/>
                <a:gd name="T16" fmla="*/ 2147483647 w 99"/>
                <a:gd name="T17" fmla="*/ 2147483647 h 301"/>
                <a:gd name="T18" fmla="*/ 2147483647 w 99"/>
                <a:gd name="T19" fmla="*/ 2147483647 h 301"/>
                <a:gd name="T20" fmla="*/ 2147483647 w 99"/>
                <a:gd name="T21" fmla="*/ 2147483647 h 301"/>
                <a:gd name="T22" fmla="*/ 2147483647 w 99"/>
                <a:gd name="T23" fmla="*/ 2147483647 h 301"/>
                <a:gd name="T24" fmla="*/ 2147483647 w 99"/>
                <a:gd name="T25" fmla="*/ 2147483647 h 301"/>
                <a:gd name="T26" fmla="*/ 2147483647 w 99"/>
                <a:gd name="T27" fmla="*/ 2147483647 h 301"/>
                <a:gd name="T28" fmla="*/ 2147483647 w 99"/>
                <a:gd name="T29" fmla="*/ 2147483647 h 301"/>
                <a:gd name="T30" fmla="*/ 2147483647 w 99"/>
                <a:gd name="T31" fmla="*/ 2147483647 h 301"/>
                <a:gd name="T32" fmla="*/ 2147483647 w 99"/>
                <a:gd name="T33" fmla="*/ 2147483647 h 301"/>
                <a:gd name="T34" fmla="*/ 2147483647 w 99"/>
                <a:gd name="T35" fmla="*/ 2147483647 h 301"/>
                <a:gd name="T36" fmla="*/ 2147483647 w 99"/>
                <a:gd name="T37" fmla="*/ 2147483647 h 301"/>
                <a:gd name="T38" fmla="*/ 2147483647 w 99"/>
                <a:gd name="T39" fmla="*/ 2147483647 h 301"/>
                <a:gd name="T40" fmla="*/ 2147483647 w 99"/>
                <a:gd name="T41" fmla="*/ 2147483647 h 301"/>
                <a:gd name="T42" fmla="*/ 2147483647 w 99"/>
                <a:gd name="T43" fmla="*/ 2147483647 h 301"/>
                <a:gd name="T44" fmla="*/ 2147483647 w 99"/>
                <a:gd name="T45" fmla="*/ 2147483647 h 301"/>
                <a:gd name="T46" fmla="*/ 2147483647 w 99"/>
                <a:gd name="T47" fmla="*/ 2147483647 h 301"/>
                <a:gd name="T48" fmla="*/ 2147483647 w 99"/>
                <a:gd name="T49" fmla="*/ 2147483647 h 301"/>
                <a:gd name="T50" fmla="*/ 2147483647 w 99"/>
                <a:gd name="T51" fmla="*/ 2147483647 h 301"/>
                <a:gd name="T52" fmla="*/ 2147483647 w 99"/>
                <a:gd name="T53" fmla="*/ 2147483647 h 301"/>
                <a:gd name="T54" fmla="*/ 2147483647 w 99"/>
                <a:gd name="T55" fmla="*/ 2147483647 h 301"/>
                <a:gd name="T56" fmla="*/ 0 w 99"/>
                <a:gd name="T57" fmla="*/ 2147483647 h 301"/>
                <a:gd name="T58" fmla="*/ 2147483647 w 99"/>
                <a:gd name="T59" fmla="*/ 2147483647 h 301"/>
                <a:gd name="T60" fmla="*/ 2147483647 w 99"/>
                <a:gd name="T61" fmla="*/ 0 h 301"/>
                <a:gd name="T62" fmla="*/ 2147483647 w 99"/>
                <a:gd name="T63" fmla="*/ 0 h 301"/>
                <a:gd name="T64" fmla="*/ 2147483647 w 99"/>
                <a:gd name="T65" fmla="*/ 0 h 301"/>
                <a:gd name="T66" fmla="*/ 2147483647 w 99"/>
                <a:gd name="T67" fmla="*/ 0 h 301"/>
                <a:gd name="T68" fmla="*/ 2147483647 w 99"/>
                <a:gd name="T69" fmla="*/ 2147483647 h 301"/>
                <a:gd name="T70" fmla="*/ 2147483647 w 99"/>
                <a:gd name="T71" fmla="*/ 2147483647 h 301"/>
                <a:gd name="T72" fmla="*/ 2147483647 w 99"/>
                <a:gd name="T73" fmla="*/ 2147483647 h 301"/>
                <a:gd name="T74" fmla="*/ 2147483647 w 99"/>
                <a:gd name="T75" fmla="*/ 2147483647 h 301"/>
                <a:gd name="T76" fmla="*/ 2147483647 w 99"/>
                <a:gd name="T77" fmla="*/ 2147483647 h 30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301">
                  <a:moveTo>
                    <a:pt x="53" y="12"/>
                  </a:moveTo>
                  <a:lnTo>
                    <a:pt x="59" y="12"/>
                  </a:lnTo>
                  <a:lnTo>
                    <a:pt x="59" y="19"/>
                  </a:lnTo>
                  <a:lnTo>
                    <a:pt x="62" y="26"/>
                  </a:lnTo>
                  <a:lnTo>
                    <a:pt x="63" y="33"/>
                  </a:lnTo>
                  <a:lnTo>
                    <a:pt x="66" y="42"/>
                  </a:lnTo>
                  <a:lnTo>
                    <a:pt x="72" y="58"/>
                  </a:lnTo>
                  <a:lnTo>
                    <a:pt x="79" y="75"/>
                  </a:lnTo>
                  <a:lnTo>
                    <a:pt x="87" y="93"/>
                  </a:lnTo>
                  <a:lnTo>
                    <a:pt x="93" y="111"/>
                  </a:lnTo>
                  <a:lnTo>
                    <a:pt x="96" y="120"/>
                  </a:lnTo>
                  <a:lnTo>
                    <a:pt x="98" y="129"/>
                  </a:lnTo>
                  <a:lnTo>
                    <a:pt x="99" y="138"/>
                  </a:lnTo>
                  <a:lnTo>
                    <a:pt x="99" y="148"/>
                  </a:lnTo>
                  <a:lnTo>
                    <a:pt x="99" y="289"/>
                  </a:lnTo>
                  <a:lnTo>
                    <a:pt x="89" y="290"/>
                  </a:lnTo>
                  <a:lnTo>
                    <a:pt x="80" y="293"/>
                  </a:lnTo>
                  <a:lnTo>
                    <a:pt x="73" y="297"/>
                  </a:lnTo>
                  <a:lnTo>
                    <a:pt x="66" y="301"/>
                  </a:lnTo>
                  <a:lnTo>
                    <a:pt x="59" y="290"/>
                  </a:lnTo>
                  <a:lnTo>
                    <a:pt x="54" y="280"/>
                  </a:lnTo>
                  <a:lnTo>
                    <a:pt x="48" y="271"/>
                  </a:lnTo>
                  <a:lnTo>
                    <a:pt x="45" y="262"/>
                  </a:lnTo>
                  <a:lnTo>
                    <a:pt x="43" y="252"/>
                  </a:lnTo>
                  <a:lnTo>
                    <a:pt x="41" y="242"/>
                  </a:lnTo>
                  <a:lnTo>
                    <a:pt x="40" y="232"/>
                  </a:lnTo>
                  <a:lnTo>
                    <a:pt x="40" y="222"/>
                  </a:lnTo>
                  <a:lnTo>
                    <a:pt x="40" y="141"/>
                  </a:lnTo>
                  <a:lnTo>
                    <a:pt x="0" y="6"/>
                  </a:lnTo>
                  <a:lnTo>
                    <a:pt x="5" y="2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2" y="2"/>
                  </a:lnTo>
                  <a:lnTo>
                    <a:pt x="37" y="4"/>
                  </a:lnTo>
                  <a:lnTo>
                    <a:pt x="41" y="6"/>
                  </a:lnTo>
                  <a:lnTo>
                    <a:pt x="47" y="10"/>
                  </a:lnTo>
                  <a:lnTo>
                    <a:pt x="5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2" name="Freeform 269"/>
            <p:cNvSpPr>
              <a:spLocks/>
            </p:cNvSpPr>
            <p:nvPr>
              <p:custDataLst>
                <p:tags r:id="rId197"/>
              </p:custDataLst>
            </p:nvPr>
          </p:nvSpPr>
          <p:spPr bwMode="auto">
            <a:xfrm>
              <a:off x="6155369" y="3945377"/>
              <a:ext cx="76200" cy="188912"/>
            </a:xfrm>
            <a:custGeom>
              <a:avLst/>
              <a:gdLst>
                <a:gd name="T0" fmla="*/ 0 w 173"/>
                <a:gd name="T1" fmla="*/ 2147483647 h 357"/>
                <a:gd name="T2" fmla="*/ 2147483647 w 173"/>
                <a:gd name="T3" fmla="*/ 2147483647 h 357"/>
                <a:gd name="T4" fmla="*/ 2147483647 w 173"/>
                <a:gd name="T5" fmla="*/ 2147483647 h 357"/>
                <a:gd name="T6" fmla="*/ 2147483647 w 173"/>
                <a:gd name="T7" fmla="*/ 2147483647 h 357"/>
                <a:gd name="T8" fmla="*/ 2147483647 w 173"/>
                <a:gd name="T9" fmla="*/ 2147483647 h 357"/>
                <a:gd name="T10" fmla="*/ 2147483647 w 173"/>
                <a:gd name="T11" fmla="*/ 2147483647 h 357"/>
                <a:gd name="T12" fmla="*/ 2147483647 w 173"/>
                <a:gd name="T13" fmla="*/ 2147483647 h 357"/>
                <a:gd name="T14" fmla="*/ 2147483647 w 173"/>
                <a:gd name="T15" fmla="*/ 0 h 357"/>
                <a:gd name="T16" fmla="*/ 2147483647 w 173"/>
                <a:gd name="T17" fmla="*/ 2147483647 h 357"/>
                <a:gd name="T18" fmla="*/ 2147483647 w 173"/>
                <a:gd name="T19" fmla="*/ 2147483647 h 357"/>
                <a:gd name="T20" fmla="*/ 2147483647 w 173"/>
                <a:gd name="T21" fmla="*/ 2147483647 h 357"/>
                <a:gd name="T22" fmla="*/ 2147483647 w 173"/>
                <a:gd name="T23" fmla="*/ 2147483647 h 357"/>
                <a:gd name="T24" fmla="*/ 2147483647 w 173"/>
                <a:gd name="T25" fmla="*/ 2147483647 h 357"/>
                <a:gd name="T26" fmla="*/ 2147483647 w 173"/>
                <a:gd name="T27" fmla="*/ 2147483647 h 357"/>
                <a:gd name="T28" fmla="*/ 2147483647 w 173"/>
                <a:gd name="T29" fmla="*/ 2147483647 h 357"/>
                <a:gd name="T30" fmla="*/ 2147483647 w 173"/>
                <a:gd name="T31" fmla="*/ 2147483647 h 357"/>
                <a:gd name="T32" fmla="*/ 2147483647 w 173"/>
                <a:gd name="T33" fmla="*/ 2147483647 h 357"/>
                <a:gd name="T34" fmla="*/ 2147483647 w 173"/>
                <a:gd name="T35" fmla="*/ 2147483647 h 357"/>
                <a:gd name="T36" fmla="*/ 2147483647 w 173"/>
                <a:gd name="T37" fmla="*/ 2147483647 h 357"/>
                <a:gd name="T38" fmla="*/ 2147483647 w 173"/>
                <a:gd name="T39" fmla="*/ 2147483647 h 357"/>
                <a:gd name="T40" fmla="*/ 2147483647 w 173"/>
                <a:gd name="T41" fmla="*/ 2147483647 h 357"/>
                <a:gd name="T42" fmla="*/ 2147483647 w 173"/>
                <a:gd name="T43" fmla="*/ 2147483647 h 357"/>
                <a:gd name="T44" fmla="*/ 2147483647 w 173"/>
                <a:gd name="T45" fmla="*/ 2147483647 h 357"/>
                <a:gd name="T46" fmla="*/ 2147483647 w 173"/>
                <a:gd name="T47" fmla="*/ 2147483647 h 357"/>
                <a:gd name="T48" fmla="*/ 2147483647 w 173"/>
                <a:gd name="T49" fmla="*/ 2147483647 h 357"/>
                <a:gd name="T50" fmla="*/ 2147483647 w 173"/>
                <a:gd name="T51" fmla="*/ 2147483647 h 357"/>
                <a:gd name="T52" fmla="*/ 2147483647 w 173"/>
                <a:gd name="T53" fmla="*/ 2147483647 h 357"/>
                <a:gd name="T54" fmla="*/ 2147483647 w 173"/>
                <a:gd name="T55" fmla="*/ 2147483647 h 357"/>
                <a:gd name="T56" fmla="*/ 2147483647 w 173"/>
                <a:gd name="T57" fmla="*/ 2147483647 h 357"/>
                <a:gd name="T58" fmla="*/ 2147483647 w 173"/>
                <a:gd name="T59" fmla="*/ 2147483647 h 357"/>
                <a:gd name="T60" fmla="*/ 2147483647 w 173"/>
                <a:gd name="T61" fmla="*/ 2147483647 h 357"/>
                <a:gd name="T62" fmla="*/ 2147483647 w 173"/>
                <a:gd name="T63" fmla="*/ 2147483647 h 357"/>
                <a:gd name="T64" fmla="*/ 2147483647 w 173"/>
                <a:gd name="T65" fmla="*/ 2147483647 h 357"/>
                <a:gd name="T66" fmla="*/ 2147483647 w 173"/>
                <a:gd name="T67" fmla="*/ 2147483647 h 357"/>
                <a:gd name="T68" fmla="*/ 2147483647 w 173"/>
                <a:gd name="T69" fmla="*/ 2147483647 h 357"/>
                <a:gd name="T70" fmla="*/ 2147483647 w 173"/>
                <a:gd name="T71" fmla="*/ 2147483647 h 357"/>
                <a:gd name="T72" fmla="*/ 2147483647 w 173"/>
                <a:gd name="T73" fmla="*/ 2147483647 h 357"/>
                <a:gd name="T74" fmla="*/ 2147483647 w 173"/>
                <a:gd name="T75" fmla="*/ 2147483647 h 357"/>
                <a:gd name="T76" fmla="*/ 2147483647 w 173"/>
                <a:gd name="T77" fmla="*/ 2147483647 h 357"/>
                <a:gd name="T78" fmla="*/ 2147483647 w 173"/>
                <a:gd name="T79" fmla="*/ 2147483647 h 357"/>
                <a:gd name="T80" fmla="*/ 2147483647 w 173"/>
                <a:gd name="T81" fmla="*/ 2147483647 h 357"/>
                <a:gd name="T82" fmla="*/ 2147483647 w 173"/>
                <a:gd name="T83" fmla="*/ 2147483647 h 357"/>
                <a:gd name="T84" fmla="*/ 2147483647 w 173"/>
                <a:gd name="T85" fmla="*/ 2147483647 h 357"/>
                <a:gd name="T86" fmla="*/ 2147483647 w 173"/>
                <a:gd name="T87" fmla="*/ 2147483647 h 357"/>
                <a:gd name="T88" fmla="*/ 2147483647 w 173"/>
                <a:gd name="T89" fmla="*/ 2147483647 h 357"/>
                <a:gd name="T90" fmla="*/ 2147483647 w 173"/>
                <a:gd name="T91" fmla="*/ 2147483647 h 357"/>
                <a:gd name="T92" fmla="*/ 2147483647 w 173"/>
                <a:gd name="T93" fmla="*/ 2147483647 h 357"/>
                <a:gd name="T94" fmla="*/ 2147483647 w 173"/>
                <a:gd name="T95" fmla="*/ 2147483647 h 357"/>
                <a:gd name="T96" fmla="*/ 2147483647 w 173"/>
                <a:gd name="T97" fmla="*/ 2147483647 h 357"/>
                <a:gd name="T98" fmla="*/ 2147483647 w 173"/>
                <a:gd name="T99" fmla="*/ 2147483647 h 357"/>
                <a:gd name="T100" fmla="*/ 2147483647 w 173"/>
                <a:gd name="T101" fmla="*/ 2147483647 h 357"/>
                <a:gd name="T102" fmla="*/ 2147483647 w 173"/>
                <a:gd name="T103" fmla="*/ 2147483647 h 357"/>
                <a:gd name="T104" fmla="*/ 2147483647 w 173"/>
                <a:gd name="T105" fmla="*/ 2147483647 h 357"/>
                <a:gd name="T106" fmla="*/ 2147483647 w 173"/>
                <a:gd name="T107" fmla="*/ 2147483647 h 357"/>
                <a:gd name="T108" fmla="*/ 2147483647 w 173"/>
                <a:gd name="T109" fmla="*/ 2147483647 h 357"/>
                <a:gd name="T110" fmla="*/ 2147483647 w 173"/>
                <a:gd name="T111" fmla="*/ 2147483647 h 357"/>
                <a:gd name="T112" fmla="*/ 2147483647 w 173"/>
                <a:gd name="T113" fmla="*/ 2147483647 h 357"/>
                <a:gd name="T114" fmla="*/ 2147483647 w 173"/>
                <a:gd name="T115" fmla="*/ 2147483647 h 357"/>
                <a:gd name="T116" fmla="*/ 2147483647 w 173"/>
                <a:gd name="T117" fmla="*/ 2147483647 h 357"/>
                <a:gd name="T118" fmla="*/ 0 w 173"/>
                <a:gd name="T119" fmla="*/ 2147483647 h 357"/>
                <a:gd name="T120" fmla="*/ 0 w 173"/>
                <a:gd name="T121" fmla="*/ 2147483647 h 35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73" h="357">
                  <a:moveTo>
                    <a:pt x="0" y="80"/>
                  </a:moveTo>
                  <a:lnTo>
                    <a:pt x="9" y="72"/>
                  </a:lnTo>
                  <a:lnTo>
                    <a:pt x="17" y="65"/>
                  </a:lnTo>
                  <a:lnTo>
                    <a:pt x="25" y="60"/>
                  </a:lnTo>
                  <a:lnTo>
                    <a:pt x="33" y="56"/>
                  </a:lnTo>
                  <a:lnTo>
                    <a:pt x="40" y="50"/>
                  </a:lnTo>
                  <a:lnTo>
                    <a:pt x="67" y="50"/>
                  </a:lnTo>
                  <a:lnTo>
                    <a:pt x="94" y="0"/>
                  </a:lnTo>
                  <a:lnTo>
                    <a:pt x="101" y="3"/>
                  </a:lnTo>
                  <a:lnTo>
                    <a:pt x="108" y="7"/>
                  </a:lnTo>
                  <a:lnTo>
                    <a:pt x="116" y="12"/>
                  </a:lnTo>
                  <a:lnTo>
                    <a:pt x="123" y="18"/>
                  </a:lnTo>
                  <a:lnTo>
                    <a:pt x="131" y="22"/>
                  </a:lnTo>
                  <a:lnTo>
                    <a:pt x="139" y="27"/>
                  </a:lnTo>
                  <a:lnTo>
                    <a:pt x="145" y="29"/>
                  </a:lnTo>
                  <a:lnTo>
                    <a:pt x="153" y="30"/>
                  </a:lnTo>
                  <a:lnTo>
                    <a:pt x="163" y="39"/>
                  </a:lnTo>
                  <a:lnTo>
                    <a:pt x="173" y="50"/>
                  </a:lnTo>
                  <a:lnTo>
                    <a:pt x="173" y="61"/>
                  </a:lnTo>
                  <a:lnTo>
                    <a:pt x="173" y="69"/>
                  </a:lnTo>
                  <a:lnTo>
                    <a:pt x="173" y="80"/>
                  </a:lnTo>
                  <a:lnTo>
                    <a:pt x="173" y="98"/>
                  </a:lnTo>
                  <a:lnTo>
                    <a:pt x="173" y="109"/>
                  </a:lnTo>
                  <a:lnTo>
                    <a:pt x="171" y="118"/>
                  </a:lnTo>
                  <a:lnTo>
                    <a:pt x="167" y="127"/>
                  </a:lnTo>
                  <a:lnTo>
                    <a:pt x="163" y="135"/>
                  </a:lnTo>
                  <a:lnTo>
                    <a:pt x="152" y="151"/>
                  </a:lnTo>
                  <a:lnTo>
                    <a:pt x="140" y="167"/>
                  </a:lnTo>
                  <a:lnTo>
                    <a:pt x="128" y="183"/>
                  </a:lnTo>
                  <a:lnTo>
                    <a:pt x="117" y="200"/>
                  </a:lnTo>
                  <a:lnTo>
                    <a:pt x="112" y="209"/>
                  </a:lnTo>
                  <a:lnTo>
                    <a:pt x="109" y="219"/>
                  </a:lnTo>
                  <a:lnTo>
                    <a:pt x="108" y="229"/>
                  </a:lnTo>
                  <a:lnTo>
                    <a:pt x="107" y="240"/>
                  </a:lnTo>
                  <a:lnTo>
                    <a:pt x="108" y="273"/>
                  </a:lnTo>
                  <a:lnTo>
                    <a:pt x="109" y="293"/>
                  </a:lnTo>
                  <a:lnTo>
                    <a:pt x="110" y="302"/>
                  </a:lnTo>
                  <a:lnTo>
                    <a:pt x="109" y="313"/>
                  </a:lnTo>
                  <a:lnTo>
                    <a:pt x="109" y="327"/>
                  </a:lnTo>
                  <a:lnTo>
                    <a:pt x="107" y="345"/>
                  </a:lnTo>
                  <a:lnTo>
                    <a:pt x="97" y="346"/>
                  </a:lnTo>
                  <a:lnTo>
                    <a:pt x="88" y="347"/>
                  </a:lnTo>
                  <a:lnTo>
                    <a:pt x="79" y="349"/>
                  </a:lnTo>
                  <a:lnTo>
                    <a:pt x="71" y="351"/>
                  </a:lnTo>
                  <a:lnTo>
                    <a:pt x="63" y="353"/>
                  </a:lnTo>
                  <a:lnTo>
                    <a:pt x="55" y="355"/>
                  </a:lnTo>
                  <a:lnTo>
                    <a:pt x="48" y="357"/>
                  </a:lnTo>
                  <a:lnTo>
                    <a:pt x="40" y="357"/>
                  </a:lnTo>
                  <a:lnTo>
                    <a:pt x="40" y="216"/>
                  </a:lnTo>
                  <a:lnTo>
                    <a:pt x="40" y="206"/>
                  </a:lnTo>
                  <a:lnTo>
                    <a:pt x="39" y="197"/>
                  </a:lnTo>
                  <a:lnTo>
                    <a:pt x="37" y="188"/>
                  </a:lnTo>
                  <a:lnTo>
                    <a:pt x="34" y="179"/>
                  </a:lnTo>
                  <a:lnTo>
                    <a:pt x="28" y="161"/>
                  </a:lnTo>
                  <a:lnTo>
                    <a:pt x="20" y="143"/>
                  </a:lnTo>
                  <a:lnTo>
                    <a:pt x="13" y="126"/>
                  </a:lnTo>
                  <a:lnTo>
                    <a:pt x="7" y="110"/>
                  </a:lnTo>
                  <a:lnTo>
                    <a:pt x="4" y="101"/>
                  </a:lnTo>
                  <a:lnTo>
                    <a:pt x="3" y="94"/>
                  </a:lnTo>
                  <a:lnTo>
                    <a:pt x="0" y="87"/>
                  </a:lnTo>
                  <a:lnTo>
                    <a:pt x="0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3" name="Freeform 270"/>
            <p:cNvSpPr>
              <a:spLocks/>
            </p:cNvSpPr>
            <p:nvPr>
              <p:custDataLst>
                <p:tags r:id="rId198"/>
              </p:custDataLst>
            </p:nvPr>
          </p:nvSpPr>
          <p:spPr bwMode="auto">
            <a:xfrm>
              <a:off x="6884032" y="5150289"/>
              <a:ext cx="25400" cy="60325"/>
            </a:xfrm>
            <a:custGeom>
              <a:avLst/>
              <a:gdLst>
                <a:gd name="T0" fmla="*/ 2147483647 w 50"/>
                <a:gd name="T1" fmla="*/ 0 h 74"/>
                <a:gd name="T2" fmla="*/ 2147483647 w 50"/>
                <a:gd name="T3" fmla="*/ 2147483647 h 74"/>
                <a:gd name="T4" fmla="*/ 2147483647 w 50"/>
                <a:gd name="T5" fmla="*/ 2147483647 h 74"/>
                <a:gd name="T6" fmla="*/ 0 w 50"/>
                <a:gd name="T7" fmla="*/ 2147483647 h 74"/>
                <a:gd name="T8" fmla="*/ 0 w 50"/>
                <a:gd name="T9" fmla="*/ 2147483647 h 74"/>
                <a:gd name="T10" fmla="*/ 0 w 50"/>
                <a:gd name="T11" fmla="*/ 2147483647 h 74"/>
                <a:gd name="T12" fmla="*/ 2147483647 w 50"/>
                <a:gd name="T13" fmla="*/ 2147483647 h 74"/>
                <a:gd name="T14" fmla="*/ 2147483647 w 50"/>
                <a:gd name="T15" fmla="*/ 2147483647 h 74"/>
                <a:gd name="T16" fmla="*/ 2147483647 w 50"/>
                <a:gd name="T17" fmla="*/ 2147483647 h 74"/>
                <a:gd name="T18" fmla="*/ 2147483647 w 50"/>
                <a:gd name="T19" fmla="*/ 2147483647 h 74"/>
                <a:gd name="T20" fmla="*/ 2147483647 w 50"/>
                <a:gd name="T21" fmla="*/ 2147483647 h 74"/>
                <a:gd name="T22" fmla="*/ 2147483647 w 50"/>
                <a:gd name="T23" fmla="*/ 2147483647 h 74"/>
                <a:gd name="T24" fmla="*/ 2147483647 w 50"/>
                <a:gd name="T25" fmla="*/ 2147483647 h 74"/>
                <a:gd name="T26" fmla="*/ 2147483647 w 50"/>
                <a:gd name="T27" fmla="*/ 0 h 74"/>
                <a:gd name="T28" fmla="*/ 2147483647 w 50"/>
                <a:gd name="T29" fmla="*/ 0 h 74"/>
                <a:gd name="T30" fmla="*/ 2147483647 w 50"/>
                <a:gd name="T31" fmla="*/ 0 h 74"/>
                <a:gd name="T32" fmla="*/ 2147483647 w 50"/>
                <a:gd name="T33" fmla="*/ 0 h 74"/>
                <a:gd name="T34" fmla="*/ 2147483647 w 50"/>
                <a:gd name="T35" fmla="*/ 0 h 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50" h="74">
                  <a:moveTo>
                    <a:pt x="10" y="0"/>
                  </a:moveTo>
                  <a:lnTo>
                    <a:pt x="6" y="14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0" y="50"/>
                  </a:lnTo>
                  <a:lnTo>
                    <a:pt x="2" y="56"/>
                  </a:lnTo>
                  <a:lnTo>
                    <a:pt x="6" y="61"/>
                  </a:lnTo>
                  <a:lnTo>
                    <a:pt x="10" y="68"/>
                  </a:lnTo>
                  <a:lnTo>
                    <a:pt x="50" y="74"/>
                  </a:lnTo>
                  <a:lnTo>
                    <a:pt x="50" y="51"/>
                  </a:lnTo>
                  <a:lnTo>
                    <a:pt x="50" y="34"/>
                  </a:lnTo>
                  <a:lnTo>
                    <a:pt x="50" y="19"/>
                  </a:lnTo>
                  <a:lnTo>
                    <a:pt x="50" y="0"/>
                  </a:lnTo>
                  <a:lnTo>
                    <a:pt x="38" y="0"/>
                  </a:lnTo>
                  <a:lnTo>
                    <a:pt x="25" y="0"/>
                  </a:lnTo>
                  <a:lnTo>
                    <a:pt x="14" y="0"/>
                  </a:lnTo>
                  <a:lnTo>
                    <a:pt x="1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4" name="Freeform 271"/>
            <p:cNvSpPr>
              <a:spLocks/>
            </p:cNvSpPr>
            <p:nvPr>
              <p:custDataLst>
                <p:tags r:id="rId199"/>
              </p:custDataLst>
            </p:nvPr>
          </p:nvSpPr>
          <p:spPr bwMode="auto">
            <a:xfrm>
              <a:off x="6779257" y="5247127"/>
              <a:ext cx="61912" cy="57150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5" name="Freeform 272"/>
            <p:cNvSpPr>
              <a:spLocks/>
            </p:cNvSpPr>
            <p:nvPr>
              <p:custDataLst>
                <p:tags r:id="rId200"/>
              </p:custDataLst>
            </p:nvPr>
          </p:nvSpPr>
          <p:spPr bwMode="auto">
            <a:xfrm>
              <a:off x="8996994" y="2961127"/>
              <a:ext cx="120650" cy="171450"/>
            </a:xfrm>
            <a:custGeom>
              <a:avLst/>
              <a:gdLst>
                <a:gd name="T0" fmla="*/ 2147483647 w 266"/>
                <a:gd name="T1" fmla="*/ 2147483647 h 326"/>
                <a:gd name="T2" fmla="*/ 2147483647 w 266"/>
                <a:gd name="T3" fmla="*/ 2147483647 h 326"/>
                <a:gd name="T4" fmla="*/ 2147483647 w 266"/>
                <a:gd name="T5" fmla="*/ 2147483647 h 326"/>
                <a:gd name="T6" fmla="*/ 2147483647 w 266"/>
                <a:gd name="T7" fmla="*/ 2147483647 h 326"/>
                <a:gd name="T8" fmla="*/ 2147483647 w 266"/>
                <a:gd name="T9" fmla="*/ 2147483647 h 326"/>
                <a:gd name="T10" fmla="*/ 2147483647 w 266"/>
                <a:gd name="T11" fmla="*/ 2147483647 h 326"/>
                <a:gd name="T12" fmla="*/ 2147483647 w 266"/>
                <a:gd name="T13" fmla="*/ 2147483647 h 326"/>
                <a:gd name="T14" fmla="*/ 2147483647 w 266"/>
                <a:gd name="T15" fmla="*/ 2147483647 h 326"/>
                <a:gd name="T16" fmla="*/ 2147483647 w 266"/>
                <a:gd name="T17" fmla="*/ 2147483647 h 326"/>
                <a:gd name="T18" fmla="*/ 2147483647 w 266"/>
                <a:gd name="T19" fmla="*/ 2147483647 h 326"/>
                <a:gd name="T20" fmla="*/ 2147483647 w 266"/>
                <a:gd name="T21" fmla="*/ 2147483647 h 326"/>
                <a:gd name="T22" fmla="*/ 2147483647 w 266"/>
                <a:gd name="T23" fmla="*/ 2147483647 h 326"/>
                <a:gd name="T24" fmla="*/ 2147483647 w 266"/>
                <a:gd name="T25" fmla="*/ 2147483647 h 326"/>
                <a:gd name="T26" fmla="*/ 2147483647 w 266"/>
                <a:gd name="T27" fmla="*/ 2147483647 h 326"/>
                <a:gd name="T28" fmla="*/ 2147483647 w 266"/>
                <a:gd name="T29" fmla="*/ 2147483647 h 326"/>
                <a:gd name="T30" fmla="*/ 2147483647 w 266"/>
                <a:gd name="T31" fmla="*/ 2147483647 h 326"/>
                <a:gd name="T32" fmla="*/ 2147483647 w 266"/>
                <a:gd name="T33" fmla="*/ 2147483647 h 326"/>
                <a:gd name="T34" fmla="*/ 2147483647 w 266"/>
                <a:gd name="T35" fmla="*/ 2147483647 h 326"/>
                <a:gd name="T36" fmla="*/ 2147483647 w 266"/>
                <a:gd name="T37" fmla="*/ 2147483647 h 326"/>
                <a:gd name="T38" fmla="*/ 2147483647 w 266"/>
                <a:gd name="T39" fmla="*/ 2147483647 h 326"/>
                <a:gd name="T40" fmla="*/ 2147483647 w 266"/>
                <a:gd name="T41" fmla="*/ 2147483647 h 326"/>
                <a:gd name="T42" fmla="*/ 2147483647 w 266"/>
                <a:gd name="T43" fmla="*/ 2147483647 h 326"/>
                <a:gd name="T44" fmla="*/ 2147483647 w 266"/>
                <a:gd name="T45" fmla="*/ 2147483647 h 326"/>
                <a:gd name="T46" fmla="*/ 2147483647 w 266"/>
                <a:gd name="T47" fmla="*/ 2147483647 h 326"/>
                <a:gd name="T48" fmla="*/ 2147483647 w 266"/>
                <a:gd name="T49" fmla="*/ 2147483647 h 326"/>
                <a:gd name="T50" fmla="*/ 2147483647 w 266"/>
                <a:gd name="T51" fmla="*/ 2147483647 h 326"/>
                <a:gd name="T52" fmla="*/ 2147483647 w 266"/>
                <a:gd name="T53" fmla="*/ 2147483647 h 326"/>
                <a:gd name="T54" fmla="*/ 2147483647 w 266"/>
                <a:gd name="T55" fmla="*/ 2147483647 h 326"/>
                <a:gd name="T56" fmla="*/ 2147483647 w 266"/>
                <a:gd name="T57" fmla="*/ 2147483647 h 326"/>
                <a:gd name="T58" fmla="*/ 2147483647 w 266"/>
                <a:gd name="T59" fmla="*/ 2147483647 h 326"/>
                <a:gd name="T60" fmla="*/ 2147483647 w 266"/>
                <a:gd name="T61" fmla="*/ 2147483647 h 326"/>
                <a:gd name="T62" fmla="*/ 2147483647 w 266"/>
                <a:gd name="T63" fmla="*/ 2147483647 h 326"/>
                <a:gd name="T64" fmla="*/ 2147483647 w 266"/>
                <a:gd name="T65" fmla="*/ 2147483647 h 326"/>
                <a:gd name="T66" fmla="*/ 2147483647 w 266"/>
                <a:gd name="T67" fmla="*/ 2147483647 h 326"/>
                <a:gd name="T68" fmla="*/ 2147483647 w 266"/>
                <a:gd name="T69" fmla="*/ 2147483647 h 326"/>
                <a:gd name="T70" fmla="*/ 2147483647 w 266"/>
                <a:gd name="T71" fmla="*/ 2147483647 h 326"/>
                <a:gd name="T72" fmla="*/ 2147483647 w 266"/>
                <a:gd name="T73" fmla="*/ 2147483647 h 326"/>
                <a:gd name="T74" fmla="*/ 2147483647 w 266"/>
                <a:gd name="T75" fmla="*/ 2147483647 h 326"/>
                <a:gd name="T76" fmla="*/ 2147483647 w 266"/>
                <a:gd name="T77" fmla="*/ 2147483647 h 326"/>
                <a:gd name="T78" fmla="*/ 2147483647 w 266"/>
                <a:gd name="T79" fmla="*/ 2147483647 h 326"/>
                <a:gd name="T80" fmla="*/ 2147483647 w 266"/>
                <a:gd name="T81" fmla="*/ 2147483647 h 326"/>
                <a:gd name="T82" fmla="*/ 2147483647 w 266"/>
                <a:gd name="T83" fmla="*/ 2147483647 h 326"/>
                <a:gd name="T84" fmla="*/ 2147483647 w 266"/>
                <a:gd name="T85" fmla="*/ 2147483647 h 326"/>
                <a:gd name="T86" fmla="*/ 2147483647 w 266"/>
                <a:gd name="T87" fmla="*/ 2147483647 h 326"/>
                <a:gd name="T88" fmla="*/ 2147483647 w 266"/>
                <a:gd name="T89" fmla="*/ 2147483647 h 326"/>
                <a:gd name="T90" fmla="*/ 2147483647 w 266"/>
                <a:gd name="T91" fmla="*/ 2147483647 h 326"/>
                <a:gd name="T92" fmla="*/ 2147483647 w 266"/>
                <a:gd name="T93" fmla="*/ 2147483647 h 326"/>
                <a:gd name="T94" fmla="*/ 2147483647 w 266"/>
                <a:gd name="T95" fmla="*/ 2147483647 h 326"/>
                <a:gd name="T96" fmla="*/ 2147483647 w 266"/>
                <a:gd name="T97" fmla="*/ 2147483647 h 326"/>
                <a:gd name="T98" fmla="*/ 2147483647 w 266"/>
                <a:gd name="T99" fmla="*/ 2147483647 h 326"/>
                <a:gd name="T100" fmla="*/ 2147483647 w 266"/>
                <a:gd name="T101" fmla="*/ 0 h 3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66" h="326">
                  <a:moveTo>
                    <a:pt x="246" y="0"/>
                  </a:moveTo>
                  <a:lnTo>
                    <a:pt x="241" y="4"/>
                  </a:lnTo>
                  <a:lnTo>
                    <a:pt x="240" y="9"/>
                  </a:lnTo>
                  <a:lnTo>
                    <a:pt x="239" y="16"/>
                  </a:lnTo>
                  <a:lnTo>
                    <a:pt x="239" y="24"/>
                  </a:lnTo>
                  <a:lnTo>
                    <a:pt x="240" y="28"/>
                  </a:lnTo>
                  <a:lnTo>
                    <a:pt x="243" y="33"/>
                  </a:lnTo>
                  <a:lnTo>
                    <a:pt x="246" y="38"/>
                  </a:lnTo>
                  <a:lnTo>
                    <a:pt x="249" y="42"/>
                  </a:lnTo>
                  <a:lnTo>
                    <a:pt x="256" y="50"/>
                  </a:lnTo>
                  <a:lnTo>
                    <a:pt x="259" y="55"/>
                  </a:lnTo>
                  <a:lnTo>
                    <a:pt x="245" y="55"/>
                  </a:lnTo>
                  <a:lnTo>
                    <a:pt x="234" y="54"/>
                  </a:lnTo>
                  <a:lnTo>
                    <a:pt x="229" y="52"/>
                  </a:lnTo>
                  <a:lnTo>
                    <a:pt x="225" y="50"/>
                  </a:lnTo>
                  <a:lnTo>
                    <a:pt x="222" y="47"/>
                  </a:lnTo>
                  <a:lnTo>
                    <a:pt x="220" y="43"/>
                  </a:lnTo>
                  <a:lnTo>
                    <a:pt x="210" y="51"/>
                  </a:lnTo>
                  <a:lnTo>
                    <a:pt x="201" y="58"/>
                  </a:lnTo>
                  <a:lnTo>
                    <a:pt x="198" y="62"/>
                  </a:lnTo>
                  <a:lnTo>
                    <a:pt x="195" y="65"/>
                  </a:lnTo>
                  <a:lnTo>
                    <a:pt x="193" y="69"/>
                  </a:lnTo>
                  <a:lnTo>
                    <a:pt x="192" y="73"/>
                  </a:lnTo>
                  <a:lnTo>
                    <a:pt x="193" y="78"/>
                  </a:lnTo>
                  <a:lnTo>
                    <a:pt x="194" y="82"/>
                  </a:lnTo>
                  <a:lnTo>
                    <a:pt x="195" y="86"/>
                  </a:lnTo>
                  <a:lnTo>
                    <a:pt x="198" y="89"/>
                  </a:lnTo>
                  <a:lnTo>
                    <a:pt x="203" y="97"/>
                  </a:lnTo>
                  <a:lnTo>
                    <a:pt x="210" y="104"/>
                  </a:lnTo>
                  <a:lnTo>
                    <a:pt x="215" y="110"/>
                  </a:lnTo>
                  <a:lnTo>
                    <a:pt x="221" y="116"/>
                  </a:lnTo>
                  <a:lnTo>
                    <a:pt x="223" y="119"/>
                  </a:lnTo>
                  <a:lnTo>
                    <a:pt x="224" y="122"/>
                  </a:lnTo>
                  <a:lnTo>
                    <a:pt x="225" y="125"/>
                  </a:lnTo>
                  <a:lnTo>
                    <a:pt x="226" y="129"/>
                  </a:lnTo>
                  <a:lnTo>
                    <a:pt x="225" y="133"/>
                  </a:lnTo>
                  <a:lnTo>
                    <a:pt x="225" y="137"/>
                  </a:lnTo>
                  <a:lnTo>
                    <a:pt x="223" y="140"/>
                  </a:lnTo>
                  <a:lnTo>
                    <a:pt x="222" y="143"/>
                  </a:lnTo>
                  <a:lnTo>
                    <a:pt x="217" y="148"/>
                  </a:lnTo>
                  <a:lnTo>
                    <a:pt x="213" y="152"/>
                  </a:lnTo>
                  <a:lnTo>
                    <a:pt x="207" y="154"/>
                  </a:lnTo>
                  <a:lnTo>
                    <a:pt x="203" y="156"/>
                  </a:lnTo>
                  <a:lnTo>
                    <a:pt x="201" y="158"/>
                  </a:lnTo>
                  <a:lnTo>
                    <a:pt x="200" y="160"/>
                  </a:lnTo>
                  <a:lnTo>
                    <a:pt x="193" y="161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5" y="170"/>
                  </a:lnTo>
                  <a:lnTo>
                    <a:pt x="168" y="174"/>
                  </a:lnTo>
                  <a:lnTo>
                    <a:pt x="164" y="178"/>
                  </a:lnTo>
                  <a:lnTo>
                    <a:pt x="160" y="181"/>
                  </a:lnTo>
                  <a:lnTo>
                    <a:pt x="159" y="184"/>
                  </a:lnTo>
                  <a:lnTo>
                    <a:pt x="160" y="191"/>
                  </a:lnTo>
                  <a:lnTo>
                    <a:pt x="164" y="197"/>
                  </a:lnTo>
                  <a:lnTo>
                    <a:pt x="168" y="203"/>
                  </a:lnTo>
                  <a:lnTo>
                    <a:pt x="173" y="207"/>
                  </a:lnTo>
                  <a:lnTo>
                    <a:pt x="179" y="211"/>
                  </a:lnTo>
                  <a:lnTo>
                    <a:pt x="184" y="213"/>
                  </a:lnTo>
                  <a:lnTo>
                    <a:pt x="189" y="215"/>
                  </a:lnTo>
                  <a:lnTo>
                    <a:pt x="192" y="215"/>
                  </a:lnTo>
                  <a:lnTo>
                    <a:pt x="204" y="221"/>
                  </a:lnTo>
                  <a:lnTo>
                    <a:pt x="214" y="227"/>
                  </a:lnTo>
                  <a:lnTo>
                    <a:pt x="223" y="234"/>
                  </a:lnTo>
                  <a:lnTo>
                    <a:pt x="231" y="241"/>
                  </a:lnTo>
                  <a:lnTo>
                    <a:pt x="245" y="259"/>
                  </a:lnTo>
                  <a:lnTo>
                    <a:pt x="259" y="277"/>
                  </a:lnTo>
                  <a:lnTo>
                    <a:pt x="266" y="283"/>
                  </a:lnTo>
                  <a:lnTo>
                    <a:pt x="251" y="285"/>
                  </a:lnTo>
                  <a:lnTo>
                    <a:pt x="239" y="286"/>
                  </a:lnTo>
                  <a:lnTo>
                    <a:pt x="228" y="288"/>
                  </a:lnTo>
                  <a:lnTo>
                    <a:pt x="220" y="291"/>
                  </a:lnTo>
                  <a:lnTo>
                    <a:pt x="215" y="293"/>
                  </a:lnTo>
                  <a:lnTo>
                    <a:pt x="211" y="295"/>
                  </a:lnTo>
                  <a:lnTo>
                    <a:pt x="207" y="298"/>
                  </a:lnTo>
                  <a:lnTo>
                    <a:pt x="204" y="302"/>
                  </a:lnTo>
                  <a:lnTo>
                    <a:pt x="201" y="306"/>
                  </a:lnTo>
                  <a:lnTo>
                    <a:pt x="198" y="312"/>
                  </a:lnTo>
                  <a:lnTo>
                    <a:pt x="195" y="319"/>
                  </a:lnTo>
                  <a:lnTo>
                    <a:pt x="192" y="326"/>
                  </a:lnTo>
                  <a:lnTo>
                    <a:pt x="189" y="326"/>
                  </a:lnTo>
                  <a:lnTo>
                    <a:pt x="179" y="325"/>
                  </a:lnTo>
                  <a:lnTo>
                    <a:pt x="175" y="323"/>
                  </a:lnTo>
                  <a:lnTo>
                    <a:pt x="170" y="321"/>
                  </a:lnTo>
                  <a:lnTo>
                    <a:pt x="168" y="320"/>
                  </a:lnTo>
                  <a:lnTo>
                    <a:pt x="167" y="318"/>
                  </a:lnTo>
                  <a:lnTo>
                    <a:pt x="167" y="316"/>
                  </a:lnTo>
                  <a:lnTo>
                    <a:pt x="166" y="314"/>
                  </a:lnTo>
                  <a:lnTo>
                    <a:pt x="159" y="314"/>
                  </a:lnTo>
                  <a:lnTo>
                    <a:pt x="154" y="310"/>
                  </a:lnTo>
                  <a:lnTo>
                    <a:pt x="148" y="308"/>
                  </a:lnTo>
                  <a:lnTo>
                    <a:pt x="144" y="304"/>
                  </a:lnTo>
                  <a:lnTo>
                    <a:pt x="139" y="301"/>
                  </a:lnTo>
                  <a:lnTo>
                    <a:pt x="135" y="298"/>
                  </a:lnTo>
                  <a:lnTo>
                    <a:pt x="131" y="296"/>
                  </a:lnTo>
                  <a:lnTo>
                    <a:pt x="126" y="295"/>
                  </a:lnTo>
                  <a:lnTo>
                    <a:pt x="120" y="295"/>
                  </a:lnTo>
                  <a:lnTo>
                    <a:pt x="109" y="293"/>
                  </a:lnTo>
                  <a:lnTo>
                    <a:pt x="98" y="290"/>
                  </a:lnTo>
                  <a:lnTo>
                    <a:pt x="84" y="287"/>
                  </a:lnTo>
                  <a:lnTo>
                    <a:pt x="72" y="282"/>
                  </a:lnTo>
                  <a:lnTo>
                    <a:pt x="63" y="277"/>
                  </a:lnTo>
                  <a:lnTo>
                    <a:pt x="58" y="274"/>
                  </a:lnTo>
                  <a:lnTo>
                    <a:pt x="56" y="271"/>
                  </a:lnTo>
                  <a:lnTo>
                    <a:pt x="54" y="268"/>
                  </a:lnTo>
                  <a:lnTo>
                    <a:pt x="53" y="265"/>
                  </a:lnTo>
                  <a:lnTo>
                    <a:pt x="54" y="261"/>
                  </a:lnTo>
                  <a:lnTo>
                    <a:pt x="55" y="256"/>
                  </a:lnTo>
                  <a:lnTo>
                    <a:pt x="58" y="252"/>
                  </a:lnTo>
                  <a:lnTo>
                    <a:pt x="61" y="249"/>
                  </a:lnTo>
                  <a:lnTo>
                    <a:pt x="70" y="244"/>
                  </a:lnTo>
                  <a:lnTo>
                    <a:pt x="80" y="240"/>
                  </a:lnTo>
                  <a:lnTo>
                    <a:pt x="68" y="230"/>
                  </a:lnTo>
                  <a:lnTo>
                    <a:pt x="59" y="221"/>
                  </a:lnTo>
                  <a:lnTo>
                    <a:pt x="50" y="211"/>
                  </a:lnTo>
                  <a:lnTo>
                    <a:pt x="43" y="203"/>
                  </a:lnTo>
                  <a:lnTo>
                    <a:pt x="34" y="194"/>
                  </a:lnTo>
                  <a:lnTo>
                    <a:pt x="24" y="187"/>
                  </a:lnTo>
                  <a:lnTo>
                    <a:pt x="20" y="184"/>
                  </a:lnTo>
                  <a:lnTo>
                    <a:pt x="13" y="182"/>
                  </a:lnTo>
                  <a:lnTo>
                    <a:pt x="7" y="180"/>
                  </a:lnTo>
                  <a:lnTo>
                    <a:pt x="0" y="178"/>
                  </a:lnTo>
                  <a:lnTo>
                    <a:pt x="4" y="171"/>
                  </a:lnTo>
                  <a:lnTo>
                    <a:pt x="9" y="164"/>
                  </a:lnTo>
                  <a:lnTo>
                    <a:pt x="13" y="158"/>
                  </a:lnTo>
                  <a:lnTo>
                    <a:pt x="19" y="152"/>
                  </a:lnTo>
                  <a:lnTo>
                    <a:pt x="31" y="141"/>
                  </a:lnTo>
                  <a:lnTo>
                    <a:pt x="43" y="133"/>
                  </a:lnTo>
                  <a:lnTo>
                    <a:pt x="54" y="124"/>
                  </a:lnTo>
                  <a:lnTo>
                    <a:pt x="65" y="115"/>
                  </a:lnTo>
                  <a:lnTo>
                    <a:pt x="69" y="110"/>
                  </a:lnTo>
                  <a:lnTo>
                    <a:pt x="73" y="105"/>
                  </a:lnTo>
                  <a:lnTo>
                    <a:pt x="77" y="99"/>
                  </a:lnTo>
                  <a:lnTo>
                    <a:pt x="80" y="92"/>
                  </a:lnTo>
                  <a:lnTo>
                    <a:pt x="88" y="92"/>
                  </a:lnTo>
                  <a:lnTo>
                    <a:pt x="95" y="90"/>
                  </a:lnTo>
                  <a:lnTo>
                    <a:pt x="103" y="89"/>
                  </a:lnTo>
                  <a:lnTo>
                    <a:pt x="110" y="88"/>
                  </a:lnTo>
                  <a:lnTo>
                    <a:pt x="123" y="83"/>
                  </a:lnTo>
                  <a:lnTo>
                    <a:pt x="134" y="77"/>
                  </a:lnTo>
                  <a:lnTo>
                    <a:pt x="144" y="70"/>
                  </a:lnTo>
                  <a:lnTo>
                    <a:pt x="153" y="63"/>
                  </a:lnTo>
                  <a:lnTo>
                    <a:pt x="160" y="55"/>
                  </a:lnTo>
                  <a:lnTo>
                    <a:pt x="168" y="46"/>
                  </a:lnTo>
                  <a:lnTo>
                    <a:pt x="176" y="38"/>
                  </a:lnTo>
                  <a:lnTo>
                    <a:pt x="182" y="28"/>
                  </a:lnTo>
                  <a:lnTo>
                    <a:pt x="191" y="21"/>
                  </a:lnTo>
                  <a:lnTo>
                    <a:pt x="199" y="14"/>
                  </a:lnTo>
                  <a:lnTo>
                    <a:pt x="209" y="8"/>
                  </a:lnTo>
                  <a:lnTo>
                    <a:pt x="220" y="4"/>
                  </a:lnTo>
                  <a:lnTo>
                    <a:pt x="225" y="2"/>
                  </a:lnTo>
                  <a:lnTo>
                    <a:pt x="232" y="1"/>
                  </a:lnTo>
                  <a:lnTo>
                    <a:pt x="238" y="0"/>
                  </a:lnTo>
                  <a:lnTo>
                    <a:pt x="2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6" name="Freeform 273"/>
            <p:cNvSpPr>
              <a:spLocks/>
            </p:cNvSpPr>
            <p:nvPr>
              <p:custDataLst>
                <p:tags r:id="rId201"/>
              </p:custDataLst>
            </p:nvPr>
          </p:nvSpPr>
          <p:spPr bwMode="auto">
            <a:xfrm>
              <a:off x="8068307" y="3375464"/>
              <a:ext cx="206375" cy="123825"/>
            </a:xfrm>
            <a:custGeom>
              <a:avLst/>
              <a:gdLst>
                <a:gd name="T0" fmla="*/ 2147483647 w 471"/>
                <a:gd name="T1" fmla="*/ 0 h 237"/>
                <a:gd name="T2" fmla="*/ 2147483647 w 471"/>
                <a:gd name="T3" fmla="*/ 2147483647 h 237"/>
                <a:gd name="T4" fmla="*/ 2147483647 w 471"/>
                <a:gd name="T5" fmla="*/ 2147483647 h 237"/>
                <a:gd name="T6" fmla="*/ 2147483647 w 471"/>
                <a:gd name="T7" fmla="*/ 2147483647 h 237"/>
                <a:gd name="T8" fmla="*/ 2147483647 w 471"/>
                <a:gd name="T9" fmla="*/ 2147483647 h 237"/>
                <a:gd name="T10" fmla="*/ 2147483647 w 471"/>
                <a:gd name="T11" fmla="*/ 2147483647 h 237"/>
                <a:gd name="T12" fmla="*/ 2147483647 w 471"/>
                <a:gd name="T13" fmla="*/ 2147483647 h 237"/>
                <a:gd name="T14" fmla="*/ 2147483647 w 471"/>
                <a:gd name="T15" fmla="*/ 2147483647 h 237"/>
                <a:gd name="T16" fmla="*/ 2147483647 w 471"/>
                <a:gd name="T17" fmla="*/ 2147483647 h 237"/>
                <a:gd name="T18" fmla="*/ 2147483647 w 471"/>
                <a:gd name="T19" fmla="*/ 2147483647 h 237"/>
                <a:gd name="T20" fmla="*/ 2147483647 w 471"/>
                <a:gd name="T21" fmla="*/ 2147483647 h 237"/>
                <a:gd name="T22" fmla="*/ 2147483647 w 471"/>
                <a:gd name="T23" fmla="*/ 2147483647 h 237"/>
                <a:gd name="T24" fmla="*/ 2147483647 w 471"/>
                <a:gd name="T25" fmla="*/ 2147483647 h 237"/>
                <a:gd name="T26" fmla="*/ 2147483647 w 471"/>
                <a:gd name="T27" fmla="*/ 2147483647 h 237"/>
                <a:gd name="T28" fmla="*/ 2147483647 w 471"/>
                <a:gd name="T29" fmla="*/ 2147483647 h 237"/>
                <a:gd name="T30" fmla="*/ 2147483647 w 471"/>
                <a:gd name="T31" fmla="*/ 2147483647 h 237"/>
                <a:gd name="T32" fmla="*/ 2147483647 w 471"/>
                <a:gd name="T33" fmla="*/ 2147483647 h 237"/>
                <a:gd name="T34" fmla="*/ 2147483647 w 471"/>
                <a:gd name="T35" fmla="*/ 2147483647 h 237"/>
                <a:gd name="T36" fmla="*/ 2147483647 w 471"/>
                <a:gd name="T37" fmla="*/ 2147483647 h 237"/>
                <a:gd name="T38" fmla="*/ 2147483647 w 471"/>
                <a:gd name="T39" fmla="*/ 2147483647 h 237"/>
                <a:gd name="T40" fmla="*/ 2147483647 w 471"/>
                <a:gd name="T41" fmla="*/ 2147483647 h 237"/>
                <a:gd name="T42" fmla="*/ 2147483647 w 471"/>
                <a:gd name="T43" fmla="*/ 2147483647 h 237"/>
                <a:gd name="T44" fmla="*/ 2147483647 w 471"/>
                <a:gd name="T45" fmla="*/ 2147483647 h 237"/>
                <a:gd name="T46" fmla="*/ 2147483647 w 471"/>
                <a:gd name="T47" fmla="*/ 2147483647 h 237"/>
                <a:gd name="T48" fmla="*/ 2147483647 w 471"/>
                <a:gd name="T49" fmla="*/ 2147483647 h 237"/>
                <a:gd name="T50" fmla="*/ 2147483647 w 471"/>
                <a:gd name="T51" fmla="*/ 2147483647 h 237"/>
                <a:gd name="T52" fmla="*/ 2147483647 w 471"/>
                <a:gd name="T53" fmla="*/ 2147483647 h 237"/>
                <a:gd name="T54" fmla="*/ 2147483647 w 471"/>
                <a:gd name="T55" fmla="*/ 2147483647 h 237"/>
                <a:gd name="T56" fmla="*/ 2147483647 w 471"/>
                <a:gd name="T57" fmla="*/ 2147483647 h 237"/>
                <a:gd name="T58" fmla="*/ 2147483647 w 471"/>
                <a:gd name="T59" fmla="*/ 2147483647 h 237"/>
                <a:gd name="T60" fmla="*/ 2147483647 w 471"/>
                <a:gd name="T61" fmla="*/ 2147483647 h 237"/>
                <a:gd name="T62" fmla="*/ 2147483647 w 471"/>
                <a:gd name="T63" fmla="*/ 2147483647 h 237"/>
                <a:gd name="T64" fmla="*/ 2147483647 w 471"/>
                <a:gd name="T65" fmla="*/ 2147483647 h 237"/>
                <a:gd name="T66" fmla="*/ 2147483647 w 471"/>
                <a:gd name="T67" fmla="*/ 2147483647 h 237"/>
                <a:gd name="T68" fmla="*/ 2147483647 w 471"/>
                <a:gd name="T69" fmla="*/ 2147483647 h 237"/>
                <a:gd name="T70" fmla="*/ 2147483647 w 471"/>
                <a:gd name="T71" fmla="*/ 2147483647 h 237"/>
                <a:gd name="T72" fmla="*/ 2147483647 w 471"/>
                <a:gd name="T73" fmla="*/ 2147483647 h 237"/>
                <a:gd name="T74" fmla="*/ 2147483647 w 471"/>
                <a:gd name="T75" fmla="*/ 0 h 2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71" h="237">
                  <a:moveTo>
                    <a:pt x="7" y="0"/>
                  </a:moveTo>
                  <a:lnTo>
                    <a:pt x="86" y="0"/>
                  </a:lnTo>
                  <a:lnTo>
                    <a:pt x="89" y="4"/>
                  </a:lnTo>
                  <a:lnTo>
                    <a:pt x="92" y="7"/>
                  </a:lnTo>
                  <a:lnTo>
                    <a:pt x="97" y="10"/>
                  </a:lnTo>
                  <a:lnTo>
                    <a:pt x="102" y="13"/>
                  </a:lnTo>
                  <a:lnTo>
                    <a:pt x="113" y="18"/>
                  </a:lnTo>
                  <a:lnTo>
                    <a:pt x="125" y="23"/>
                  </a:lnTo>
                  <a:lnTo>
                    <a:pt x="147" y="32"/>
                  </a:lnTo>
                  <a:lnTo>
                    <a:pt x="159" y="37"/>
                  </a:lnTo>
                  <a:lnTo>
                    <a:pt x="192" y="58"/>
                  </a:lnTo>
                  <a:lnTo>
                    <a:pt x="223" y="77"/>
                  </a:lnTo>
                  <a:lnTo>
                    <a:pt x="237" y="88"/>
                  </a:lnTo>
                  <a:lnTo>
                    <a:pt x="253" y="97"/>
                  </a:lnTo>
                  <a:lnTo>
                    <a:pt x="267" y="105"/>
                  </a:lnTo>
                  <a:lnTo>
                    <a:pt x="283" y="113"/>
                  </a:lnTo>
                  <a:lnTo>
                    <a:pt x="299" y="121"/>
                  </a:lnTo>
                  <a:lnTo>
                    <a:pt x="316" y="127"/>
                  </a:lnTo>
                  <a:lnTo>
                    <a:pt x="335" y="133"/>
                  </a:lnTo>
                  <a:lnTo>
                    <a:pt x="355" y="139"/>
                  </a:lnTo>
                  <a:lnTo>
                    <a:pt x="376" y="143"/>
                  </a:lnTo>
                  <a:lnTo>
                    <a:pt x="399" y="146"/>
                  </a:lnTo>
                  <a:lnTo>
                    <a:pt x="424" y="148"/>
                  </a:lnTo>
                  <a:lnTo>
                    <a:pt x="451" y="148"/>
                  </a:lnTo>
                  <a:lnTo>
                    <a:pt x="451" y="179"/>
                  </a:lnTo>
                  <a:lnTo>
                    <a:pt x="452" y="187"/>
                  </a:lnTo>
                  <a:lnTo>
                    <a:pt x="457" y="202"/>
                  </a:lnTo>
                  <a:lnTo>
                    <a:pt x="459" y="211"/>
                  </a:lnTo>
                  <a:lnTo>
                    <a:pt x="462" y="219"/>
                  </a:lnTo>
                  <a:lnTo>
                    <a:pt x="467" y="227"/>
                  </a:lnTo>
                  <a:lnTo>
                    <a:pt x="471" y="234"/>
                  </a:lnTo>
                  <a:lnTo>
                    <a:pt x="467" y="236"/>
                  </a:lnTo>
                  <a:lnTo>
                    <a:pt x="459" y="237"/>
                  </a:lnTo>
                  <a:lnTo>
                    <a:pt x="451" y="236"/>
                  </a:lnTo>
                  <a:lnTo>
                    <a:pt x="440" y="235"/>
                  </a:lnTo>
                  <a:lnTo>
                    <a:pt x="416" y="231"/>
                  </a:lnTo>
                  <a:lnTo>
                    <a:pt x="390" y="226"/>
                  </a:lnTo>
                  <a:lnTo>
                    <a:pt x="362" y="219"/>
                  </a:lnTo>
                  <a:lnTo>
                    <a:pt x="337" y="213"/>
                  </a:lnTo>
                  <a:lnTo>
                    <a:pt x="315" y="207"/>
                  </a:lnTo>
                  <a:lnTo>
                    <a:pt x="299" y="204"/>
                  </a:lnTo>
                  <a:lnTo>
                    <a:pt x="294" y="203"/>
                  </a:lnTo>
                  <a:lnTo>
                    <a:pt x="290" y="201"/>
                  </a:lnTo>
                  <a:lnTo>
                    <a:pt x="287" y="199"/>
                  </a:lnTo>
                  <a:lnTo>
                    <a:pt x="283" y="196"/>
                  </a:lnTo>
                  <a:lnTo>
                    <a:pt x="277" y="190"/>
                  </a:lnTo>
                  <a:lnTo>
                    <a:pt x="272" y="184"/>
                  </a:lnTo>
                  <a:lnTo>
                    <a:pt x="267" y="178"/>
                  </a:lnTo>
                  <a:lnTo>
                    <a:pt x="261" y="171"/>
                  </a:lnTo>
                  <a:lnTo>
                    <a:pt x="255" y="166"/>
                  </a:lnTo>
                  <a:lnTo>
                    <a:pt x="246" y="160"/>
                  </a:lnTo>
                  <a:lnTo>
                    <a:pt x="240" y="159"/>
                  </a:lnTo>
                  <a:lnTo>
                    <a:pt x="234" y="158"/>
                  </a:lnTo>
                  <a:lnTo>
                    <a:pt x="227" y="159"/>
                  </a:lnTo>
                  <a:lnTo>
                    <a:pt x="221" y="159"/>
                  </a:lnTo>
                  <a:lnTo>
                    <a:pt x="205" y="163"/>
                  </a:lnTo>
                  <a:lnTo>
                    <a:pt x="191" y="166"/>
                  </a:lnTo>
                  <a:lnTo>
                    <a:pt x="183" y="167"/>
                  </a:lnTo>
                  <a:lnTo>
                    <a:pt x="176" y="168"/>
                  </a:lnTo>
                  <a:lnTo>
                    <a:pt x="169" y="168"/>
                  </a:lnTo>
                  <a:lnTo>
                    <a:pt x="164" y="166"/>
                  </a:lnTo>
                  <a:lnTo>
                    <a:pt x="158" y="164"/>
                  </a:lnTo>
                  <a:lnTo>
                    <a:pt x="153" y="161"/>
                  </a:lnTo>
                  <a:lnTo>
                    <a:pt x="148" y="155"/>
                  </a:lnTo>
                  <a:lnTo>
                    <a:pt x="146" y="148"/>
                  </a:lnTo>
                  <a:lnTo>
                    <a:pt x="139" y="148"/>
                  </a:lnTo>
                  <a:lnTo>
                    <a:pt x="131" y="147"/>
                  </a:lnTo>
                  <a:lnTo>
                    <a:pt x="122" y="145"/>
                  </a:lnTo>
                  <a:lnTo>
                    <a:pt x="113" y="142"/>
                  </a:lnTo>
                  <a:lnTo>
                    <a:pt x="92" y="135"/>
                  </a:lnTo>
                  <a:lnTo>
                    <a:pt x="70" y="126"/>
                  </a:lnTo>
                  <a:lnTo>
                    <a:pt x="48" y="117"/>
                  </a:lnTo>
                  <a:lnTo>
                    <a:pt x="29" y="107"/>
                  </a:lnTo>
                  <a:lnTo>
                    <a:pt x="12" y="96"/>
                  </a:lnTo>
                  <a:lnTo>
                    <a:pt x="0" y="87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7" name="Freeform 274"/>
            <p:cNvSpPr>
              <a:spLocks/>
            </p:cNvSpPr>
            <p:nvPr>
              <p:custDataLst>
                <p:tags r:id="rId202"/>
              </p:custDataLst>
            </p:nvPr>
          </p:nvSpPr>
          <p:spPr bwMode="auto">
            <a:xfrm>
              <a:off x="8284207" y="3431027"/>
              <a:ext cx="73025" cy="65087"/>
            </a:xfrm>
            <a:custGeom>
              <a:avLst/>
              <a:gdLst>
                <a:gd name="T0" fmla="*/ 2147483647 w 167"/>
                <a:gd name="T1" fmla="*/ 2147483647 h 123"/>
                <a:gd name="T2" fmla="*/ 2147483647 w 167"/>
                <a:gd name="T3" fmla="*/ 2147483647 h 123"/>
                <a:gd name="T4" fmla="*/ 2147483647 w 167"/>
                <a:gd name="T5" fmla="*/ 2147483647 h 123"/>
                <a:gd name="T6" fmla="*/ 2147483647 w 167"/>
                <a:gd name="T7" fmla="*/ 2147483647 h 123"/>
                <a:gd name="T8" fmla="*/ 2147483647 w 167"/>
                <a:gd name="T9" fmla="*/ 2147483647 h 123"/>
                <a:gd name="T10" fmla="*/ 2147483647 w 167"/>
                <a:gd name="T11" fmla="*/ 2147483647 h 123"/>
                <a:gd name="T12" fmla="*/ 2147483647 w 167"/>
                <a:gd name="T13" fmla="*/ 2147483647 h 123"/>
                <a:gd name="T14" fmla="*/ 2147483647 w 167"/>
                <a:gd name="T15" fmla="*/ 2147483647 h 123"/>
                <a:gd name="T16" fmla="*/ 2147483647 w 167"/>
                <a:gd name="T17" fmla="*/ 2147483647 h 123"/>
                <a:gd name="T18" fmla="*/ 2147483647 w 167"/>
                <a:gd name="T19" fmla="*/ 2147483647 h 123"/>
                <a:gd name="T20" fmla="*/ 2147483647 w 167"/>
                <a:gd name="T21" fmla="*/ 2147483647 h 123"/>
                <a:gd name="T22" fmla="*/ 2147483647 w 167"/>
                <a:gd name="T23" fmla="*/ 2147483647 h 123"/>
                <a:gd name="T24" fmla="*/ 2147483647 w 167"/>
                <a:gd name="T25" fmla="*/ 2147483647 h 123"/>
                <a:gd name="T26" fmla="*/ 2147483647 w 167"/>
                <a:gd name="T27" fmla="*/ 2147483647 h 123"/>
                <a:gd name="T28" fmla="*/ 2147483647 w 167"/>
                <a:gd name="T29" fmla="*/ 2147483647 h 123"/>
                <a:gd name="T30" fmla="*/ 2147483647 w 167"/>
                <a:gd name="T31" fmla="*/ 2147483647 h 123"/>
                <a:gd name="T32" fmla="*/ 2147483647 w 167"/>
                <a:gd name="T33" fmla="*/ 2147483647 h 123"/>
                <a:gd name="T34" fmla="*/ 2147483647 w 167"/>
                <a:gd name="T35" fmla="*/ 2147483647 h 123"/>
                <a:gd name="T36" fmla="*/ 2147483647 w 167"/>
                <a:gd name="T37" fmla="*/ 2147483647 h 123"/>
                <a:gd name="T38" fmla="*/ 2147483647 w 167"/>
                <a:gd name="T39" fmla="*/ 2147483647 h 123"/>
                <a:gd name="T40" fmla="*/ 2147483647 w 167"/>
                <a:gd name="T41" fmla="*/ 2147483647 h 123"/>
                <a:gd name="T42" fmla="*/ 2147483647 w 167"/>
                <a:gd name="T43" fmla="*/ 2147483647 h 123"/>
                <a:gd name="T44" fmla="*/ 2147483647 w 167"/>
                <a:gd name="T45" fmla="*/ 2147483647 h 123"/>
                <a:gd name="T46" fmla="*/ 2147483647 w 167"/>
                <a:gd name="T47" fmla="*/ 2147483647 h 123"/>
                <a:gd name="T48" fmla="*/ 0 w 167"/>
                <a:gd name="T49" fmla="*/ 2147483647 h 123"/>
                <a:gd name="T50" fmla="*/ 2147483647 w 167"/>
                <a:gd name="T51" fmla="*/ 2147483647 h 123"/>
                <a:gd name="T52" fmla="*/ 2147483647 w 167"/>
                <a:gd name="T53" fmla="*/ 2147483647 h 123"/>
                <a:gd name="T54" fmla="*/ 2147483647 w 167"/>
                <a:gd name="T55" fmla="*/ 2147483647 h 123"/>
                <a:gd name="T56" fmla="*/ 2147483647 w 167"/>
                <a:gd name="T57" fmla="*/ 2147483647 h 123"/>
                <a:gd name="T58" fmla="*/ 2147483647 w 167"/>
                <a:gd name="T59" fmla="*/ 2147483647 h 123"/>
                <a:gd name="T60" fmla="*/ 2147483647 w 167"/>
                <a:gd name="T61" fmla="*/ 2147483647 h 123"/>
                <a:gd name="T62" fmla="*/ 2147483647 w 167"/>
                <a:gd name="T63" fmla="*/ 2147483647 h 123"/>
                <a:gd name="T64" fmla="*/ 2147483647 w 167"/>
                <a:gd name="T65" fmla="*/ 2147483647 h 123"/>
                <a:gd name="T66" fmla="*/ 2147483647 w 167"/>
                <a:gd name="T67" fmla="*/ 2147483647 h 123"/>
                <a:gd name="T68" fmla="*/ 2147483647 w 167"/>
                <a:gd name="T69" fmla="*/ 2147483647 h 123"/>
                <a:gd name="T70" fmla="*/ 2147483647 w 167"/>
                <a:gd name="T71" fmla="*/ 2147483647 h 123"/>
                <a:gd name="T72" fmla="*/ 2147483647 w 167"/>
                <a:gd name="T73" fmla="*/ 0 h 123"/>
                <a:gd name="T74" fmla="*/ 2147483647 w 167"/>
                <a:gd name="T75" fmla="*/ 2147483647 h 123"/>
                <a:gd name="T76" fmla="*/ 2147483647 w 167"/>
                <a:gd name="T77" fmla="*/ 2147483647 h 123"/>
                <a:gd name="T78" fmla="*/ 2147483647 w 167"/>
                <a:gd name="T79" fmla="*/ 2147483647 h 123"/>
                <a:gd name="T80" fmla="*/ 2147483647 w 167"/>
                <a:gd name="T81" fmla="*/ 2147483647 h 123"/>
                <a:gd name="T82" fmla="*/ 2147483647 w 167"/>
                <a:gd name="T83" fmla="*/ 2147483647 h 123"/>
                <a:gd name="T84" fmla="*/ 2147483647 w 167"/>
                <a:gd name="T85" fmla="*/ 2147483647 h 123"/>
                <a:gd name="T86" fmla="*/ 2147483647 w 167"/>
                <a:gd name="T87" fmla="*/ 2147483647 h 123"/>
                <a:gd name="T88" fmla="*/ 2147483647 w 167"/>
                <a:gd name="T89" fmla="*/ 2147483647 h 123"/>
                <a:gd name="T90" fmla="*/ 2147483647 w 167"/>
                <a:gd name="T91" fmla="*/ 2147483647 h 123"/>
                <a:gd name="T92" fmla="*/ 2147483647 w 167"/>
                <a:gd name="T93" fmla="*/ 2147483647 h 12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167" h="123">
                  <a:moveTo>
                    <a:pt x="167" y="43"/>
                  </a:moveTo>
                  <a:lnTo>
                    <a:pt x="164" y="54"/>
                  </a:lnTo>
                  <a:lnTo>
                    <a:pt x="161" y="66"/>
                  </a:lnTo>
                  <a:lnTo>
                    <a:pt x="155" y="79"/>
                  </a:lnTo>
                  <a:lnTo>
                    <a:pt x="150" y="93"/>
                  </a:lnTo>
                  <a:lnTo>
                    <a:pt x="146" y="99"/>
                  </a:lnTo>
                  <a:lnTo>
                    <a:pt x="142" y="105"/>
                  </a:lnTo>
                  <a:lnTo>
                    <a:pt x="138" y="110"/>
                  </a:lnTo>
                  <a:lnTo>
                    <a:pt x="132" y="114"/>
                  </a:lnTo>
                  <a:lnTo>
                    <a:pt x="127" y="118"/>
                  </a:lnTo>
                  <a:lnTo>
                    <a:pt x="121" y="121"/>
                  </a:lnTo>
                  <a:lnTo>
                    <a:pt x="115" y="122"/>
                  </a:lnTo>
                  <a:lnTo>
                    <a:pt x="107" y="123"/>
                  </a:lnTo>
                  <a:lnTo>
                    <a:pt x="100" y="122"/>
                  </a:lnTo>
                  <a:lnTo>
                    <a:pt x="92" y="119"/>
                  </a:lnTo>
                  <a:lnTo>
                    <a:pt x="87" y="116"/>
                  </a:lnTo>
                  <a:lnTo>
                    <a:pt x="84" y="113"/>
                  </a:lnTo>
                  <a:lnTo>
                    <a:pt x="82" y="109"/>
                  </a:lnTo>
                  <a:lnTo>
                    <a:pt x="81" y="105"/>
                  </a:lnTo>
                  <a:lnTo>
                    <a:pt x="71" y="104"/>
                  </a:lnTo>
                  <a:lnTo>
                    <a:pt x="61" y="103"/>
                  </a:lnTo>
                  <a:lnTo>
                    <a:pt x="51" y="101"/>
                  </a:lnTo>
                  <a:lnTo>
                    <a:pt x="41" y="98"/>
                  </a:lnTo>
                  <a:lnTo>
                    <a:pt x="21" y="92"/>
                  </a:lnTo>
                  <a:lnTo>
                    <a:pt x="0" y="86"/>
                  </a:lnTo>
                  <a:lnTo>
                    <a:pt x="2" y="77"/>
                  </a:lnTo>
                  <a:lnTo>
                    <a:pt x="5" y="67"/>
                  </a:lnTo>
                  <a:lnTo>
                    <a:pt x="9" y="56"/>
                  </a:lnTo>
                  <a:lnTo>
                    <a:pt x="15" y="43"/>
                  </a:lnTo>
                  <a:lnTo>
                    <a:pt x="20" y="43"/>
                  </a:lnTo>
                  <a:lnTo>
                    <a:pt x="26" y="42"/>
                  </a:lnTo>
                  <a:lnTo>
                    <a:pt x="30" y="41"/>
                  </a:lnTo>
                  <a:lnTo>
                    <a:pt x="33" y="38"/>
                  </a:lnTo>
                  <a:lnTo>
                    <a:pt x="40" y="33"/>
                  </a:lnTo>
                  <a:lnTo>
                    <a:pt x="45" y="26"/>
                  </a:lnTo>
                  <a:lnTo>
                    <a:pt x="52" y="12"/>
                  </a:lnTo>
                  <a:lnTo>
                    <a:pt x="61" y="0"/>
                  </a:lnTo>
                  <a:lnTo>
                    <a:pt x="64" y="4"/>
                  </a:lnTo>
                  <a:lnTo>
                    <a:pt x="67" y="7"/>
                  </a:lnTo>
                  <a:lnTo>
                    <a:pt x="73" y="11"/>
                  </a:lnTo>
                  <a:lnTo>
                    <a:pt x="78" y="14"/>
                  </a:lnTo>
                  <a:lnTo>
                    <a:pt x="92" y="21"/>
                  </a:lnTo>
                  <a:lnTo>
                    <a:pt x="107" y="28"/>
                  </a:lnTo>
                  <a:lnTo>
                    <a:pt x="122" y="35"/>
                  </a:lnTo>
                  <a:lnTo>
                    <a:pt x="139" y="39"/>
                  </a:lnTo>
                  <a:lnTo>
                    <a:pt x="153" y="42"/>
                  </a:lnTo>
                  <a:lnTo>
                    <a:pt x="167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8" name="Freeform 275"/>
            <p:cNvSpPr>
              <a:spLocks/>
            </p:cNvSpPr>
            <p:nvPr>
              <p:custDataLst>
                <p:tags r:id="rId203"/>
              </p:custDataLst>
            </p:nvPr>
          </p:nvSpPr>
          <p:spPr bwMode="auto">
            <a:xfrm>
              <a:off x="8274682" y="3502464"/>
              <a:ext cx="133350" cy="166688"/>
            </a:xfrm>
            <a:custGeom>
              <a:avLst/>
              <a:gdLst>
                <a:gd name="T0" fmla="*/ 2147483647 w 306"/>
                <a:gd name="T1" fmla="*/ 2147483647 h 321"/>
                <a:gd name="T2" fmla="*/ 2147483647 w 306"/>
                <a:gd name="T3" fmla="*/ 2147483647 h 321"/>
                <a:gd name="T4" fmla="*/ 2147483647 w 306"/>
                <a:gd name="T5" fmla="*/ 2147483647 h 321"/>
                <a:gd name="T6" fmla="*/ 2147483647 w 306"/>
                <a:gd name="T7" fmla="*/ 2147483647 h 321"/>
                <a:gd name="T8" fmla="*/ 2147483647 w 306"/>
                <a:gd name="T9" fmla="*/ 2147483647 h 321"/>
                <a:gd name="T10" fmla="*/ 2147483647 w 306"/>
                <a:gd name="T11" fmla="*/ 2147483647 h 321"/>
                <a:gd name="T12" fmla="*/ 2147483647 w 306"/>
                <a:gd name="T13" fmla="*/ 2147483647 h 321"/>
                <a:gd name="T14" fmla="*/ 2147483647 w 306"/>
                <a:gd name="T15" fmla="*/ 2147483647 h 321"/>
                <a:gd name="T16" fmla="*/ 2147483647 w 306"/>
                <a:gd name="T17" fmla="*/ 2147483647 h 321"/>
                <a:gd name="T18" fmla="*/ 2147483647 w 306"/>
                <a:gd name="T19" fmla="*/ 2147483647 h 321"/>
                <a:gd name="T20" fmla="*/ 2147483647 w 306"/>
                <a:gd name="T21" fmla="*/ 2147483647 h 321"/>
                <a:gd name="T22" fmla="*/ 2147483647 w 306"/>
                <a:gd name="T23" fmla="*/ 2147483647 h 321"/>
                <a:gd name="T24" fmla="*/ 2147483647 w 306"/>
                <a:gd name="T25" fmla="*/ 2147483647 h 321"/>
                <a:gd name="T26" fmla="*/ 2147483647 w 306"/>
                <a:gd name="T27" fmla="*/ 2147483647 h 321"/>
                <a:gd name="T28" fmla="*/ 2147483647 w 306"/>
                <a:gd name="T29" fmla="*/ 2147483647 h 321"/>
                <a:gd name="T30" fmla="*/ 2147483647 w 306"/>
                <a:gd name="T31" fmla="*/ 2147483647 h 321"/>
                <a:gd name="T32" fmla="*/ 2147483647 w 306"/>
                <a:gd name="T33" fmla="*/ 2147483647 h 321"/>
                <a:gd name="T34" fmla="*/ 2147483647 w 306"/>
                <a:gd name="T35" fmla="*/ 2147483647 h 321"/>
                <a:gd name="T36" fmla="*/ 2147483647 w 306"/>
                <a:gd name="T37" fmla="*/ 2147483647 h 321"/>
                <a:gd name="T38" fmla="*/ 2147483647 w 306"/>
                <a:gd name="T39" fmla="*/ 2147483647 h 321"/>
                <a:gd name="T40" fmla="*/ 2147483647 w 306"/>
                <a:gd name="T41" fmla="*/ 2147483647 h 321"/>
                <a:gd name="T42" fmla="*/ 2147483647 w 306"/>
                <a:gd name="T43" fmla="*/ 2147483647 h 321"/>
                <a:gd name="T44" fmla="*/ 2147483647 w 306"/>
                <a:gd name="T45" fmla="*/ 0 h 321"/>
                <a:gd name="T46" fmla="*/ 2147483647 w 306"/>
                <a:gd name="T47" fmla="*/ 0 h 321"/>
                <a:gd name="T48" fmla="*/ 2147483647 w 306"/>
                <a:gd name="T49" fmla="*/ 2147483647 h 321"/>
                <a:gd name="T50" fmla="*/ 2147483647 w 306"/>
                <a:gd name="T51" fmla="*/ 2147483647 h 321"/>
                <a:gd name="T52" fmla="*/ 2147483647 w 306"/>
                <a:gd name="T53" fmla="*/ 2147483647 h 321"/>
                <a:gd name="T54" fmla="*/ 2147483647 w 306"/>
                <a:gd name="T55" fmla="*/ 2147483647 h 321"/>
                <a:gd name="T56" fmla="*/ 2147483647 w 306"/>
                <a:gd name="T57" fmla="*/ 2147483647 h 321"/>
                <a:gd name="T58" fmla="*/ 2147483647 w 306"/>
                <a:gd name="T59" fmla="*/ 2147483647 h 321"/>
                <a:gd name="T60" fmla="*/ 2147483647 w 306"/>
                <a:gd name="T61" fmla="*/ 2147483647 h 321"/>
                <a:gd name="T62" fmla="*/ 2147483647 w 306"/>
                <a:gd name="T63" fmla="*/ 2147483647 h 321"/>
                <a:gd name="T64" fmla="*/ 2147483647 w 306"/>
                <a:gd name="T65" fmla="*/ 2147483647 h 321"/>
                <a:gd name="T66" fmla="*/ 2147483647 w 306"/>
                <a:gd name="T67" fmla="*/ 2147483647 h 321"/>
                <a:gd name="T68" fmla="*/ 2147483647 w 306"/>
                <a:gd name="T69" fmla="*/ 2147483647 h 321"/>
                <a:gd name="T70" fmla="*/ 2147483647 w 306"/>
                <a:gd name="T71" fmla="*/ 2147483647 h 321"/>
                <a:gd name="T72" fmla="*/ 2147483647 w 306"/>
                <a:gd name="T73" fmla="*/ 2147483647 h 321"/>
                <a:gd name="T74" fmla="*/ 2147483647 w 306"/>
                <a:gd name="T75" fmla="*/ 2147483647 h 321"/>
                <a:gd name="T76" fmla="*/ 2147483647 w 306"/>
                <a:gd name="T77" fmla="*/ 2147483647 h 321"/>
                <a:gd name="T78" fmla="*/ 2147483647 w 306"/>
                <a:gd name="T79" fmla="*/ 2147483647 h 321"/>
                <a:gd name="T80" fmla="*/ 2147483647 w 306"/>
                <a:gd name="T81" fmla="*/ 2147483647 h 321"/>
                <a:gd name="T82" fmla="*/ 2147483647 w 306"/>
                <a:gd name="T83" fmla="*/ 2147483647 h 321"/>
                <a:gd name="T84" fmla="*/ 2147483647 w 306"/>
                <a:gd name="T85" fmla="*/ 2147483647 h 321"/>
                <a:gd name="T86" fmla="*/ 2147483647 w 306"/>
                <a:gd name="T87" fmla="*/ 2147483647 h 321"/>
                <a:gd name="T88" fmla="*/ 2147483647 w 306"/>
                <a:gd name="T89" fmla="*/ 2147483647 h 321"/>
                <a:gd name="T90" fmla="*/ 2147483647 w 306"/>
                <a:gd name="T91" fmla="*/ 2147483647 h 321"/>
                <a:gd name="T92" fmla="*/ 2147483647 w 306"/>
                <a:gd name="T93" fmla="*/ 2147483647 h 321"/>
                <a:gd name="T94" fmla="*/ 2147483647 w 306"/>
                <a:gd name="T95" fmla="*/ 2147483647 h 321"/>
                <a:gd name="T96" fmla="*/ 2147483647 w 306"/>
                <a:gd name="T97" fmla="*/ 2147483647 h 321"/>
                <a:gd name="T98" fmla="*/ 2147483647 w 306"/>
                <a:gd name="T99" fmla="*/ 2147483647 h 321"/>
                <a:gd name="T100" fmla="*/ 2147483647 w 306"/>
                <a:gd name="T101" fmla="*/ 2147483647 h 321"/>
                <a:gd name="T102" fmla="*/ 2147483647 w 306"/>
                <a:gd name="T103" fmla="*/ 2147483647 h 321"/>
                <a:gd name="T104" fmla="*/ 2147483647 w 306"/>
                <a:gd name="T105" fmla="*/ 2147483647 h 321"/>
                <a:gd name="T106" fmla="*/ 2147483647 w 306"/>
                <a:gd name="T107" fmla="*/ 2147483647 h 321"/>
                <a:gd name="T108" fmla="*/ 2147483647 w 306"/>
                <a:gd name="T109" fmla="*/ 2147483647 h 321"/>
                <a:gd name="T110" fmla="*/ 2147483647 w 306"/>
                <a:gd name="T111" fmla="*/ 2147483647 h 321"/>
                <a:gd name="T112" fmla="*/ 2147483647 w 306"/>
                <a:gd name="T113" fmla="*/ 2147483647 h 321"/>
                <a:gd name="T114" fmla="*/ 2147483647 w 306"/>
                <a:gd name="T115" fmla="*/ 2147483647 h 32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06" h="321">
                  <a:moveTo>
                    <a:pt x="306" y="235"/>
                  </a:moveTo>
                  <a:lnTo>
                    <a:pt x="259" y="160"/>
                  </a:lnTo>
                  <a:lnTo>
                    <a:pt x="257" y="164"/>
                  </a:lnTo>
                  <a:lnTo>
                    <a:pt x="252" y="173"/>
                  </a:lnTo>
                  <a:lnTo>
                    <a:pt x="247" y="178"/>
                  </a:lnTo>
                  <a:lnTo>
                    <a:pt x="243" y="182"/>
                  </a:lnTo>
                  <a:lnTo>
                    <a:pt x="238" y="185"/>
                  </a:lnTo>
                  <a:lnTo>
                    <a:pt x="233" y="186"/>
                  </a:lnTo>
                  <a:lnTo>
                    <a:pt x="227" y="185"/>
                  </a:lnTo>
                  <a:lnTo>
                    <a:pt x="223" y="184"/>
                  </a:lnTo>
                  <a:lnTo>
                    <a:pt x="219" y="181"/>
                  </a:lnTo>
                  <a:lnTo>
                    <a:pt x="214" y="178"/>
                  </a:lnTo>
                  <a:lnTo>
                    <a:pt x="211" y="173"/>
                  </a:lnTo>
                  <a:lnTo>
                    <a:pt x="209" y="169"/>
                  </a:lnTo>
                  <a:lnTo>
                    <a:pt x="206" y="165"/>
                  </a:lnTo>
                  <a:lnTo>
                    <a:pt x="206" y="160"/>
                  </a:lnTo>
                  <a:lnTo>
                    <a:pt x="206" y="154"/>
                  </a:lnTo>
                  <a:lnTo>
                    <a:pt x="209" y="148"/>
                  </a:lnTo>
                  <a:lnTo>
                    <a:pt x="211" y="142"/>
                  </a:lnTo>
                  <a:lnTo>
                    <a:pt x="213" y="136"/>
                  </a:lnTo>
                  <a:lnTo>
                    <a:pt x="221" y="125"/>
                  </a:lnTo>
                  <a:lnTo>
                    <a:pt x="230" y="114"/>
                  </a:lnTo>
                  <a:lnTo>
                    <a:pt x="238" y="104"/>
                  </a:lnTo>
                  <a:lnTo>
                    <a:pt x="246" y="93"/>
                  </a:lnTo>
                  <a:lnTo>
                    <a:pt x="248" y="87"/>
                  </a:lnTo>
                  <a:lnTo>
                    <a:pt x="250" y="82"/>
                  </a:lnTo>
                  <a:lnTo>
                    <a:pt x="253" y="75"/>
                  </a:lnTo>
                  <a:lnTo>
                    <a:pt x="253" y="69"/>
                  </a:lnTo>
                  <a:lnTo>
                    <a:pt x="133" y="69"/>
                  </a:lnTo>
                  <a:lnTo>
                    <a:pt x="129" y="68"/>
                  </a:lnTo>
                  <a:lnTo>
                    <a:pt x="123" y="65"/>
                  </a:lnTo>
                  <a:lnTo>
                    <a:pt x="119" y="59"/>
                  </a:lnTo>
                  <a:lnTo>
                    <a:pt x="115" y="53"/>
                  </a:lnTo>
                  <a:lnTo>
                    <a:pt x="112" y="45"/>
                  </a:lnTo>
                  <a:lnTo>
                    <a:pt x="109" y="37"/>
                  </a:lnTo>
                  <a:lnTo>
                    <a:pt x="108" y="28"/>
                  </a:lnTo>
                  <a:lnTo>
                    <a:pt x="107" y="19"/>
                  </a:lnTo>
                  <a:lnTo>
                    <a:pt x="101" y="19"/>
                  </a:lnTo>
                  <a:lnTo>
                    <a:pt x="96" y="18"/>
                  </a:lnTo>
                  <a:lnTo>
                    <a:pt x="90" y="17"/>
                  </a:lnTo>
                  <a:lnTo>
                    <a:pt x="85" y="15"/>
                  </a:lnTo>
                  <a:lnTo>
                    <a:pt x="80" y="12"/>
                  </a:lnTo>
                  <a:lnTo>
                    <a:pt x="77" y="9"/>
                  </a:lnTo>
                  <a:lnTo>
                    <a:pt x="75" y="4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34" y="1"/>
                  </a:lnTo>
                  <a:lnTo>
                    <a:pt x="29" y="2"/>
                  </a:lnTo>
                  <a:lnTo>
                    <a:pt x="22" y="5"/>
                  </a:lnTo>
                  <a:lnTo>
                    <a:pt x="15" y="9"/>
                  </a:lnTo>
                  <a:lnTo>
                    <a:pt x="10" y="14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8" y="40"/>
                  </a:lnTo>
                  <a:lnTo>
                    <a:pt x="15" y="46"/>
                  </a:lnTo>
                  <a:lnTo>
                    <a:pt x="25" y="52"/>
                  </a:lnTo>
                  <a:lnTo>
                    <a:pt x="35" y="58"/>
                  </a:lnTo>
                  <a:lnTo>
                    <a:pt x="45" y="63"/>
                  </a:lnTo>
                  <a:lnTo>
                    <a:pt x="54" y="67"/>
                  </a:lnTo>
                  <a:lnTo>
                    <a:pt x="60" y="69"/>
                  </a:lnTo>
                  <a:lnTo>
                    <a:pt x="47" y="79"/>
                  </a:lnTo>
                  <a:lnTo>
                    <a:pt x="32" y="91"/>
                  </a:lnTo>
                  <a:lnTo>
                    <a:pt x="25" y="97"/>
                  </a:lnTo>
                  <a:lnTo>
                    <a:pt x="19" y="104"/>
                  </a:lnTo>
                  <a:lnTo>
                    <a:pt x="17" y="107"/>
                  </a:lnTo>
                  <a:lnTo>
                    <a:pt x="15" y="110"/>
                  </a:lnTo>
                  <a:lnTo>
                    <a:pt x="14" y="114"/>
                  </a:lnTo>
                  <a:lnTo>
                    <a:pt x="13" y="117"/>
                  </a:lnTo>
                  <a:lnTo>
                    <a:pt x="14" y="122"/>
                  </a:lnTo>
                  <a:lnTo>
                    <a:pt x="15" y="125"/>
                  </a:lnTo>
                  <a:lnTo>
                    <a:pt x="18" y="129"/>
                  </a:lnTo>
                  <a:lnTo>
                    <a:pt x="20" y="133"/>
                  </a:lnTo>
                  <a:lnTo>
                    <a:pt x="28" y="141"/>
                  </a:lnTo>
                  <a:lnTo>
                    <a:pt x="37" y="149"/>
                  </a:lnTo>
                  <a:lnTo>
                    <a:pt x="47" y="156"/>
                  </a:lnTo>
                  <a:lnTo>
                    <a:pt x="58" y="162"/>
                  </a:lnTo>
                  <a:lnTo>
                    <a:pt x="64" y="164"/>
                  </a:lnTo>
                  <a:lnTo>
                    <a:pt x="69" y="165"/>
                  </a:lnTo>
                  <a:lnTo>
                    <a:pt x="75" y="166"/>
                  </a:lnTo>
                  <a:lnTo>
                    <a:pt x="80" y="167"/>
                  </a:lnTo>
                  <a:lnTo>
                    <a:pt x="107" y="271"/>
                  </a:lnTo>
                  <a:lnTo>
                    <a:pt x="107" y="267"/>
                  </a:lnTo>
                  <a:lnTo>
                    <a:pt x="108" y="263"/>
                  </a:lnTo>
                  <a:lnTo>
                    <a:pt x="110" y="260"/>
                  </a:lnTo>
                  <a:lnTo>
                    <a:pt x="112" y="256"/>
                  </a:lnTo>
                  <a:lnTo>
                    <a:pt x="119" y="251"/>
                  </a:lnTo>
                  <a:lnTo>
                    <a:pt x="127" y="246"/>
                  </a:lnTo>
                  <a:lnTo>
                    <a:pt x="137" y="243"/>
                  </a:lnTo>
                  <a:lnTo>
                    <a:pt x="148" y="240"/>
                  </a:lnTo>
                  <a:lnTo>
                    <a:pt x="160" y="237"/>
                  </a:lnTo>
                  <a:lnTo>
                    <a:pt x="174" y="235"/>
                  </a:lnTo>
                  <a:lnTo>
                    <a:pt x="174" y="222"/>
                  </a:lnTo>
                  <a:lnTo>
                    <a:pt x="174" y="210"/>
                  </a:lnTo>
                  <a:lnTo>
                    <a:pt x="178" y="212"/>
                  </a:lnTo>
                  <a:lnTo>
                    <a:pt x="183" y="212"/>
                  </a:lnTo>
                  <a:lnTo>
                    <a:pt x="188" y="213"/>
                  </a:lnTo>
                  <a:lnTo>
                    <a:pt x="193" y="212"/>
                  </a:lnTo>
                  <a:lnTo>
                    <a:pt x="203" y="211"/>
                  </a:lnTo>
                  <a:lnTo>
                    <a:pt x="213" y="210"/>
                  </a:lnTo>
                  <a:lnTo>
                    <a:pt x="220" y="233"/>
                  </a:lnTo>
                  <a:lnTo>
                    <a:pt x="232" y="261"/>
                  </a:lnTo>
                  <a:lnTo>
                    <a:pt x="245" y="292"/>
                  </a:lnTo>
                  <a:lnTo>
                    <a:pt x="259" y="321"/>
                  </a:lnTo>
                  <a:lnTo>
                    <a:pt x="267" y="316"/>
                  </a:lnTo>
                  <a:lnTo>
                    <a:pt x="272" y="311"/>
                  </a:lnTo>
                  <a:lnTo>
                    <a:pt x="278" y="307"/>
                  </a:lnTo>
                  <a:lnTo>
                    <a:pt x="282" y="302"/>
                  </a:lnTo>
                  <a:lnTo>
                    <a:pt x="290" y="291"/>
                  </a:lnTo>
                  <a:lnTo>
                    <a:pt x="295" y="280"/>
                  </a:lnTo>
                  <a:lnTo>
                    <a:pt x="301" y="258"/>
                  </a:lnTo>
                  <a:lnTo>
                    <a:pt x="306" y="23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19" name="Freeform 276"/>
            <p:cNvSpPr>
              <a:spLocks/>
            </p:cNvSpPr>
            <p:nvPr>
              <p:custDataLst>
                <p:tags r:id="rId204"/>
              </p:custDataLst>
            </p:nvPr>
          </p:nvSpPr>
          <p:spPr bwMode="auto">
            <a:xfrm>
              <a:off x="8592182" y="3618352"/>
              <a:ext cx="201612" cy="269875"/>
            </a:xfrm>
            <a:custGeom>
              <a:avLst/>
              <a:gdLst>
                <a:gd name="T0" fmla="*/ 2147483647 w 471"/>
                <a:gd name="T1" fmla="*/ 2147483647 h 518"/>
                <a:gd name="T2" fmla="*/ 2147483647 w 471"/>
                <a:gd name="T3" fmla="*/ 2147483647 h 518"/>
                <a:gd name="T4" fmla="*/ 2147483647 w 471"/>
                <a:gd name="T5" fmla="*/ 2147483647 h 518"/>
                <a:gd name="T6" fmla="*/ 2147483647 w 471"/>
                <a:gd name="T7" fmla="*/ 2147483647 h 518"/>
                <a:gd name="T8" fmla="*/ 2147483647 w 471"/>
                <a:gd name="T9" fmla="*/ 2147483647 h 518"/>
                <a:gd name="T10" fmla="*/ 2147483647 w 471"/>
                <a:gd name="T11" fmla="*/ 2147483647 h 518"/>
                <a:gd name="T12" fmla="*/ 2147483647 w 471"/>
                <a:gd name="T13" fmla="*/ 2147483647 h 518"/>
                <a:gd name="T14" fmla="*/ 2147483647 w 471"/>
                <a:gd name="T15" fmla="*/ 2147483647 h 518"/>
                <a:gd name="T16" fmla="*/ 2147483647 w 471"/>
                <a:gd name="T17" fmla="*/ 2147483647 h 518"/>
                <a:gd name="T18" fmla="*/ 2147483647 w 471"/>
                <a:gd name="T19" fmla="*/ 2147483647 h 518"/>
                <a:gd name="T20" fmla="*/ 2147483647 w 471"/>
                <a:gd name="T21" fmla="*/ 2147483647 h 518"/>
                <a:gd name="T22" fmla="*/ 2147483647 w 471"/>
                <a:gd name="T23" fmla="*/ 2147483647 h 518"/>
                <a:gd name="T24" fmla="*/ 2147483647 w 471"/>
                <a:gd name="T25" fmla="*/ 2147483647 h 518"/>
                <a:gd name="T26" fmla="*/ 2147483647 w 471"/>
                <a:gd name="T27" fmla="*/ 2147483647 h 518"/>
                <a:gd name="T28" fmla="*/ 2147483647 w 471"/>
                <a:gd name="T29" fmla="*/ 2147483647 h 518"/>
                <a:gd name="T30" fmla="*/ 2147483647 w 471"/>
                <a:gd name="T31" fmla="*/ 2147483647 h 518"/>
                <a:gd name="T32" fmla="*/ 2147483647 w 471"/>
                <a:gd name="T33" fmla="*/ 2147483647 h 518"/>
                <a:gd name="T34" fmla="*/ 2147483647 w 471"/>
                <a:gd name="T35" fmla="*/ 2147483647 h 518"/>
                <a:gd name="T36" fmla="*/ 2147483647 w 471"/>
                <a:gd name="T37" fmla="*/ 2147483647 h 518"/>
                <a:gd name="T38" fmla="*/ 2147483647 w 471"/>
                <a:gd name="T39" fmla="*/ 2147483647 h 518"/>
                <a:gd name="T40" fmla="*/ 2147483647 w 471"/>
                <a:gd name="T41" fmla="*/ 2147483647 h 518"/>
                <a:gd name="T42" fmla="*/ 2147483647 w 471"/>
                <a:gd name="T43" fmla="*/ 2147483647 h 518"/>
                <a:gd name="T44" fmla="*/ 2147483647 w 471"/>
                <a:gd name="T45" fmla="*/ 2147483647 h 518"/>
                <a:gd name="T46" fmla="*/ 2147483647 w 471"/>
                <a:gd name="T47" fmla="*/ 2147483647 h 518"/>
                <a:gd name="T48" fmla="*/ 2147483647 w 471"/>
                <a:gd name="T49" fmla="*/ 2147483647 h 518"/>
                <a:gd name="T50" fmla="*/ 2147483647 w 471"/>
                <a:gd name="T51" fmla="*/ 2147483647 h 518"/>
                <a:gd name="T52" fmla="*/ 2147483647 w 471"/>
                <a:gd name="T53" fmla="*/ 2147483647 h 518"/>
                <a:gd name="T54" fmla="*/ 2147483647 w 471"/>
                <a:gd name="T55" fmla="*/ 2147483647 h 518"/>
                <a:gd name="T56" fmla="*/ 2147483647 w 471"/>
                <a:gd name="T57" fmla="*/ 2147483647 h 518"/>
                <a:gd name="T58" fmla="*/ 2147483647 w 471"/>
                <a:gd name="T59" fmla="*/ 2147483647 h 518"/>
                <a:gd name="T60" fmla="*/ 2147483647 w 471"/>
                <a:gd name="T61" fmla="*/ 2147483647 h 518"/>
                <a:gd name="T62" fmla="*/ 2147483647 w 471"/>
                <a:gd name="T63" fmla="*/ 2147483647 h 518"/>
                <a:gd name="T64" fmla="*/ 2147483647 w 471"/>
                <a:gd name="T65" fmla="*/ 2147483647 h 518"/>
                <a:gd name="T66" fmla="*/ 2147483647 w 471"/>
                <a:gd name="T67" fmla="*/ 2147483647 h 518"/>
                <a:gd name="T68" fmla="*/ 2147483647 w 471"/>
                <a:gd name="T69" fmla="*/ 2147483647 h 518"/>
                <a:gd name="T70" fmla="*/ 2147483647 w 471"/>
                <a:gd name="T71" fmla="*/ 2147483647 h 518"/>
                <a:gd name="T72" fmla="*/ 2147483647 w 471"/>
                <a:gd name="T73" fmla="*/ 2147483647 h 518"/>
                <a:gd name="T74" fmla="*/ 2147483647 w 471"/>
                <a:gd name="T75" fmla="*/ 2147483647 h 518"/>
                <a:gd name="T76" fmla="*/ 2147483647 w 471"/>
                <a:gd name="T77" fmla="*/ 2147483647 h 518"/>
                <a:gd name="T78" fmla="*/ 2147483647 w 471"/>
                <a:gd name="T79" fmla="*/ 2147483647 h 518"/>
                <a:gd name="T80" fmla="*/ 2147483647 w 471"/>
                <a:gd name="T81" fmla="*/ 2147483647 h 518"/>
                <a:gd name="T82" fmla="*/ 2147483647 w 471"/>
                <a:gd name="T83" fmla="*/ 2147483647 h 518"/>
                <a:gd name="T84" fmla="*/ 2147483647 w 471"/>
                <a:gd name="T85" fmla="*/ 2147483647 h 518"/>
                <a:gd name="T86" fmla="*/ 2147483647 w 471"/>
                <a:gd name="T87" fmla="*/ 2147483647 h 51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518">
                  <a:moveTo>
                    <a:pt x="113" y="0"/>
                  </a:moveTo>
                  <a:lnTo>
                    <a:pt x="104" y="5"/>
                  </a:lnTo>
                  <a:lnTo>
                    <a:pt x="94" y="12"/>
                  </a:lnTo>
                  <a:lnTo>
                    <a:pt x="85" y="18"/>
                  </a:lnTo>
                  <a:lnTo>
                    <a:pt x="76" y="25"/>
                  </a:lnTo>
                  <a:lnTo>
                    <a:pt x="67" y="32"/>
                  </a:lnTo>
                  <a:lnTo>
                    <a:pt x="59" y="38"/>
                  </a:lnTo>
                  <a:lnTo>
                    <a:pt x="50" y="44"/>
                  </a:lnTo>
                  <a:lnTo>
                    <a:pt x="40" y="49"/>
                  </a:lnTo>
                  <a:lnTo>
                    <a:pt x="37" y="59"/>
                  </a:lnTo>
                  <a:lnTo>
                    <a:pt x="32" y="71"/>
                  </a:lnTo>
                  <a:lnTo>
                    <a:pt x="27" y="82"/>
                  </a:lnTo>
                  <a:lnTo>
                    <a:pt x="20" y="93"/>
                  </a:lnTo>
                  <a:lnTo>
                    <a:pt x="14" y="106"/>
                  </a:lnTo>
                  <a:lnTo>
                    <a:pt x="8" y="118"/>
                  </a:lnTo>
                  <a:lnTo>
                    <a:pt x="4" y="131"/>
                  </a:lnTo>
                  <a:lnTo>
                    <a:pt x="0" y="142"/>
                  </a:lnTo>
                  <a:lnTo>
                    <a:pt x="7" y="136"/>
                  </a:lnTo>
                  <a:lnTo>
                    <a:pt x="16" y="141"/>
                  </a:lnTo>
                  <a:lnTo>
                    <a:pt x="23" y="147"/>
                  </a:lnTo>
                  <a:lnTo>
                    <a:pt x="30" y="153"/>
                  </a:lnTo>
                  <a:lnTo>
                    <a:pt x="37" y="159"/>
                  </a:lnTo>
                  <a:lnTo>
                    <a:pt x="43" y="164"/>
                  </a:lnTo>
                  <a:lnTo>
                    <a:pt x="50" y="168"/>
                  </a:lnTo>
                  <a:lnTo>
                    <a:pt x="53" y="170"/>
                  </a:lnTo>
                  <a:lnTo>
                    <a:pt x="57" y="171"/>
                  </a:lnTo>
                  <a:lnTo>
                    <a:pt x="62" y="172"/>
                  </a:lnTo>
                  <a:lnTo>
                    <a:pt x="66" y="172"/>
                  </a:lnTo>
                  <a:lnTo>
                    <a:pt x="71" y="191"/>
                  </a:lnTo>
                  <a:lnTo>
                    <a:pt x="75" y="211"/>
                  </a:lnTo>
                  <a:lnTo>
                    <a:pt x="77" y="233"/>
                  </a:lnTo>
                  <a:lnTo>
                    <a:pt x="80" y="254"/>
                  </a:lnTo>
                  <a:lnTo>
                    <a:pt x="84" y="272"/>
                  </a:lnTo>
                  <a:lnTo>
                    <a:pt x="88" y="289"/>
                  </a:lnTo>
                  <a:lnTo>
                    <a:pt x="90" y="294"/>
                  </a:lnTo>
                  <a:lnTo>
                    <a:pt x="94" y="299"/>
                  </a:lnTo>
                  <a:lnTo>
                    <a:pt x="96" y="302"/>
                  </a:lnTo>
                  <a:lnTo>
                    <a:pt x="100" y="302"/>
                  </a:lnTo>
                  <a:lnTo>
                    <a:pt x="104" y="302"/>
                  </a:lnTo>
                  <a:lnTo>
                    <a:pt x="107" y="301"/>
                  </a:lnTo>
                  <a:lnTo>
                    <a:pt x="110" y="299"/>
                  </a:lnTo>
                  <a:lnTo>
                    <a:pt x="112" y="297"/>
                  </a:lnTo>
                  <a:lnTo>
                    <a:pt x="118" y="291"/>
                  </a:lnTo>
                  <a:lnTo>
                    <a:pt x="121" y="283"/>
                  </a:lnTo>
                  <a:lnTo>
                    <a:pt x="128" y="268"/>
                  </a:lnTo>
                  <a:lnTo>
                    <a:pt x="133" y="259"/>
                  </a:lnTo>
                  <a:lnTo>
                    <a:pt x="140" y="260"/>
                  </a:lnTo>
                  <a:lnTo>
                    <a:pt x="145" y="262"/>
                  </a:lnTo>
                  <a:lnTo>
                    <a:pt x="151" y="265"/>
                  </a:lnTo>
                  <a:lnTo>
                    <a:pt x="155" y="268"/>
                  </a:lnTo>
                  <a:lnTo>
                    <a:pt x="160" y="272"/>
                  </a:lnTo>
                  <a:lnTo>
                    <a:pt x="164" y="274"/>
                  </a:lnTo>
                  <a:lnTo>
                    <a:pt x="168" y="277"/>
                  </a:lnTo>
                  <a:lnTo>
                    <a:pt x="173" y="277"/>
                  </a:lnTo>
                  <a:lnTo>
                    <a:pt x="176" y="277"/>
                  </a:lnTo>
                  <a:lnTo>
                    <a:pt x="179" y="276"/>
                  </a:lnTo>
                  <a:lnTo>
                    <a:pt x="183" y="274"/>
                  </a:lnTo>
                  <a:lnTo>
                    <a:pt x="185" y="272"/>
                  </a:lnTo>
                  <a:lnTo>
                    <a:pt x="189" y="266"/>
                  </a:lnTo>
                  <a:lnTo>
                    <a:pt x="192" y="259"/>
                  </a:lnTo>
                  <a:lnTo>
                    <a:pt x="197" y="252"/>
                  </a:lnTo>
                  <a:lnTo>
                    <a:pt x="201" y="247"/>
                  </a:lnTo>
                  <a:lnTo>
                    <a:pt x="203" y="244"/>
                  </a:lnTo>
                  <a:lnTo>
                    <a:pt x="206" y="243"/>
                  </a:lnTo>
                  <a:lnTo>
                    <a:pt x="209" y="241"/>
                  </a:lnTo>
                  <a:lnTo>
                    <a:pt x="212" y="241"/>
                  </a:lnTo>
                  <a:lnTo>
                    <a:pt x="224" y="242"/>
                  </a:lnTo>
                  <a:lnTo>
                    <a:pt x="233" y="244"/>
                  </a:lnTo>
                  <a:lnTo>
                    <a:pt x="241" y="247"/>
                  </a:lnTo>
                  <a:lnTo>
                    <a:pt x="246" y="252"/>
                  </a:lnTo>
                  <a:lnTo>
                    <a:pt x="254" y="261"/>
                  </a:lnTo>
                  <a:lnTo>
                    <a:pt x="259" y="271"/>
                  </a:lnTo>
                  <a:lnTo>
                    <a:pt x="274" y="293"/>
                  </a:lnTo>
                  <a:lnTo>
                    <a:pt x="290" y="314"/>
                  </a:lnTo>
                  <a:lnTo>
                    <a:pt x="308" y="336"/>
                  </a:lnTo>
                  <a:lnTo>
                    <a:pt x="325" y="359"/>
                  </a:lnTo>
                  <a:lnTo>
                    <a:pt x="333" y="371"/>
                  </a:lnTo>
                  <a:lnTo>
                    <a:pt x="341" y="382"/>
                  </a:lnTo>
                  <a:lnTo>
                    <a:pt x="347" y="394"/>
                  </a:lnTo>
                  <a:lnTo>
                    <a:pt x="354" y="407"/>
                  </a:lnTo>
                  <a:lnTo>
                    <a:pt x="358" y="419"/>
                  </a:lnTo>
                  <a:lnTo>
                    <a:pt x="363" y="431"/>
                  </a:lnTo>
                  <a:lnTo>
                    <a:pt x="365" y="443"/>
                  </a:lnTo>
                  <a:lnTo>
                    <a:pt x="366" y="457"/>
                  </a:lnTo>
                  <a:lnTo>
                    <a:pt x="365" y="461"/>
                  </a:lnTo>
                  <a:lnTo>
                    <a:pt x="363" y="466"/>
                  </a:lnTo>
                  <a:lnTo>
                    <a:pt x="359" y="470"/>
                  </a:lnTo>
                  <a:lnTo>
                    <a:pt x="355" y="474"/>
                  </a:lnTo>
                  <a:lnTo>
                    <a:pt x="346" y="481"/>
                  </a:lnTo>
                  <a:lnTo>
                    <a:pt x="339" y="487"/>
                  </a:lnTo>
                  <a:lnTo>
                    <a:pt x="348" y="490"/>
                  </a:lnTo>
                  <a:lnTo>
                    <a:pt x="356" y="493"/>
                  </a:lnTo>
                  <a:lnTo>
                    <a:pt x="363" y="496"/>
                  </a:lnTo>
                  <a:lnTo>
                    <a:pt x="368" y="500"/>
                  </a:lnTo>
                  <a:lnTo>
                    <a:pt x="379" y="508"/>
                  </a:lnTo>
                  <a:lnTo>
                    <a:pt x="392" y="518"/>
                  </a:lnTo>
                  <a:lnTo>
                    <a:pt x="395" y="511"/>
                  </a:lnTo>
                  <a:lnTo>
                    <a:pt x="398" y="504"/>
                  </a:lnTo>
                  <a:lnTo>
                    <a:pt x="401" y="499"/>
                  </a:lnTo>
                  <a:lnTo>
                    <a:pt x="404" y="495"/>
                  </a:lnTo>
                  <a:lnTo>
                    <a:pt x="409" y="491"/>
                  </a:lnTo>
                  <a:lnTo>
                    <a:pt x="413" y="489"/>
                  </a:lnTo>
                  <a:lnTo>
                    <a:pt x="418" y="487"/>
                  </a:lnTo>
                  <a:lnTo>
                    <a:pt x="422" y="485"/>
                  </a:lnTo>
                  <a:lnTo>
                    <a:pt x="444" y="483"/>
                  </a:lnTo>
                  <a:lnTo>
                    <a:pt x="471" y="481"/>
                  </a:lnTo>
                  <a:lnTo>
                    <a:pt x="471" y="459"/>
                  </a:lnTo>
                  <a:lnTo>
                    <a:pt x="468" y="438"/>
                  </a:lnTo>
                  <a:lnTo>
                    <a:pt x="464" y="420"/>
                  </a:lnTo>
                  <a:lnTo>
                    <a:pt x="457" y="403"/>
                  </a:lnTo>
                  <a:lnTo>
                    <a:pt x="449" y="387"/>
                  </a:lnTo>
                  <a:lnTo>
                    <a:pt x="441" y="372"/>
                  </a:lnTo>
                  <a:lnTo>
                    <a:pt x="431" y="359"/>
                  </a:lnTo>
                  <a:lnTo>
                    <a:pt x="421" y="347"/>
                  </a:lnTo>
                  <a:lnTo>
                    <a:pt x="397" y="322"/>
                  </a:lnTo>
                  <a:lnTo>
                    <a:pt x="371" y="300"/>
                  </a:lnTo>
                  <a:lnTo>
                    <a:pt x="345" y="277"/>
                  </a:lnTo>
                  <a:lnTo>
                    <a:pt x="319" y="253"/>
                  </a:lnTo>
                  <a:lnTo>
                    <a:pt x="299" y="237"/>
                  </a:lnTo>
                  <a:lnTo>
                    <a:pt x="279" y="218"/>
                  </a:lnTo>
                  <a:lnTo>
                    <a:pt x="261" y="200"/>
                  </a:lnTo>
                  <a:lnTo>
                    <a:pt x="242" y="182"/>
                  </a:lnTo>
                  <a:lnTo>
                    <a:pt x="224" y="162"/>
                  </a:lnTo>
                  <a:lnTo>
                    <a:pt x="208" y="143"/>
                  </a:lnTo>
                  <a:lnTo>
                    <a:pt x="192" y="124"/>
                  </a:lnTo>
                  <a:lnTo>
                    <a:pt x="179" y="105"/>
                  </a:lnTo>
                  <a:lnTo>
                    <a:pt x="158" y="79"/>
                  </a:lnTo>
                  <a:lnTo>
                    <a:pt x="136" y="52"/>
                  </a:lnTo>
                  <a:lnTo>
                    <a:pt x="127" y="40"/>
                  </a:lnTo>
                  <a:lnTo>
                    <a:pt x="120" y="27"/>
                  </a:lnTo>
                  <a:lnTo>
                    <a:pt x="117" y="21"/>
                  </a:lnTo>
                  <a:lnTo>
                    <a:pt x="115" y="14"/>
                  </a:lnTo>
                  <a:lnTo>
                    <a:pt x="113" y="7"/>
                  </a:lnTo>
                  <a:lnTo>
                    <a:pt x="113" y="0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279" name="Freeform 277"/>
            <p:cNvSpPr>
              <a:spLocks/>
            </p:cNvSpPr>
            <p:nvPr>
              <p:custDataLst>
                <p:tags r:id="rId205"/>
              </p:custDataLst>
            </p:nvPr>
          </p:nvSpPr>
          <p:spPr bwMode="auto">
            <a:xfrm>
              <a:off x="8674090" y="3869568"/>
              <a:ext cx="134059" cy="129883"/>
            </a:xfrm>
            <a:custGeom>
              <a:avLst/>
              <a:gdLst>
                <a:gd name="T0" fmla="*/ 152 w 293"/>
                <a:gd name="T1" fmla="*/ 19 h 246"/>
                <a:gd name="T2" fmla="*/ 179 w 293"/>
                <a:gd name="T3" fmla="*/ 30 h 246"/>
                <a:gd name="T4" fmla="*/ 196 w 293"/>
                <a:gd name="T5" fmla="*/ 30 h 246"/>
                <a:gd name="T6" fmla="*/ 202 w 293"/>
                <a:gd name="T7" fmla="*/ 18 h 246"/>
                <a:gd name="T8" fmla="*/ 210 w 293"/>
                <a:gd name="T9" fmla="*/ 10 h 246"/>
                <a:gd name="T10" fmla="*/ 219 w 293"/>
                <a:gd name="T11" fmla="*/ 6 h 246"/>
                <a:gd name="T12" fmla="*/ 245 w 293"/>
                <a:gd name="T13" fmla="*/ 2 h 246"/>
                <a:gd name="T14" fmla="*/ 293 w 293"/>
                <a:gd name="T15" fmla="*/ 80 h 246"/>
                <a:gd name="T16" fmla="*/ 266 w 293"/>
                <a:gd name="T17" fmla="*/ 107 h 246"/>
                <a:gd name="T18" fmla="*/ 237 w 293"/>
                <a:gd name="T19" fmla="*/ 141 h 246"/>
                <a:gd name="T20" fmla="*/ 225 w 293"/>
                <a:gd name="T21" fmla="*/ 159 h 246"/>
                <a:gd name="T22" fmla="*/ 215 w 293"/>
                <a:gd name="T23" fmla="*/ 178 h 246"/>
                <a:gd name="T24" fmla="*/ 209 w 293"/>
                <a:gd name="T25" fmla="*/ 197 h 246"/>
                <a:gd name="T26" fmla="*/ 206 w 293"/>
                <a:gd name="T27" fmla="*/ 216 h 246"/>
                <a:gd name="T28" fmla="*/ 196 w 293"/>
                <a:gd name="T29" fmla="*/ 217 h 246"/>
                <a:gd name="T30" fmla="*/ 186 w 293"/>
                <a:gd name="T31" fmla="*/ 220 h 246"/>
                <a:gd name="T32" fmla="*/ 170 w 293"/>
                <a:gd name="T33" fmla="*/ 229 h 246"/>
                <a:gd name="T34" fmla="*/ 154 w 293"/>
                <a:gd name="T35" fmla="*/ 239 h 246"/>
                <a:gd name="T36" fmla="*/ 133 w 293"/>
                <a:gd name="T37" fmla="*/ 246 h 246"/>
                <a:gd name="T38" fmla="*/ 102 w 293"/>
                <a:gd name="T39" fmla="*/ 240 h 246"/>
                <a:gd name="T40" fmla="*/ 71 w 293"/>
                <a:gd name="T41" fmla="*/ 232 h 246"/>
                <a:gd name="T42" fmla="*/ 59 w 293"/>
                <a:gd name="T43" fmla="*/ 226 h 246"/>
                <a:gd name="T44" fmla="*/ 49 w 293"/>
                <a:gd name="T45" fmla="*/ 220 h 246"/>
                <a:gd name="T46" fmla="*/ 43 w 293"/>
                <a:gd name="T47" fmla="*/ 212 h 246"/>
                <a:gd name="T48" fmla="*/ 41 w 293"/>
                <a:gd name="T49" fmla="*/ 204 h 246"/>
                <a:gd name="T50" fmla="*/ 47 w 293"/>
                <a:gd name="T51" fmla="*/ 178 h 246"/>
                <a:gd name="T52" fmla="*/ 45 w 293"/>
                <a:gd name="T53" fmla="*/ 162 h 246"/>
                <a:gd name="T54" fmla="*/ 40 w 293"/>
                <a:gd name="T55" fmla="*/ 147 h 246"/>
                <a:gd name="T56" fmla="*/ 24 w 293"/>
                <a:gd name="T57" fmla="*/ 119 h 246"/>
                <a:gd name="T58" fmla="*/ 8 w 293"/>
                <a:gd name="T59" fmla="*/ 91 h 246"/>
                <a:gd name="T60" fmla="*/ 2 w 293"/>
                <a:gd name="T61" fmla="*/ 74 h 246"/>
                <a:gd name="T62" fmla="*/ 0 w 293"/>
                <a:gd name="T63" fmla="*/ 55 h 246"/>
                <a:gd name="T64" fmla="*/ 2 w 293"/>
                <a:gd name="T65" fmla="*/ 45 h 246"/>
                <a:gd name="T66" fmla="*/ 8 w 293"/>
                <a:gd name="T67" fmla="*/ 36 h 246"/>
                <a:gd name="T68" fmla="*/ 17 w 293"/>
                <a:gd name="T69" fmla="*/ 29 h 246"/>
                <a:gd name="T70" fmla="*/ 26 w 293"/>
                <a:gd name="T71" fmla="*/ 22 h 246"/>
                <a:gd name="T72" fmla="*/ 48 w 293"/>
                <a:gd name="T73" fmla="*/ 14 h 246"/>
                <a:gd name="T74" fmla="*/ 67 w 293"/>
                <a:gd name="T75" fmla="*/ 12 h 246"/>
                <a:gd name="T76" fmla="*/ 96 w 293"/>
                <a:gd name="T77" fmla="*/ 12 h 246"/>
                <a:gd name="T78" fmla="*/ 133 w 293"/>
                <a:gd name="T79" fmla="*/ 1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3" h="246">
                  <a:moveTo>
                    <a:pt x="133" y="12"/>
                  </a:moveTo>
                  <a:lnTo>
                    <a:pt x="152" y="19"/>
                  </a:lnTo>
                  <a:lnTo>
                    <a:pt x="166" y="24"/>
                  </a:lnTo>
                  <a:lnTo>
                    <a:pt x="179" y="30"/>
                  </a:lnTo>
                  <a:lnTo>
                    <a:pt x="193" y="37"/>
                  </a:lnTo>
                  <a:lnTo>
                    <a:pt x="196" y="30"/>
                  </a:lnTo>
                  <a:lnTo>
                    <a:pt x="199" y="23"/>
                  </a:lnTo>
                  <a:lnTo>
                    <a:pt x="202" y="18"/>
                  </a:lnTo>
                  <a:lnTo>
                    <a:pt x="205" y="14"/>
                  </a:lnTo>
                  <a:lnTo>
                    <a:pt x="210" y="10"/>
                  </a:lnTo>
                  <a:lnTo>
                    <a:pt x="214" y="8"/>
                  </a:lnTo>
                  <a:lnTo>
                    <a:pt x="219" y="6"/>
                  </a:lnTo>
                  <a:lnTo>
                    <a:pt x="223" y="4"/>
                  </a:lnTo>
                  <a:lnTo>
                    <a:pt x="245" y="2"/>
                  </a:lnTo>
                  <a:lnTo>
                    <a:pt x="272" y="0"/>
                  </a:lnTo>
                  <a:lnTo>
                    <a:pt x="293" y="80"/>
                  </a:lnTo>
                  <a:lnTo>
                    <a:pt x="279" y="93"/>
                  </a:lnTo>
                  <a:lnTo>
                    <a:pt x="266" y="107"/>
                  </a:lnTo>
                  <a:lnTo>
                    <a:pt x="250" y="123"/>
                  </a:lnTo>
                  <a:lnTo>
                    <a:pt x="237" y="141"/>
                  </a:lnTo>
                  <a:lnTo>
                    <a:pt x="231" y="150"/>
                  </a:lnTo>
                  <a:lnTo>
                    <a:pt x="225" y="159"/>
                  </a:lnTo>
                  <a:lnTo>
                    <a:pt x="220" y="169"/>
                  </a:lnTo>
                  <a:lnTo>
                    <a:pt x="215" y="178"/>
                  </a:lnTo>
                  <a:lnTo>
                    <a:pt x="212" y="187"/>
                  </a:lnTo>
                  <a:lnTo>
                    <a:pt x="209" y="197"/>
                  </a:lnTo>
                  <a:lnTo>
                    <a:pt x="206" y="207"/>
                  </a:lnTo>
                  <a:lnTo>
                    <a:pt x="206" y="216"/>
                  </a:lnTo>
                  <a:lnTo>
                    <a:pt x="201" y="216"/>
                  </a:lnTo>
                  <a:lnTo>
                    <a:pt x="196" y="217"/>
                  </a:lnTo>
                  <a:lnTo>
                    <a:pt x="190" y="218"/>
                  </a:lnTo>
                  <a:lnTo>
                    <a:pt x="186" y="220"/>
                  </a:lnTo>
                  <a:lnTo>
                    <a:pt x="178" y="224"/>
                  </a:lnTo>
                  <a:lnTo>
                    <a:pt x="170" y="229"/>
                  </a:lnTo>
                  <a:lnTo>
                    <a:pt x="163" y="234"/>
                  </a:lnTo>
                  <a:lnTo>
                    <a:pt x="154" y="239"/>
                  </a:lnTo>
                  <a:lnTo>
                    <a:pt x="145" y="243"/>
                  </a:lnTo>
                  <a:lnTo>
                    <a:pt x="133" y="246"/>
                  </a:lnTo>
                  <a:lnTo>
                    <a:pt x="118" y="243"/>
                  </a:lnTo>
                  <a:lnTo>
                    <a:pt x="102" y="240"/>
                  </a:lnTo>
                  <a:lnTo>
                    <a:pt x="87" y="236"/>
                  </a:lnTo>
                  <a:lnTo>
                    <a:pt x="71" y="232"/>
                  </a:lnTo>
                  <a:lnTo>
                    <a:pt x="65" y="229"/>
                  </a:lnTo>
                  <a:lnTo>
                    <a:pt x="59" y="226"/>
                  </a:lnTo>
                  <a:lnTo>
                    <a:pt x="54" y="223"/>
                  </a:lnTo>
                  <a:lnTo>
                    <a:pt x="49" y="220"/>
                  </a:lnTo>
                  <a:lnTo>
                    <a:pt x="45" y="216"/>
                  </a:lnTo>
                  <a:lnTo>
                    <a:pt x="43" y="212"/>
                  </a:lnTo>
                  <a:lnTo>
                    <a:pt x="41" y="208"/>
                  </a:lnTo>
                  <a:lnTo>
                    <a:pt x="41" y="204"/>
                  </a:lnTo>
                  <a:lnTo>
                    <a:pt x="44" y="193"/>
                  </a:lnTo>
                  <a:lnTo>
                    <a:pt x="47" y="178"/>
                  </a:lnTo>
                  <a:lnTo>
                    <a:pt x="46" y="170"/>
                  </a:lnTo>
                  <a:lnTo>
                    <a:pt x="45" y="162"/>
                  </a:lnTo>
                  <a:lnTo>
                    <a:pt x="43" y="154"/>
                  </a:lnTo>
                  <a:lnTo>
                    <a:pt x="40" y="147"/>
                  </a:lnTo>
                  <a:lnTo>
                    <a:pt x="32" y="132"/>
                  </a:lnTo>
                  <a:lnTo>
                    <a:pt x="24" y="119"/>
                  </a:lnTo>
                  <a:lnTo>
                    <a:pt x="15" y="106"/>
                  </a:lnTo>
                  <a:lnTo>
                    <a:pt x="8" y="91"/>
                  </a:lnTo>
                  <a:lnTo>
                    <a:pt x="4" y="83"/>
                  </a:lnTo>
                  <a:lnTo>
                    <a:pt x="2" y="74"/>
                  </a:lnTo>
                  <a:lnTo>
                    <a:pt x="1" y="65"/>
                  </a:lnTo>
                  <a:lnTo>
                    <a:pt x="0" y="55"/>
                  </a:lnTo>
                  <a:lnTo>
                    <a:pt x="1" y="50"/>
                  </a:lnTo>
                  <a:lnTo>
                    <a:pt x="2" y="45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7" y="29"/>
                  </a:lnTo>
                  <a:lnTo>
                    <a:pt x="21" y="25"/>
                  </a:lnTo>
                  <a:lnTo>
                    <a:pt x="26" y="22"/>
                  </a:lnTo>
                  <a:lnTo>
                    <a:pt x="37" y="17"/>
                  </a:lnTo>
                  <a:lnTo>
                    <a:pt x="48" y="14"/>
                  </a:lnTo>
                  <a:lnTo>
                    <a:pt x="58" y="13"/>
                  </a:lnTo>
                  <a:lnTo>
                    <a:pt x="67" y="12"/>
                  </a:lnTo>
                  <a:lnTo>
                    <a:pt x="79" y="12"/>
                  </a:lnTo>
                  <a:lnTo>
                    <a:pt x="96" y="12"/>
                  </a:lnTo>
                  <a:lnTo>
                    <a:pt x="113" y="12"/>
                  </a:lnTo>
                  <a:lnTo>
                    <a:pt x="133" y="12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821" name="Freeform 278"/>
            <p:cNvSpPr>
              <a:spLocks/>
            </p:cNvSpPr>
            <p:nvPr>
              <p:custDataLst>
                <p:tags r:id="rId206"/>
              </p:custDataLst>
            </p:nvPr>
          </p:nvSpPr>
          <p:spPr bwMode="auto">
            <a:xfrm>
              <a:off x="9076369" y="3105589"/>
              <a:ext cx="85725" cy="130175"/>
            </a:xfrm>
            <a:custGeom>
              <a:avLst/>
              <a:gdLst>
                <a:gd name="T0" fmla="*/ 2147483647 w 200"/>
                <a:gd name="T1" fmla="*/ 2147483647 h 246"/>
                <a:gd name="T2" fmla="*/ 2147483647 w 200"/>
                <a:gd name="T3" fmla="*/ 2147483647 h 246"/>
                <a:gd name="T4" fmla="*/ 2147483647 w 200"/>
                <a:gd name="T5" fmla="*/ 2147483647 h 246"/>
                <a:gd name="T6" fmla="*/ 2147483647 w 200"/>
                <a:gd name="T7" fmla="*/ 2147483647 h 246"/>
                <a:gd name="T8" fmla="*/ 2147483647 w 200"/>
                <a:gd name="T9" fmla="*/ 2147483647 h 246"/>
                <a:gd name="T10" fmla="*/ 2147483647 w 200"/>
                <a:gd name="T11" fmla="*/ 2147483647 h 246"/>
                <a:gd name="T12" fmla="*/ 2147483647 w 200"/>
                <a:gd name="T13" fmla="*/ 2147483647 h 246"/>
                <a:gd name="T14" fmla="*/ 2147483647 w 200"/>
                <a:gd name="T15" fmla="*/ 2147483647 h 246"/>
                <a:gd name="T16" fmla="*/ 2147483647 w 200"/>
                <a:gd name="T17" fmla="*/ 2147483647 h 246"/>
                <a:gd name="T18" fmla="*/ 2147483647 w 200"/>
                <a:gd name="T19" fmla="*/ 2147483647 h 246"/>
                <a:gd name="T20" fmla="*/ 2147483647 w 200"/>
                <a:gd name="T21" fmla="*/ 2147483647 h 246"/>
                <a:gd name="T22" fmla="*/ 2147483647 w 200"/>
                <a:gd name="T23" fmla="*/ 2147483647 h 246"/>
                <a:gd name="T24" fmla="*/ 2147483647 w 200"/>
                <a:gd name="T25" fmla="*/ 2147483647 h 246"/>
                <a:gd name="T26" fmla="*/ 2147483647 w 200"/>
                <a:gd name="T27" fmla="*/ 2147483647 h 246"/>
                <a:gd name="T28" fmla="*/ 2147483647 w 200"/>
                <a:gd name="T29" fmla="*/ 2147483647 h 246"/>
                <a:gd name="T30" fmla="*/ 2147483647 w 200"/>
                <a:gd name="T31" fmla="*/ 2147483647 h 246"/>
                <a:gd name="T32" fmla="*/ 2147483647 w 200"/>
                <a:gd name="T33" fmla="*/ 2147483647 h 246"/>
                <a:gd name="T34" fmla="*/ 2147483647 w 200"/>
                <a:gd name="T35" fmla="*/ 2147483647 h 246"/>
                <a:gd name="T36" fmla="*/ 2147483647 w 200"/>
                <a:gd name="T37" fmla="*/ 2147483647 h 246"/>
                <a:gd name="T38" fmla="*/ 2147483647 w 200"/>
                <a:gd name="T39" fmla="*/ 2147483647 h 246"/>
                <a:gd name="T40" fmla="*/ 2147483647 w 200"/>
                <a:gd name="T41" fmla="*/ 2147483647 h 246"/>
                <a:gd name="T42" fmla="*/ 2147483647 w 200"/>
                <a:gd name="T43" fmla="*/ 2147483647 h 246"/>
                <a:gd name="T44" fmla="*/ 2147483647 w 200"/>
                <a:gd name="T45" fmla="*/ 2147483647 h 246"/>
                <a:gd name="T46" fmla="*/ 2147483647 w 200"/>
                <a:gd name="T47" fmla="*/ 2147483647 h 246"/>
                <a:gd name="T48" fmla="*/ 2147483647 w 200"/>
                <a:gd name="T49" fmla="*/ 2147483647 h 246"/>
                <a:gd name="T50" fmla="*/ 2147483647 w 200"/>
                <a:gd name="T51" fmla="*/ 2147483647 h 246"/>
                <a:gd name="T52" fmla="*/ 2147483647 w 200"/>
                <a:gd name="T53" fmla="*/ 2147483647 h 246"/>
                <a:gd name="T54" fmla="*/ 2147483647 w 200"/>
                <a:gd name="T55" fmla="*/ 2147483647 h 246"/>
                <a:gd name="T56" fmla="*/ 2147483647 w 200"/>
                <a:gd name="T57" fmla="*/ 2147483647 h 246"/>
                <a:gd name="T58" fmla="*/ 2147483647 w 200"/>
                <a:gd name="T59" fmla="*/ 2147483647 h 246"/>
                <a:gd name="T60" fmla="*/ 2147483647 w 200"/>
                <a:gd name="T61" fmla="*/ 2147483647 h 246"/>
                <a:gd name="T62" fmla="*/ 2147483647 w 200"/>
                <a:gd name="T63" fmla="*/ 2147483647 h 246"/>
                <a:gd name="T64" fmla="*/ 2147483647 w 200"/>
                <a:gd name="T65" fmla="*/ 2147483647 h 246"/>
                <a:gd name="T66" fmla="*/ 2147483647 w 200"/>
                <a:gd name="T67" fmla="*/ 2147483647 h 246"/>
                <a:gd name="T68" fmla="*/ 2147483647 w 200"/>
                <a:gd name="T69" fmla="*/ 2147483647 h 246"/>
                <a:gd name="T70" fmla="*/ 2147483647 w 200"/>
                <a:gd name="T71" fmla="*/ 2147483647 h 246"/>
                <a:gd name="T72" fmla="*/ 2147483647 w 200"/>
                <a:gd name="T73" fmla="*/ 2147483647 h 246"/>
                <a:gd name="T74" fmla="*/ 2147483647 w 200"/>
                <a:gd name="T75" fmla="*/ 2147483647 h 246"/>
                <a:gd name="T76" fmla="*/ 2147483647 w 200"/>
                <a:gd name="T77" fmla="*/ 2147483647 h 246"/>
                <a:gd name="T78" fmla="*/ 2147483647 w 200"/>
                <a:gd name="T79" fmla="*/ 2147483647 h 246"/>
                <a:gd name="T80" fmla="*/ 2147483647 w 200"/>
                <a:gd name="T81" fmla="*/ 2147483647 h 24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200" h="246">
                  <a:moveTo>
                    <a:pt x="13" y="49"/>
                  </a:moveTo>
                  <a:lnTo>
                    <a:pt x="18" y="41"/>
                  </a:lnTo>
                  <a:lnTo>
                    <a:pt x="22" y="32"/>
                  </a:lnTo>
                  <a:lnTo>
                    <a:pt x="28" y="26"/>
                  </a:lnTo>
                  <a:lnTo>
                    <a:pt x="33" y="20"/>
                  </a:lnTo>
                  <a:lnTo>
                    <a:pt x="38" y="16"/>
                  </a:lnTo>
                  <a:lnTo>
                    <a:pt x="44" y="12"/>
                  </a:lnTo>
                  <a:lnTo>
                    <a:pt x="50" y="9"/>
                  </a:lnTo>
                  <a:lnTo>
                    <a:pt x="54" y="6"/>
                  </a:lnTo>
                  <a:lnTo>
                    <a:pt x="73" y="1"/>
                  </a:lnTo>
                  <a:lnTo>
                    <a:pt x="80" y="0"/>
                  </a:lnTo>
                  <a:lnTo>
                    <a:pt x="88" y="12"/>
                  </a:lnTo>
                  <a:lnTo>
                    <a:pt x="98" y="23"/>
                  </a:lnTo>
                  <a:lnTo>
                    <a:pt x="108" y="34"/>
                  </a:lnTo>
                  <a:lnTo>
                    <a:pt x="119" y="46"/>
                  </a:lnTo>
                  <a:lnTo>
                    <a:pt x="125" y="50"/>
                  </a:lnTo>
                  <a:lnTo>
                    <a:pt x="132" y="54"/>
                  </a:lnTo>
                  <a:lnTo>
                    <a:pt x="139" y="58"/>
                  </a:lnTo>
                  <a:lnTo>
                    <a:pt x="145" y="61"/>
                  </a:lnTo>
                  <a:lnTo>
                    <a:pt x="152" y="64"/>
                  </a:lnTo>
                  <a:lnTo>
                    <a:pt x="158" y="66"/>
                  </a:lnTo>
                  <a:lnTo>
                    <a:pt x="166" y="67"/>
                  </a:lnTo>
                  <a:lnTo>
                    <a:pt x="174" y="67"/>
                  </a:lnTo>
                  <a:lnTo>
                    <a:pt x="184" y="96"/>
                  </a:lnTo>
                  <a:lnTo>
                    <a:pt x="191" y="123"/>
                  </a:lnTo>
                  <a:lnTo>
                    <a:pt x="195" y="137"/>
                  </a:lnTo>
                  <a:lnTo>
                    <a:pt x="198" y="151"/>
                  </a:lnTo>
                  <a:lnTo>
                    <a:pt x="199" y="165"/>
                  </a:lnTo>
                  <a:lnTo>
                    <a:pt x="200" y="178"/>
                  </a:lnTo>
                  <a:lnTo>
                    <a:pt x="200" y="185"/>
                  </a:lnTo>
                  <a:lnTo>
                    <a:pt x="199" y="192"/>
                  </a:lnTo>
                  <a:lnTo>
                    <a:pt x="198" y="197"/>
                  </a:lnTo>
                  <a:lnTo>
                    <a:pt x="196" y="202"/>
                  </a:lnTo>
                  <a:lnTo>
                    <a:pt x="195" y="207"/>
                  </a:lnTo>
                  <a:lnTo>
                    <a:pt x="192" y="211"/>
                  </a:lnTo>
                  <a:lnTo>
                    <a:pt x="189" y="214"/>
                  </a:lnTo>
                  <a:lnTo>
                    <a:pt x="186" y="216"/>
                  </a:lnTo>
                  <a:lnTo>
                    <a:pt x="179" y="220"/>
                  </a:lnTo>
                  <a:lnTo>
                    <a:pt x="173" y="222"/>
                  </a:lnTo>
                  <a:lnTo>
                    <a:pt x="164" y="224"/>
                  </a:lnTo>
                  <a:lnTo>
                    <a:pt x="156" y="224"/>
                  </a:lnTo>
                  <a:lnTo>
                    <a:pt x="140" y="224"/>
                  </a:lnTo>
                  <a:lnTo>
                    <a:pt x="124" y="226"/>
                  </a:lnTo>
                  <a:lnTo>
                    <a:pt x="118" y="229"/>
                  </a:lnTo>
                  <a:lnTo>
                    <a:pt x="112" y="232"/>
                  </a:lnTo>
                  <a:lnTo>
                    <a:pt x="111" y="235"/>
                  </a:lnTo>
                  <a:lnTo>
                    <a:pt x="109" y="238"/>
                  </a:lnTo>
                  <a:lnTo>
                    <a:pt x="108" y="242"/>
                  </a:lnTo>
                  <a:lnTo>
                    <a:pt x="107" y="246"/>
                  </a:lnTo>
                  <a:lnTo>
                    <a:pt x="98" y="245"/>
                  </a:lnTo>
                  <a:lnTo>
                    <a:pt x="90" y="243"/>
                  </a:lnTo>
                  <a:lnTo>
                    <a:pt x="85" y="240"/>
                  </a:lnTo>
                  <a:lnTo>
                    <a:pt x="80" y="235"/>
                  </a:lnTo>
                  <a:lnTo>
                    <a:pt x="77" y="230"/>
                  </a:lnTo>
                  <a:lnTo>
                    <a:pt x="75" y="223"/>
                  </a:lnTo>
                  <a:lnTo>
                    <a:pt x="73" y="216"/>
                  </a:lnTo>
                  <a:lnTo>
                    <a:pt x="72" y="209"/>
                  </a:lnTo>
                  <a:lnTo>
                    <a:pt x="72" y="192"/>
                  </a:lnTo>
                  <a:lnTo>
                    <a:pt x="72" y="176"/>
                  </a:lnTo>
                  <a:lnTo>
                    <a:pt x="71" y="168"/>
                  </a:lnTo>
                  <a:lnTo>
                    <a:pt x="71" y="161"/>
                  </a:lnTo>
                  <a:lnTo>
                    <a:pt x="69" y="154"/>
                  </a:lnTo>
                  <a:lnTo>
                    <a:pt x="67" y="148"/>
                  </a:lnTo>
                  <a:lnTo>
                    <a:pt x="64" y="142"/>
                  </a:lnTo>
                  <a:lnTo>
                    <a:pt x="61" y="137"/>
                  </a:lnTo>
                  <a:lnTo>
                    <a:pt x="56" y="134"/>
                  </a:lnTo>
                  <a:lnTo>
                    <a:pt x="51" y="130"/>
                  </a:lnTo>
                  <a:lnTo>
                    <a:pt x="40" y="125"/>
                  </a:lnTo>
                  <a:lnTo>
                    <a:pt x="29" y="120"/>
                  </a:lnTo>
                  <a:lnTo>
                    <a:pt x="18" y="115"/>
                  </a:lnTo>
                  <a:lnTo>
                    <a:pt x="9" y="110"/>
                  </a:lnTo>
                  <a:lnTo>
                    <a:pt x="6" y="106"/>
                  </a:lnTo>
                  <a:lnTo>
                    <a:pt x="3" y="103"/>
                  </a:lnTo>
                  <a:lnTo>
                    <a:pt x="1" y="98"/>
                  </a:lnTo>
                  <a:lnTo>
                    <a:pt x="0" y="93"/>
                  </a:lnTo>
                  <a:lnTo>
                    <a:pt x="1" y="87"/>
                  </a:lnTo>
                  <a:lnTo>
                    <a:pt x="3" y="83"/>
                  </a:lnTo>
                  <a:lnTo>
                    <a:pt x="5" y="78"/>
                  </a:lnTo>
                  <a:lnTo>
                    <a:pt x="7" y="73"/>
                  </a:lnTo>
                  <a:lnTo>
                    <a:pt x="10" y="68"/>
                  </a:lnTo>
                  <a:lnTo>
                    <a:pt x="12" y="62"/>
                  </a:lnTo>
                  <a:lnTo>
                    <a:pt x="13" y="56"/>
                  </a:lnTo>
                  <a:lnTo>
                    <a:pt x="13" y="49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22" name="Freeform 279"/>
            <p:cNvSpPr>
              <a:spLocks/>
            </p:cNvSpPr>
            <p:nvPr>
              <p:custDataLst>
                <p:tags r:id="rId207"/>
              </p:custDataLst>
            </p:nvPr>
          </p:nvSpPr>
          <p:spPr bwMode="auto">
            <a:xfrm>
              <a:off x="9644694" y="4402577"/>
              <a:ext cx="231775" cy="254000"/>
            </a:xfrm>
            <a:custGeom>
              <a:avLst/>
              <a:gdLst>
                <a:gd name="T0" fmla="*/ 2147483647 w 538"/>
                <a:gd name="T1" fmla="*/ 2147483647 h 487"/>
                <a:gd name="T2" fmla="*/ 2147483647 w 538"/>
                <a:gd name="T3" fmla="*/ 2147483647 h 487"/>
                <a:gd name="T4" fmla="*/ 2147483647 w 538"/>
                <a:gd name="T5" fmla="*/ 2147483647 h 487"/>
                <a:gd name="T6" fmla="*/ 2147483647 w 538"/>
                <a:gd name="T7" fmla="*/ 2147483647 h 487"/>
                <a:gd name="T8" fmla="*/ 2147483647 w 538"/>
                <a:gd name="T9" fmla="*/ 2147483647 h 487"/>
                <a:gd name="T10" fmla="*/ 2147483647 w 538"/>
                <a:gd name="T11" fmla="*/ 2147483647 h 487"/>
                <a:gd name="T12" fmla="*/ 2147483647 w 538"/>
                <a:gd name="T13" fmla="*/ 2147483647 h 487"/>
                <a:gd name="T14" fmla="*/ 2147483647 w 538"/>
                <a:gd name="T15" fmla="*/ 2147483647 h 487"/>
                <a:gd name="T16" fmla="*/ 2147483647 w 538"/>
                <a:gd name="T17" fmla="*/ 2147483647 h 487"/>
                <a:gd name="T18" fmla="*/ 2147483647 w 538"/>
                <a:gd name="T19" fmla="*/ 2147483647 h 487"/>
                <a:gd name="T20" fmla="*/ 2147483647 w 538"/>
                <a:gd name="T21" fmla="*/ 2147483647 h 487"/>
                <a:gd name="T22" fmla="*/ 2147483647 w 538"/>
                <a:gd name="T23" fmla="*/ 2147483647 h 487"/>
                <a:gd name="T24" fmla="*/ 2147483647 w 538"/>
                <a:gd name="T25" fmla="*/ 2147483647 h 487"/>
                <a:gd name="T26" fmla="*/ 2147483647 w 538"/>
                <a:gd name="T27" fmla="*/ 2147483647 h 487"/>
                <a:gd name="T28" fmla="*/ 2147483647 w 538"/>
                <a:gd name="T29" fmla="*/ 2147483647 h 487"/>
                <a:gd name="T30" fmla="*/ 2147483647 w 538"/>
                <a:gd name="T31" fmla="*/ 2147483647 h 487"/>
                <a:gd name="T32" fmla="*/ 2147483647 w 538"/>
                <a:gd name="T33" fmla="*/ 2147483647 h 487"/>
                <a:gd name="T34" fmla="*/ 2147483647 w 538"/>
                <a:gd name="T35" fmla="*/ 2147483647 h 487"/>
                <a:gd name="T36" fmla="*/ 2147483647 w 538"/>
                <a:gd name="T37" fmla="*/ 2147483647 h 487"/>
                <a:gd name="T38" fmla="*/ 2147483647 w 538"/>
                <a:gd name="T39" fmla="*/ 2147483647 h 487"/>
                <a:gd name="T40" fmla="*/ 2147483647 w 538"/>
                <a:gd name="T41" fmla="*/ 2147483647 h 487"/>
                <a:gd name="T42" fmla="*/ 2147483647 w 538"/>
                <a:gd name="T43" fmla="*/ 2147483647 h 487"/>
                <a:gd name="T44" fmla="*/ 2147483647 w 538"/>
                <a:gd name="T45" fmla="*/ 2147483647 h 487"/>
                <a:gd name="T46" fmla="*/ 2147483647 w 538"/>
                <a:gd name="T47" fmla="*/ 2147483647 h 487"/>
                <a:gd name="T48" fmla="*/ 2147483647 w 538"/>
                <a:gd name="T49" fmla="*/ 2147483647 h 487"/>
                <a:gd name="T50" fmla="*/ 2147483647 w 538"/>
                <a:gd name="T51" fmla="*/ 2147483647 h 487"/>
                <a:gd name="T52" fmla="*/ 2147483647 w 538"/>
                <a:gd name="T53" fmla="*/ 2147483647 h 487"/>
                <a:gd name="T54" fmla="*/ 2147483647 w 538"/>
                <a:gd name="T55" fmla="*/ 2147483647 h 487"/>
                <a:gd name="T56" fmla="*/ 2147483647 w 538"/>
                <a:gd name="T57" fmla="*/ 2147483647 h 487"/>
                <a:gd name="T58" fmla="*/ 2147483647 w 538"/>
                <a:gd name="T59" fmla="*/ 2147483647 h 487"/>
                <a:gd name="T60" fmla="*/ 2147483647 w 538"/>
                <a:gd name="T61" fmla="*/ 2147483647 h 487"/>
                <a:gd name="T62" fmla="*/ 2147483647 w 538"/>
                <a:gd name="T63" fmla="*/ 2147483647 h 487"/>
                <a:gd name="T64" fmla="*/ 2147483647 w 538"/>
                <a:gd name="T65" fmla="*/ 2147483647 h 487"/>
                <a:gd name="T66" fmla="*/ 2147483647 w 538"/>
                <a:gd name="T67" fmla="*/ 2147483647 h 487"/>
                <a:gd name="T68" fmla="*/ 2147483647 w 538"/>
                <a:gd name="T69" fmla="*/ 2147483647 h 487"/>
                <a:gd name="T70" fmla="*/ 2147483647 w 538"/>
                <a:gd name="T71" fmla="*/ 2147483647 h 487"/>
                <a:gd name="T72" fmla="*/ 2147483647 w 538"/>
                <a:gd name="T73" fmla="*/ 2147483647 h 487"/>
                <a:gd name="T74" fmla="*/ 2147483647 w 538"/>
                <a:gd name="T75" fmla="*/ 2147483647 h 487"/>
                <a:gd name="T76" fmla="*/ 2147483647 w 538"/>
                <a:gd name="T77" fmla="*/ 2147483647 h 487"/>
                <a:gd name="T78" fmla="*/ 2147483647 w 538"/>
                <a:gd name="T79" fmla="*/ 2147483647 h 487"/>
                <a:gd name="T80" fmla="*/ 2147483647 w 538"/>
                <a:gd name="T81" fmla="*/ 2147483647 h 487"/>
                <a:gd name="T82" fmla="*/ 2147483647 w 538"/>
                <a:gd name="T83" fmla="*/ 2147483647 h 487"/>
                <a:gd name="T84" fmla="*/ 2147483647 w 538"/>
                <a:gd name="T85" fmla="*/ 2147483647 h 487"/>
                <a:gd name="T86" fmla="*/ 2147483647 w 538"/>
                <a:gd name="T87" fmla="*/ 0 h 487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538" h="487">
                  <a:moveTo>
                    <a:pt x="20" y="0"/>
                  </a:moveTo>
                  <a:lnTo>
                    <a:pt x="58" y="10"/>
                  </a:lnTo>
                  <a:lnTo>
                    <a:pt x="91" y="21"/>
                  </a:lnTo>
                  <a:lnTo>
                    <a:pt x="119" y="30"/>
                  </a:lnTo>
                  <a:lnTo>
                    <a:pt x="142" y="38"/>
                  </a:lnTo>
                  <a:lnTo>
                    <a:pt x="160" y="47"/>
                  </a:lnTo>
                  <a:lnTo>
                    <a:pt x="177" y="55"/>
                  </a:lnTo>
                  <a:lnTo>
                    <a:pt x="190" y="62"/>
                  </a:lnTo>
                  <a:lnTo>
                    <a:pt x="202" y="70"/>
                  </a:lnTo>
                  <a:lnTo>
                    <a:pt x="222" y="86"/>
                  </a:lnTo>
                  <a:lnTo>
                    <a:pt x="242" y="102"/>
                  </a:lnTo>
                  <a:lnTo>
                    <a:pt x="253" y="110"/>
                  </a:lnTo>
                  <a:lnTo>
                    <a:pt x="266" y="118"/>
                  </a:lnTo>
                  <a:lnTo>
                    <a:pt x="281" y="127"/>
                  </a:lnTo>
                  <a:lnTo>
                    <a:pt x="300" y="136"/>
                  </a:lnTo>
                  <a:lnTo>
                    <a:pt x="297" y="152"/>
                  </a:lnTo>
                  <a:lnTo>
                    <a:pt x="297" y="158"/>
                  </a:lnTo>
                  <a:lnTo>
                    <a:pt x="299" y="161"/>
                  </a:lnTo>
                  <a:lnTo>
                    <a:pt x="300" y="167"/>
                  </a:lnTo>
                  <a:lnTo>
                    <a:pt x="314" y="178"/>
                  </a:lnTo>
                  <a:lnTo>
                    <a:pt x="347" y="205"/>
                  </a:lnTo>
                  <a:lnTo>
                    <a:pt x="381" y="231"/>
                  </a:lnTo>
                  <a:lnTo>
                    <a:pt x="399" y="247"/>
                  </a:lnTo>
                  <a:lnTo>
                    <a:pt x="393" y="248"/>
                  </a:lnTo>
                  <a:lnTo>
                    <a:pt x="386" y="250"/>
                  </a:lnTo>
                  <a:lnTo>
                    <a:pt x="382" y="250"/>
                  </a:lnTo>
                  <a:lnTo>
                    <a:pt x="379" y="250"/>
                  </a:lnTo>
                  <a:lnTo>
                    <a:pt x="376" y="249"/>
                  </a:lnTo>
                  <a:lnTo>
                    <a:pt x="372" y="247"/>
                  </a:lnTo>
                  <a:lnTo>
                    <a:pt x="372" y="256"/>
                  </a:lnTo>
                  <a:lnTo>
                    <a:pt x="372" y="265"/>
                  </a:lnTo>
                  <a:lnTo>
                    <a:pt x="372" y="272"/>
                  </a:lnTo>
                  <a:lnTo>
                    <a:pt x="372" y="278"/>
                  </a:lnTo>
                  <a:lnTo>
                    <a:pt x="373" y="285"/>
                  </a:lnTo>
                  <a:lnTo>
                    <a:pt x="375" y="292"/>
                  </a:lnTo>
                  <a:lnTo>
                    <a:pt x="377" y="301"/>
                  </a:lnTo>
                  <a:lnTo>
                    <a:pt x="380" y="309"/>
                  </a:lnTo>
                  <a:lnTo>
                    <a:pt x="384" y="317"/>
                  </a:lnTo>
                  <a:lnTo>
                    <a:pt x="389" y="325"/>
                  </a:lnTo>
                  <a:lnTo>
                    <a:pt x="394" y="333"/>
                  </a:lnTo>
                  <a:lnTo>
                    <a:pt x="401" y="341"/>
                  </a:lnTo>
                  <a:lnTo>
                    <a:pt x="407" y="348"/>
                  </a:lnTo>
                  <a:lnTo>
                    <a:pt x="414" y="355"/>
                  </a:lnTo>
                  <a:lnTo>
                    <a:pt x="421" y="361"/>
                  </a:lnTo>
                  <a:lnTo>
                    <a:pt x="428" y="366"/>
                  </a:lnTo>
                  <a:lnTo>
                    <a:pt x="436" y="371"/>
                  </a:lnTo>
                  <a:lnTo>
                    <a:pt x="444" y="374"/>
                  </a:lnTo>
                  <a:lnTo>
                    <a:pt x="451" y="376"/>
                  </a:lnTo>
                  <a:lnTo>
                    <a:pt x="459" y="376"/>
                  </a:lnTo>
                  <a:lnTo>
                    <a:pt x="459" y="384"/>
                  </a:lnTo>
                  <a:lnTo>
                    <a:pt x="461" y="390"/>
                  </a:lnTo>
                  <a:lnTo>
                    <a:pt x="465" y="396"/>
                  </a:lnTo>
                  <a:lnTo>
                    <a:pt x="468" y="401"/>
                  </a:lnTo>
                  <a:lnTo>
                    <a:pt x="472" y="406"/>
                  </a:lnTo>
                  <a:lnTo>
                    <a:pt x="478" y="411"/>
                  </a:lnTo>
                  <a:lnTo>
                    <a:pt x="483" y="414"/>
                  </a:lnTo>
                  <a:lnTo>
                    <a:pt x="489" y="417"/>
                  </a:lnTo>
                  <a:lnTo>
                    <a:pt x="500" y="423"/>
                  </a:lnTo>
                  <a:lnTo>
                    <a:pt x="510" y="429"/>
                  </a:lnTo>
                  <a:lnTo>
                    <a:pt x="513" y="432"/>
                  </a:lnTo>
                  <a:lnTo>
                    <a:pt x="516" y="436"/>
                  </a:lnTo>
                  <a:lnTo>
                    <a:pt x="518" y="440"/>
                  </a:lnTo>
                  <a:lnTo>
                    <a:pt x="518" y="444"/>
                  </a:lnTo>
                  <a:lnTo>
                    <a:pt x="519" y="446"/>
                  </a:lnTo>
                  <a:lnTo>
                    <a:pt x="522" y="448"/>
                  </a:lnTo>
                  <a:lnTo>
                    <a:pt x="525" y="450"/>
                  </a:lnTo>
                  <a:lnTo>
                    <a:pt x="528" y="452"/>
                  </a:lnTo>
                  <a:lnTo>
                    <a:pt x="536" y="455"/>
                  </a:lnTo>
                  <a:lnTo>
                    <a:pt x="538" y="456"/>
                  </a:lnTo>
                  <a:lnTo>
                    <a:pt x="538" y="461"/>
                  </a:lnTo>
                  <a:lnTo>
                    <a:pt x="536" y="467"/>
                  </a:lnTo>
                  <a:lnTo>
                    <a:pt x="534" y="472"/>
                  </a:lnTo>
                  <a:lnTo>
                    <a:pt x="529" y="477"/>
                  </a:lnTo>
                  <a:lnTo>
                    <a:pt x="525" y="481"/>
                  </a:lnTo>
                  <a:lnTo>
                    <a:pt x="519" y="484"/>
                  </a:lnTo>
                  <a:lnTo>
                    <a:pt x="513" y="487"/>
                  </a:lnTo>
                  <a:lnTo>
                    <a:pt x="505" y="487"/>
                  </a:lnTo>
                  <a:lnTo>
                    <a:pt x="490" y="487"/>
                  </a:lnTo>
                  <a:lnTo>
                    <a:pt x="474" y="485"/>
                  </a:lnTo>
                  <a:lnTo>
                    <a:pt x="461" y="483"/>
                  </a:lnTo>
                  <a:lnTo>
                    <a:pt x="448" y="480"/>
                  </a:lnTo>
                  <a:lnTo>
                    <a:pt x="436" y="476"/>
                  </a:lnTo>
                  <a:lnTo>
                    <a:pt x="425" y="471"/>
                  </a:lnTo>
                  <a:lnTo>
                    <a:pt x="414" y="466"/>
                  </a:lnTo>
                  <a:lnTo>
                    <a:pt x="404" y="459"/>
                  </a:lnTo>
                  <a:lnTo>
                    <a:pt x="395" y="453"/>
                  </a:lnTo>
                  <a:lnTo>
                    <a:pt x="386" y="446"/>
                  </a:lnTo>
                  <a:lnTo>
                    <a:pt x="378" y="438"/>
                  </a:lnTo>
                  <a:lnTo>
                    <a:pt x="369" y="431"/>
                  </a:lnTo>
                  <a:lnTo>
                    <a:pt x="355" y="415"/>
                  </a:lnTo>
                  <a:lnTo>
                    <a:pt x="341" y="398"/>
                  </a:lnTo>
                  <a:lnTo>
                    <a:pt x="326" y="381"/>
                  </a:lnTo>
                  <a:lnTo>
                    <a:pt x="312" y="365"/>
                  </a:lnTo>
                  <a:lnTo>
                    <a:pt x="298" y="350"/>
                  </a:lnTo>
                  <a:lnTo>
                    <a:pt x="282" y="336"/>
                  </a:lnTo>
                  <a:lnTo>
                    <a:pt x="274" y="330"/>
                  </a:lnTo>
                  <a:lnTo>
                    <a:pt x="265" y="325"/>
                  </a:lnTo>
                  <a:lnTo>
                    <a:pt x="256" y="320"/>
                  </a:lnTo>
                  <a:lnTo>
                    <a:pt x="246" y="316"/>
                  </a:lnTo>
                  <a:lnTo>
                    <a:pt x="235" y="313"/>
                  </a:lnTo>
                  <a:lnTo>
                    <a:pt x="224" y="311"/>
                  </a:lnTo>
                  <a:lnTo>
                    <a:pt x="212" y="309"/>
                  </a:lnTo>
                  <a:lnTo>
                    <a:pt x="200" y="309"/>
                  </a:lnTo>
                  <a:lnTo>
                    <a:pt x="189" y="309"/>
                  </a:lnTo>
                  <a:lnTo>
                    <a:pt x="180" y="310"/>
                  </a:lnTo>
                  <a:lnTo>
                    <a:pt x="171" y="311"/>
                  </a:lnTo>
                  <a:lnTo>
                    <a:pt x="165" y="313"/>
                  </a:lnTo>
                  <a:lnTo>
                    <a:pt x="153" y="317"/>
                  </a:lnTo>
                  <a:lnTo>
                    <a:pt x="144" y="322"/>
                  </a:lnTo>
                  <a:lnTo>
                    <a:pt x="130" y="334"/>
                  </a:lnTo>
                  <a:lnTo>
                    <a:pt x="113" y="345"/>
                  </a:lnTo>
                  <a:lnTo>
                    <a:pt x="126" y="352"/>
                  </a:lnTo>
                  <a:lnTo>
                    <a:pt x="134" y="358"/>
                  </a:lnTo>
                  <a:lnTo>
                    <a:pt x="136" y="361"/>
                  </a:lnTo>
                  <a:lnTo>
                    <a:pt x="138" y="363"/>
                  </a:lnTo>
                  <a:lnTo>
                    <a:pt x="140" y="366"/>
                  </a:lnTo>
                  <a:lnTo>
                    <a:pt x="140" y="370"/>
                  </a:lnTo>
                  <a:lnTo>
                    <a:pt x="136" y="380"/>
                  </a:lnTo>
                  <a:lnTo>
                    <a:pt x="130" y="394"/>
                  </a:lnTo>
                  <a:lnTo>
                    <a:pt x="124" y="401"/>
                  </a:lnTo>
                  <a:lnTo>
                    <a:pt x="120" y="407"/>
                  </a:lnTo>
                  <a:lnTo>
                    <a:pt x="117" y="412"/>
                  </a:lnTo>
                  <a:lnTo>
                    <a:pt x="113" y="414"/>
                  </a:lnTo>
                  <a:lnTo>
                    <a:pt x="93" y="395"/>
                  </a:lnTo>
                  <a:lnTo>
                    <a:pt x="70" y="399"/>
                  </a:lnTo>
                  <a:lnTo>
                    <a:pt x="47" y="403"/>
                  </a:lnTo>
                  <a:lnTo>
                    <a:pt x="28" y="406"/>
                  </a:lnTo>
                  <a:lnTo>
                    <a:pt x="20" y="407"/>
                  </a:lnTo>
                  <a:lnTo>
                    <a:pt x="20" y="259"/>
                  </a:lnTo>
                  <a:lnTo>
                    <a:pt x="0" y="234"/>
                  </a:lnTo>
                  <a:lnTo>
                    <a:pt x="20" y="222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23" name="Freeform 280"/>
            <p:cNvSpPr>
              <a:spLocks/>
            </p:cNvSpPr>
            <p:nvPr>
              <p:custDataLst>
                <p:tags r:id="rId208"/>
              </p:custDataLst>
            </p:nvPr>
          </p:nvSpPr>
          <p:spPr bwMode="auto">
            <a:xfrm>
              <a:off x="9836782" y="4386702"/>
              <a:ext cx="106362" cy="128587"/>
            </a:xfrm>
            <a:custGeom>
              <a:avLst/>
              <a:gdLst>
                <a:gd name="T0" fmla="*/ 2147483647 w 253"/>
                <a:gd name="T1" fmla="*/ 2147483647 h 246"/>
                <a:gd name="T2" fmla="*/ 2147483647 w 253"/>
                <a:gd name="T3" fmla="*/ 2147483647 h 246"/>
                <a:gd name="T4" fmla="*/ 2147483647 w 253"/>
                <a:gd name="T5" fmla="*/ 2147483647 h 246"/>
                <a:gd name="T6" fmla="*/ 2147483647 w 253"/>
                <a:gd name="T7" fmla="*/ 2147483647 h 246"/>
                <a:gd name="T8" fmla="*/ 2147483647 w 253"/>
                <a:gd name="T9" fmla="*/ 2147483647 h 246"/>
                <a:gd name="T10" fmla="*/ 2147483647 w 253"/>
                <a:gd name="T11" fmla="*/ 2147483647 h 246"/>
                <a:gd name="T12" fmla="*/ 2147483647 w 253"/>
                <a:gd name="T13" fmla="*/ 2147483647 h 246"/>
                <a:gd name="T14" fmla="*/ 2147483647 w 253"/>
                <a:gd name="T15" fmla="*/ 2147483647 h 246"/>
                <a:gd name="T16" fmla="*/ 2147483647 w 253"/>
                <a:gd name="T17" fmla="*/ 2147483647 h 246"/>
                <a:gd name="T18" fmla="*/ 2147483647 w 253"/>
                <a:gd name="T19" fmla="*/ 2147483647 h 246"/>
                <a:gd name="T20" fmla="*/ 2147483647 w 253"/>
                <a:gd name="T21" fmla="*/ 2147483647 h 246"/>
                <a:gd name="T22" fmla="*/ 2147483647 w 253"/>
                <a:gd name="T23" fmla="*/ 2147483647 h 246"/>
                <a:gd name="T24" fmla="*/ 2147483647 w 253"/>
                <a:gd name="T25" fmla="*/ 2147483647 h 246"/>
                <a:gd name="T26" fmla="*/ 2147483647 w 253"/>
                <a:gd name="T27" fmla="*/ 2147483647 h 246"/>
                <a:gd name="T28" fmla="*/ 2147483647 w 253"/>
                <a:gd name="T29" fmla="*/ 2147483647 h 246"/>
                <a:gd name="T30" fmla="*/ 2147483647 w 253"/>
                <a:gd name="T31" fmla="*/ 2147483647 h 246"/>
                <a:gd name="T32" fmla="*/ 2147483647 w 253"/>
                <a:gd name="T33" fmla="*/ 2147483647 h 246"/>
                <a:gd name="T34" fmla="*/ 2147483647 w 253"/>
                <a:gd name="T35" fmla="*/ 2147483647 h 246"/>
                <a:gd name="T36" fmla="*/ 2147483647 w 253"/>
                <a:gd name="T37" fmla="*/ 2147483647 h 246"/>
                <a:gd name="T38" fmla="*/ 2147483647 w 253"/>
                <a:gd name="T39" fmla="*/ 2147483647 h 246"/>
                <a:gd name="T40" fmla="*/ 2147483647 w 253"/>
                <a:gd name="T41" fmla="*/ 2147483647 h 246"/>
                <a:gd name="T42" fmla="*/ 2147483647 w 253"/>
                <a:gd name="T43" fmla="*/ 2147483647 h 246"/>
                <a:gd name="T44" fmla="*/ 2147483647 w 253"/>
                <a:gd name="T45" fmla="*/ 2147483647 h 246"/>
                <a:gd name="T46" fmla="*/ 2147483647 w 253"/>
                <a:gd name="T47" fmla="*/ 2147483647 h 246"/>
                <a:gd name="T48" fmla="*/ 2147483647 w 253"/>
                <a:gd name="T49" fmla="*/ 2147483647 h 246"/>
                <a:gd name="T50" fmla="*/ 2147483647 w 253"/>
                <a:gd name="T51" fmla="*/ 2147483647 h 246"/>
                <a:gd name="T52" fmla="*/ 2147483647 w 253"/>
                <a:gd name="T53" fmla="*/ 2147483647 h 246"/>
                <a:gd name="T54" fmla="*/ 2147483647 w 253"/>
                <a:gd name="T55" fmla="*/ 2147483647 h 246"/>
                <a:gd name="T56" fmla="*/ 2147483647 w 253"/>
                <a:gd name="T57" fmla="*/ 2147483647 h 246"/>
                <a:gd name="T58" fmla="*/ 2147483647 w 253"/>
                <a:gd name="T59" fmla="*/ 2147483647 h 246"/>
                <a:gd name="T60" fmla="*/ 2147483647 w 253"/>
                <a:gd name="T61" fmla="*/ 2147483647 h 246"/>
                <a:gd name="T62" fmla="*/ 2147483647 w 253"/>
                <a:gd name="T63" fmla="*/ 2147483647 h 246"/>
                <a:gd name="T64" fmla="*/ 2147483647 w 253"/>
                <a:gd name="T65" fmla="*/ 2147483647 h 246"/>
                <a:gd name="T66" fmla="*/ 2147483647 w 253"/>
                <a:gd name="T67" fmla="*/ 2147483647 h 246"/>
                <a:gd name="T68" fmla="*/ 2147483647 w 253"/>
                <a:gd name="T69" fmla="*/ 2147483647 h 246"/>
                <a:gd name="T70" fmla="*/ 2147483647 w 253"/>
                <a:gd name="T71" fmla="*/ 2147483647 h 246"/>
                <a:gd name="T72" fmla="*/ 2147483647 w 253"/>
                <a:gd name="T73" fmla="*/ 2147483647 h 246"/>
                <a:gd name="T74" fmla="*/ 2147483647 w 253"/>
                <a:gd name="T75" fmla="*/ 2147483647 h 246"/>
                <a:gd name="T76" fmla="*/ 2147483647 w 253"/>
                <a:gd name="T77" fmla="*/ 2147483647 h 246"/>
                <a:gd name="T78" fmla="*/ 2147483647 w 253"/>
                <a:gd name="T79" fmla="*/ 2147483647 h 246"/>
                <a:gd name="T80" fmla="*/ 2147483647 w 253"/>
                <a:gd name="T81" fmla="*/ 2147483647 h 246"/>
                <a:gd name="T82" fmla="*/ 2147483647 w 253"/>
                <a:gd name="T83" fmla="*/ 2147483647 h 246"/>
                <a:gd name="T84" fmla="*/ 2147483647 w 253"/>
                <a:gd name="T85" fmla="*/ 2147483647 h 246"/>
                <a:gd name="T86" fmla="*/ 2147483647 w 253"/>
                <a:gd name="T87" fmla="*/ 2147483647 h 246"/>
                <a:gd name="T88" fmla="*/ 2147483647 w 253"/>
                <a:gd name="T89" fmla="*/ 2147483647 h 246"/>
                <a:gd name="T90" fmla="*/ 2147483647 w 253"/>
                <a:gd name="T91" fmla="*/ 2147483647 h 246"/>
                <a:gd name="T92" fmla="*/ 2147483647 w 253"/>
                <a:gd name="T93" fmla="*/ 2147483647 h 246"/>
                <a:gd name="T94" fmla="*/ 2147483647 w 253"/>
                <a:gd name="T95" fmla="*/ 2147483647 h 246"/>
                <a:gd name="T96" fmla="*/ 2147483647 w 253"/>
                <a:gd name="T97" fmla="*/ 2147483647 h 246"/>
                <a:gd name="T98" fmla="*/ 2147483647 w 253"/>
                <a:gd name="T99" fmla="*/ 2147483647 h 246"/>
                <a:gd name="T100" fmla="*/ 2147483647 w 253"/>
                <a:gd name="T101" fmla="*/ 2147483647 h 246"/>
                <a:gd name="T102" fmla="*/ 2147483647 w 253"/>
                <a:gd name="T103" fmla="*/ 2147483647 h 246"/>
                <a:gd name="T104" fmla="*/ 2147483647 w 253"/>
                <a:gd name="T105" fmla="*/ 2147483647 h 246"/>
                <a:gd name="T106" fmla="*/ 2147483647 w 253"/>
                <a:gd name="T107" fmla="*/ 2147483647 h 246"/>
                <a:gd name="T108" fmla="*/ 2147483647 w 253"/>
                <a:gd name="T109" fmla="*/ 2147483647 h 246"/>
                <a:gd name="T110" fmla="*/ 2147483647 w 253"/>
                <a:gd name="T111" fmla="*/ 0 h 24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53" h="246">
                  <a:moveTo>
                    <a:pt x="127" y="0"/>
                  </a:moveTo>
                  <a:lnTo>
                    <a:pt x="136" y="1"/>
                  </a:lnTo>
                  <a:lnTo>
                    <a:pt x="146" y="4"/>
                  </a:lnTo>
                  <a:lnTo>
                    <a:pt x="157" y="8"/>
                  </a:lnTo>
                  <a:lnTo>
                    <a:pt x="168" y="14"/>
                  </a:lnTo>
                  <a:lnTo>
                    <a:pt x="179" y="21"/>
                  </a:lnTo>
                  <a:lnTo>
                    <a:pt x="189" y="28"/>
                  </a:lnTo>
                  <a:lnTo>
                    <a:pt x="199" y="37"/>
                  </a:lnTo>
                  <a:lnTo>
                    <a:pt x="209" y="47"/>
                  </a:lnTo>
                  <a:lnTo>
                    <a:pt x="218" y="57"/>
                  </a:lnTo>
                  <a:lnTo>
                    <a:pt x="227" y="66"/>
                  </a:lnTo>
                  <a:lnTo>
                    <a:pt x="234" y="76"/>
                  </a:lnTo>
                  <a:lnTo>
                    <a:pt x="240" y="85"/>
                  </a:lnTo>
                  <a:lnTo>
                    <a:pt x="245" y="94"/>
                  </a:lnTo>
                  <a:lnTo>
                    <a:pt x="250" y="103"/>
                  </a:lnTo>
                  <a:lnTo>
                    <a:pt x="252" y="111"/>
                  </a:lnTo>
                  <a:lnTo>
                    <a:pt x="253" y="117"/>
                  </a:lnTo>
                  <a:lnTo>
                    <a:pt x="252" y="128"/>
                  </a:lnTo>
                  <a:lnTo>
                    <a:pt x="248" y="140"/>
                  </a:lnTo>
                  <a:lnTo>
                    <a:pt x="243" y="151"/>
                  </a:lnTo>
                  <a:lnTo>
                    <a:pt x="236" y="163"/>
                  </a:lnTo>
                  <a:lnTo>
                    <a:pt x="229" y="174"/>
                  </a:lnTo>
                  <a:lnTo>
                    <a:pt x="219" y="185"/>
                  </a:lnTo>
                  <a:lnTo>
                    <a:pt x="209" y="195"/>
                  </a:lnTo>
                  <a:lnTo>
                    <a:pt x="197" y="204"/>
                  </a:lnTo>
                  <a:lnTo>
                    <a:pt x="184" y="214"/>
                  </a:lnTo>
                  <a:lnTo>
                    <a:pt x="171" y="222"/>
                  </a:lnTo>
                  <a:lnTo>
                    <a:pt x="157" y="229"/>
                  </a:lnTo>
                  <a:lnTo>
                    <a:pt x="143" y="235"/>
                  </a:lnTo>
                  <a:lnTo>
                    <a:pt x="129" y="240"/>
                  </a:lnTo>
                  <a:lnTo>
                    <a:pt x="115" y="243"/>
                  </a:lnTo>
                  <a:lnTo>
                    <a:pt x="100" y="245"/>
                  </a:lnTo>
                  <a:lnTo>
                    <a:pt x="86" y="246"/>
                  </a:lnTo>
                  <a:lnTo>
                    <a:pt x="74" y="245"/>
                  </a:lnTo>
                  <a:lnTo>
                    <a:pt x="64" y="243"/>
                  </a:lnTo>
                  <a:lnTo>
                    <a:pt x="53" y="240"/>
                  </a:lnTo>
                  <a:lnTo>
                    <a:pt x="43" y="237"/>
                  </a:lnTo>
                  <a:lnTo>
                    <a:pt x="33" y="234"/>
                  </a:lnTo>
                  <a:lnTo>
                    <a:pt x="22" y="231"/>
                  </a:lnTo>
                  <a:lnTo>
                    <a:pt x="11" y="229"/>
                  </a:lnTo>
                  <a:lnTo>
                    <a:pt x="0" y="228"/>
                  </a:lnTo>
                  <a:lnTo>
                    <a:pt x="3" y="219"/>
                  </a:lnTo>
                  <a:lnTo>
                    <a:pt x="6" y="212"/>
                  </a:lnTo>
                  <a:lnTo>
                    <a:pt x="10" y="205"/>
                  </a:lnTo>
                  <a:lnTo>
                    <a:pt x="16" y="200"/>
                  </a:lnTo>
                  <a:lnTo>
                    <a:pt x="22" y="196"/>
                  </a:lnTo>
                  <a:lnTo>
                    <a:pt x="29" y="193"/>
                  </a:lnTo>
                  <a:lnTo>
                    <a:pt x="37" y="191"/>
                  </a:lnTo>
                  <a:lnTo>
                    <a:pt x="46" y="191"/>
                  </a:lnTo>
                  <a:lnTo>
                    <a:pt x="50" y="197"/>
                  </a:lnTo>
                  <a:lnTo>
                    <a:pt x="53" y="209"/>
                  </a:lnTo>
                  <a:lnTo>
                    <a:pt x="60" y="207"/>
                  </a:lnTo>
                  <a:lnTo>
                    <a:pt x="65" y="204"/>
                  </a:lnTo>
                  <a:lnTo>
                    <a:pt x="68" y="201"/>
                  </a:lnTo>
                  <a:lnTo>
                    <a:pt x="72" y="198"/>
                  </a:lnTo>
                  <a:lnTo>
                    <a:pt x="75" y="190"/>
                  </a:lnTo>
                  <a:lnTo>
                    <a:pt x="79" y="179"/>
                  </a:lnTo>
                  <a:lnTo>
                    <a:pt x="84" y="180"/>
                  </a:lnTo>
                  <a:lnTo>
                    <a:pt x="88" y="181"/>
                  </a:lnTo>
                  <a:lnTo>
                    <a:pt x="91" y="181"/>
                  </a:lnTo>
                  <a:lnTo>
                    <a:pt x="95" y="181"/>
                  </a:lnTo>
                  <a:lnTo>
                    <a:pt x="98" y="179"/>
                  </a:lnTo>
                  <a:lnTo>
                    <a:pt x="99" y="179"/>
                  </a:lnTo>
                  <a:lnTo>
                    <a:pt x="106" y="178"/>
                  </a:lnTo>
                  <a:lnTo>
                    <a:pt x="112" y="177"/>
                  </a:lnTo>
                  <a:lnTo>
                    <a:pt x="120" y="174"/>
                  </a:lnTo>
                  <a:lnTo>
                    <a:pt x="130" y="171"/>
                  </a:lnTo>
                  <a:lnTo>
                    <a:pt x="149" y="164"/>
                  </a:lnTo>
                  <a:lnTo>
                    <a:pt x="169" y="153"/>
                  </a:lnTo>
                  <a:lnTo>
                    <a:pt x="179" y="147"/>
                  </a:lnTo>
                  <a:lnTo>
                    <a:pt x="188" y="141"/>
                  </a:lnTo>
                  <a:lnTo>
                    <a:pt x="197" y="135"/>
                  </a:lnTo>
                  <a:lnTo>
                    <a:pt x="205" y="129"/>
                  </a:lnTo>
                  <a:lnTo>
                    <a:pt x="210" y="123"/>
                  </a:lnTo>
                  <a:lnTo>
                    <a:pt x="216" y="117"/>
                  </a:lnTo>
                  <a:lnTo>
                    <a:pt x="218" y="111"/>
                  </a:lnTo>
                  <a:lnTo>
                    <a:pt x="219" y="105"/>
                  </a:lnTo>
                  <a:lnTo>
                    <a:pt x="219" y="98"/>
                  </a:lnTo>
                  <a:lnTo>
                    <a:pt x="217" y="92"/>
                  </a:lnTo>
                  <a:lnTo>
                    <a:pt x="214" y="88"/>
                  </a:lnTo>
                  <a:lnTo>
                    <a:pt x="212" y="84"/>
                  </a:lnTo>
                  <a:lnTo>
                    <a:pt x="210" y="80"/>
                  </a:lnTo>
                  <a:lnTo>
                    <a:pt x="208" y="76"/>
                  </a:lnTo>
                  <a:lnTo>
                    <a:pt x="207" y="72"/>
                  </a:lnTo>
                  <a:lnTo>
                    <a:pt x="206" y="68"/>
                  </a:lnTo>
                  <a:lnTo>
                    <a:pt x="201" y="67"/>
                  </a:lnTo>
                  <a:lnTo>
                    <a:pt x="196" y="67"/>
                  </a:lnTo>
                  <a:lnTo>
                    <a:pt x="191" y="65"/>
                  </a:lnTo>
                  <a:lnTo>
                    <a:pt x="188" y="63"/>
                  </a:lnTo>
                  <a:lnTo>
                    <a:pt x="184" y="61"/>
                  </a:lnTo>
                  <a:lnTo>
                    <a:pt x="182" y="57"/>
                  </a:lnTo>
                  <a:lnTo>
                    <a:pt x="180" y="54"/>
                  </a:lnTo>
                  <a:lnTo>
                    <a:pt x="179" y="49"/>
                  </a:lnTo>
                  <a:lnTo>
                    <a:pt x="140" y="49"/>
                  </a:lnTo>
                  <a:lnTo>
                    <a:pt x="138" y="47"/>
                  </a:lnTo>
                  <a:lnTo>
                    <a:pt x="136" y="44"/>
                  </a:lnTo>
                  <a:lnTo>
                    <a:pt x="136" y="39"/>
                  </a:lnTo>
                  <a:lnTo>
                    <a:pt x="136" y="36"/>
                  </a:lnTo>
                  <a:lnTo>
                    <a:pt x="139" y="27"/>
                  </a:lnTo>
                  <a:lnTo>
                    <a:pt x="140" y="18"/>
                  </a:lnTo>
                  <a:lnTo>
                    <a:pt x="124" y="14"/>
                  </a:lnTo>
                  <a:lnTo>
                    <a:pt x="110" y="11"/>
                  </a:lnTo>
                  <a:lnTo>
                    <a:pt x="104" y="11"/>
                  </a:lnTo>
                  <a:lnTo>
                    <a:pt x="97" y="12"/>
                  </a:lnTo>
                  <a:lnTo>
                    <a:pt x="91" y="15"/>
                  </a:lnTo>
                  <a:lnTo>
                    <a:pt x="86" y="18"/>
                  </a:lnTo>
                  <a:lnTo>
                    <a:pt x="96" y="10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3" y="1"/>
                  </a:lnTo>
                  <a:lnTo>
                    <a:pt x="119" y="0"/>
                  </a:lnTo>
                  <a:lnTo>
                    <a:pt x="1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24" name="Freeform 281"/>
            <p:cNvSpPr>
              <a:spLocks/>
            </p:cNvSpPr>
            <p:nvPr>
              <p:custDataLst>
                <p:tags r:id="rId209"/>
              </p:custDataLst>
            </p:nvPr>
          </p:nvSpPr>
          <p:spPr bwMode="auto">
            <a:xfrm>
              <a:off x="8112757" y="4019989"/>
              <a:ext cx="63500" cy="119063"/>
            </a:xfrm>
            <a:custGeom>
              <a:avLst/>
              <a:gdLst>
                <a:gd name="T0" fmla="*/ 2147483647 w 141"/>
                <a:gd name="T1" fmla="*/ 2147483647 h 228"/>
                <a:gd name="T2" fmla="*/ 2147483647 w 141"/>
                <a:gd name="T3" fmla="*/ 2147483647 h 228"/>
                <a:gd name="T4" fmla="*/ 2147483647 w 141"/>
                <a:gd name="T5" fmla="*/ 2147483647 h 228"/>
                <a:gd name="T6" fmla="*/ 2147483647 w 141"/>
                <a:gd name="T7" fmla="*/ 2147483647 h 228"/>
                <a:gd name="T8" fmla="*/ 2147483647 w 141"/>
                <a:gd name="T9" fmla="*/ 2147483647 h 228"/>
                <a:gd name="T10" fmla="*/ 2147483647 w 141"/>
                <a:gd name="T11" fmla="*/ 2147483647 h 228"/>
                <a:gd name="T12" fmla="*/ 2147483647 w 141"/>
                <a:gd name="T13" fmla="*/ 2147483647 h 228"/>
                <a:gd name="T14" fmla="*/ 2147483647 w 141"/>
                <a:gd name="T15" fmla="*/ 2147483647 h 228"/>
                <a:gd name="T16" fmla="*/ 0 w 141"/>
                <a:gd name="T17" fmla="*/ 2147483647 h 228"/>
                <a:gd name="T18" fmla="*/ 2147483647 w 141"/>
                <a:gd name="T19" fmla="*/ 2147483647 h 228"/>
                <a:gd name="T20" fmla="*/ 2147483647 w 141"/>
                <a:gd name="T21" fmla="*/ 2147483647 h 228"/>
                <a:gd name="T22" fmla="*/ 2147483647 w 141"/>
                <a:gd name="T23" fmla="*/ 2147483647 h 228"/>
                <a:gd name="T24" fmla="*/ 2147483647 w 141"/>
                <a:gd name="T25" fmla="*/ 2147483647 h 228"/>
                <a:gd name="T26" fmla="*/ 2147483647 w 141"/>
                <a:gd name="T27" fmla="*/ 2147483647 h 228"/>
                <a:gd name="T28" fmla="*/ 2147483647 w 141"/>
                <a:gd name="T29" fmla="*/ 0 h 228"/>
                <a:gd name="T30" fmla="*/ 2147483647 w 141"/>
                <a:gd name="T31" fmla="*/ 2147483647 h 228"/>
                <a:gd name="T32" fmla="*/ 2147483647 w 141"/>
                <a:gd name="T33" fmla="*/ 2147483647 h 228"/>
                <a:gd name="T34" fmla="*/ 2147483647 w 141"/>
                <a:gd name="T35" fmla="*/ 2147483647 h 228"/>
                <a:gd name="T36" fmla="*/ 2147483647 w 141"/>
                <a:gd name="T37" fmla="*/ 2147483647 h 228"/>
                <a:gd name="T38" fmla="*/ 2147483647 w 141"/>
                <a:gd name="T39" fmla="*/ 2147483647 h 228"/>
                <a:gd name="T40" fmla="*/ 2147483647 w 141"/>
                <a:gd name="T41" fmla="*/ 2147483647 h 228"/>
                <a:gd name="T42" fmla="*/ 2147483647 w 141"/>
                <a:gd name="T43" fmla="*/ 2147483647 h 228"/>
                <a:gd name="T44" fmla="*/ 2147483647 w 141"/>
                <a:gd name="T45" fmla="*/ 2147483647 h 228"/>
                <a:gd name="T46" fmla="*/ 2147483647 w 141"/>
                <a:gd name="T47" fmla="*/ 2147483647 h 228"/>
                <a:gd name="T48" fmla="*/ 2147483647 w 141"/>
                <a:gd name="T49" fmla="*/ 2147483647 h 228"/>
                <a:gd name="T50" fmla="*/ 2147483647 w 141"/>
                <a:gd name="T51" fmla="*/ 2147483647 h 228"/>
                <a:gd name="T52" fmla="*/ 2147483647 w 141"/>
                <a:gd name="T53" fmla="*/ 2147483647 h 228"/>
                <a:gd name="T54" fmla="*/ 2147483647 w 141"/>
                <a:gd name="T55" fmla="*/ 2147483647 h 228"/>
                <a:gd name="T56" fmla="*/ 2147483647 w 141"/>
                <a:gd name="T57" fmla="*/ 2147483647 h 228"/>
                <a:gd name="T58" fmla="*/ 2147483647 w 141"/>
                <a:gd name="T59" fmla="*/ 2147483647 h 228"/>
                <a:gd name="T60" fmla="*/ 2147483647 w 141"/>
                <a:gd name="T61" fmla="*/ 2147483647 h 228"/>
                <a:gd name="T62" fmla="*/ 2147483647 w 141"/>
                <a:gd name="T63" fmla="*/ 2147483647 h 228"/>
                <a:gd name="T64" fmla="*/ 2147483647 w 141"/>
                <a:gd name="T65" fmla="*/ 2147483647 h 228"/>
                <a:gd name="T66" fmla="*/ 2147483647 w 141"/>
                <a:gd name="T67" fmla="*/ 2147483647 h 228"/>
                <a:gd name="T68" fmla="*/ 2147483647 w 141"/>
                <a:gd name="T69" fmla="*/ 2147483647 h 228"/>
                <a:gd name="T70" fmla="*/ 2147483647 w 141"/>
                <a:gd name="T71" fmla="*/ 2147483647 h 228"/>
                <a:gd name="T72" fmla="*/ 2147483647 w 141"/>
                <a:gd name="T73" fmla="*/ 2147483647 h 228"/>
                <a:gd name="T74" fmla="*/ 2147483647 w 141"/>
                <a:gd name="T75" fmla="*/ 2147483647 h 228"/>
                <a:gd name="T76" fmla="*/ 2147483647 w 141"/>
                <a:gd name="T77" fmla="*/ 2147483647 h 228"/>
                <a:gd name="T78" fmla="*/ 2147483647 w 141"/>
                <a:gd name="T79" fmla="*/ 2147483647 h 228"/>
                <a:gd name="T80" fmla="*/ 2147483647 w 141"/>
                <a:gd name="T81" fmla="*/ 2147483647 h 2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41" h="228">
                  <a:moveTo>
                    <a:pt x="41" y="228"/>
                  </a:moveTo>
                  <a:lnTo>
                    <a:pt x="36" y="220"/>
                  </a:lnTo>
                  <a:lnTo>
                    <a:pt x="29" y="208"/>
                  </a:lnTo>
                  <a:lnTo>
                    <a:pt x="22" y="194"/>
                  </a:lnTo>
                  <a:lnTo>
                    <a:pt x="16" y="178"/>
                  </a:lnTo>
                  <a:lnTo>
                    <a:pt x="10" y="163"/>
                  </a:lnTo>
                  <a:lnTo>
                    <a:pt x="5" y="148"/>
                  </a:lnTo>
                  <a:lnTo>
                    <a:pt x="2" y="135"/>
                  </a:lnTo>
                  <a:lnTo>
                    <a:pt x="0" y="123"/>
                  </a:lnTo>
                  <a:lnTo>
                    <a:pt x="2" y="104"/>
                  </a:lnTo>
                  <a:lnTo>
                    <a:pt x="4" y="87"/>
                  </a:lnTo>
                  <a:lnTo>
                    <a:pt x="6" y="70"/>
                  </a:lnTo>
                  <a:lnTo>
                    <a:pt x="9" y="55"/>
                  </a:lnTo>
                  <a:lnTo>
                    <a:pt x="18" y="28"/>
                  </a:lnTo>
                  <a:lnTo>
                    <a:pt x="28" y="0"/>
                  </a:lnTo>
                  <a:lnTo>
                    <a:pt x="45" y="16"/>
                  </a:lnTo>
                  <a:lnTo>
                    <a:pt x="62" y="28"/>
                  </a:lnTo>
                  <a:lnTo>
                    <a:pt x="76" y="37"/>
                  </a:lnTo>
                  <a:lnTo>
                    <a:pt x="89" y="48"/>
                  </a:lnTo>
                  <a:lnTo>
                    <a:pt x="95" y="55"/>
                  </a:lnTo>
                  <a:lnTo>
                    <a:pt x="101" y="63"/>
                  </a:lnTo>
                  <a:lnTo>
                    <a:pt x="107" y="74"/>
                  </a:lnTo>
                  <a:lnTo>
                    <a:pt x="114" y="86"/>
                  </a:lnTo>
                  <a:lnTo>
                    <a:pt x="120" y="100"/>
                  </a:lnTo>
                  <a:lnTo>
                    <a:pt x="127" y="117"/>
                  </a:lnTo>
                  <a:lnTo>
                    <a:pt x="133" y="138"/>
                  </a:lnTo>
                  <a:lnTo>
                    <a:pt x="141" y="161"/>
                  </a:lnTo>
                  <a:lnTo>
                    <a:pt x="140" y="169"/>
                  </a:lnTo>
                  <a:lnTo>
                    <a:pt x="138" y="177"/>
                  </a:lnTo>
                  <a:lnTo>
                    <a:pt x="135" y="186"/>
                  </a:lnTo>
                  <a:lnTo>
                    <a:pt x="131" y="192"/>
                  </a:lnTo>
                  <a:lnTo>
                    <a:pt x="127" y="199"/>
                  </a:lnTo>
                  <a:lnTo>
                    <a:pt x="121" y="204"/>
                  </a:lnTo>
                  <a:lnTo>
                    <a:pt x="115" y="209"/>
                  </a:lnTo>
                  <a:lnTo>
                    <a:pt x="108" y="213"/>
                  </a:lnTo>
                  <a:lnTo>
                    <a:pt x="100" y="217"/>
                  </a:lnTo>
                  <a:lnTo>
                    <a:pt x="93" y="220"/>
                  </a:lnTo>
                  <a:lnTo>
                    <a:pt x="85" y="223"/>
                  </a:lnTo>
                  <a:lnTo>
                    <a:pt x="76" y="225"/>
                  </a:lnTo>
                  <a:lnTo>
                    <a:pt x="59" y="227"/>
                  </a:lnTo>
                  <a:lnTo>
                    <a:pt x="41" y="228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1284" name="Group 282"/>
            <p:cNvGrpSpPr>
              <a:grpSpLocks/>
            </p:cNvGrpSpPr>
            <p:nvPr>
              <p:custDataLst>
                <p:tags r:id="rId210"/>
              </p:custDataLst>
            </p:nvPr>
          </p:nvGrpSpPr>
          <p:grpSpPr bwMode="auto">
            <a:xfrm>
              <a:off x="9052557" y="3731064"/>
              <a:ext cx="233362" cy="439738"/>
              <a:chOff x="5062" y="2295"/>
              <a:chExt cx="177" cy="279"/>
            </a:xfrm>
            <a:solidFill>
              <a:schemeClr val="accent2">
                <a:lumMod val="50000"/>
              </a:schemeClr>
            </a:solidFill>
          </p:grpSpPr>
          <p:sp>
            <p:nvSpPr>
              <p:cNvPr id="1525" name="Freeform 283"/>
              <p:cNvSpPr>
                <a:spLocks/>
              </p:cNvSpPr>
              <p:nvPr/>
            </p:nvSpPr>
            <p:spPr bwMode="auto">
              <a:xfrm>
                <a:off x="5154" y="2449"/>
                <a:ext cx="19" cy="37"/>
              </a:xfrm>
              <a:custGeom>
                <a:avLst/>
                <a:gdLst>
                  <a:gd name="T0" fmla="*/ 39 w 60"/>
                  <a:gd name="T1" fmla="*/ 110 h 110"/>
                  <a:gd name="T2" fmla="*/ 42 w 60"/>
                  <a:gd name="T3" fmla="*/ 109 h 110"/>
                  <a:gd name="T4" fmla="*/ 46 w 60"/>
                  <a:gd name="T5" fmla="*/ 106 h 110"/>
                  <a:gd name="T6" fmla="*/ 49 w 60"/>
                  <a:gd name="T7" fmla="*/ 101 h 110"/>
                  <a:gd name="T8" fmla="*/ 52 w 60"/>
                  <a:gd name="T9" fmla="*/ 96 h 110"/>
                  <a:gd name="T10" fmla="*/ 54 w 60"/>
                  <a:gd name="T11" fmla="*/ 90 h 110"/>
                  <a:gd name="T12" fmla="*/ 57 w 60"/>
                  <a:gd name="T13" fmla="*/ 84 h 110"/>
                  <a:gd name="T14" fmla="*/ 59 w 60"/>
                  <a:gd name="T15" fmla="*/ 78 h 110"/>
                  <a:gd name="T16" fmla="*/ 60 w 60"/>
                  <a:gd name="T17" fmla="*/ 73 h 110"/>
                  <a:gd name="T18" fmla="*/ 59 w 60"/>
                  <a:gd name="T19" fmla="*/ 60 h 110"/>
                  <a:gd name="T20" fmla="*/ 58 w 60"/>
                  <a:gd name="T21" fmla="*/ 48 h 110"/>
                  <a:gd name="T22" fmla="*/ 57 w 60"/>
                  <a:gd name="T23" fmla="*/ 38 h 110"/>
                  <a:gd name="T24" fmla="*/ 54 w 60"/>
                  <a:gd name="T25" fmla="*/ 29 h 110"/>
                  <a:gd name="T26" fmla="*/ 51 w 60"/>
                  <a:gd name="T27" fmla="*/ 21 h 110"/>
                  <a:gd name="T28" fmla="*/ 48 w 60"/>
                  <a:gd name="T29" fmla="*/ 13 h 110"/>
                  <a:gd name="T30" fmla="*/ 45 w 60"/>
                  <a:gd name="T31" fmla="*/ 6 h 110"/>
                  <a:gd name="T32" fmla="*/ 39 w 60"/>
                  <a:gd name="T33" fmla="*/ 0 h 110"/>
                  <a:gd name="T34" fmla="*/ 35 w 60"/>
                  <a:gd name="T35" fmla="*/ 3 h 110"/>
                  <a:gd name="T36" fmla="*/ 30 w 60"/>
                  <a:gd name="T37" fmla="*/ 8 h 110"/>
                  <a:gd name="T38" fmla="*/ 27 w 60"/>
                  <a:gd name="T39" fmla="*/ 13 h 110"/>
                  <a:gd name="T40" fmla="*/ 24 w 60"/>
                  <a:gd name="T41" fmla="*/ 18 h 110"/>
                  <a:gd name="T42" fmla="*/ 18 w 60"/>
                  <a:gd name="T43" fmla="*/ 29 h 110"/>
                  <a:gd name="T44" fmla="*/ 15 w 60"/>
                  <a:gd name="T45" fmla="*/ 40 h 110"/>
                  <a:gd name="T46" fmla="*/ 10 w 60"/>
                  <a:gd name="T47" fmla="*/ 51 h 110"/>
                  <a:gd name="T48" fmla="*/ 7 w 60"/>
                  <a:gd name="T49" fmla="*/ 62 h 110"/>
                  <a:gd name="T50" fmla="*/ 6 w 60"/>
                  <a:gd name="T51" fmla="*/ 66 h 110"/>
                  <a:gd name="T52" fmla="*/ 4 w 60"/>
                  <a:gd name="T53" fmla="*/ 69 h 110"/>
                  <a:gd name="T54" fmla="*/ 2 w 60"/>
                  <a:gd name="T55" fmla="*/ 72 h 110"/>
                  <a:gd name="T56" fmla="*/ 0 w 60"/>
                  <a:gd name="T57" fmla="*/ 73 h 110"/>
                  <a:gd name="T58" fmla="*/ 1 w 60"/>
                  <a:gd name="T59" fmla="*/ 78 h 110"/>
                  <a:gd name="T60" fmla="*/ 3 w 60"/>
                  <a:gd name="T61" fmla="*/ 84 h 110"/>
                  <a:gd name="T62" fmla="*/ 7 w 60"/>
                  <a:gd name="T63" fmla="*/ 90 h 110"/>
                  <a:gd name="T64" fmla="*/ 12 w 60"/>
                  <a:gd name="T65" fmla="*/ 96 h 110"/>
                  <a:gd name="T66" fmla="*/ 18 w 60"/>
                  <a:gd name="T67" fmla="*/ 101 h 110"/>
                  <a:gd name="T68" fmla="*/ 25 w 60"/>
                  <a:gd name="T69" fmla="*/ 106 h 110"/>
                  <a:gd name="T70" fmla="*/ 32 w 60"/>
                  <a:gd name="T71" fmla="*/ 109 h 110"/>
                  <a:gd name="T72" fmla="*/ 39 w 60"/>
                  <a:gd name="T73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0" h="110">
                    <a:moveTo>
                      <a:pt x="39" y="110"/>
                    </a:moveTo>
                    <a:lnTo>
                      <a:pt x="42" y="109"/>
                    </a:lnTo>
                    <a:lnTo>
                      <a:pt x="46" y="106"/>
                    </a:lnTo>
                    <a:lnTo>
                      <a:pt x="49" y="101"/>
                    </a:lnTo>
                    <a:lnTo>
                      <a:pt x="52" y="96"/>
                    </a:lnTo>
                    <a:lnTo>
                      <a:pt x="54" y="90"/>
                    </a:lnTo>
                    <a:lnTo>
                      <a:pt x="57" y="84"/>
                    </a:lnTo>
                    <a:lnTo>
                      <a:pt x="59" y="78"/>
                    </a:lnTo>
                    <a:lnTo>
                      <a:pt x="60" y="73"/>
                    </a:lnTo>
                    <a:lnTo>
                      <a:pt x="59" y="60"/>
                    </a:lnTo>
                    <a:lnTo>
                      <a:pt x="58" y="48"/>
                    </a:lnTo>
                    <a:lnTo>
                      <a:pt x="57" y="38"/>
                    </a:lnTo>
                    <a:lnTo>
                      <a:pt x="54" y="29"/>
                    </a:lnTo>
                    <a:lnTo>
                      <a:pt x="51" y="21"/>
                    </a:lnTo>
                    <a:lnTo>
                      <a:pt x="48" y="13"/>
                    </a:lnTo>
                    <a:lnTo>
                      <a:pt x="45" y="6"/>
                    </a:lnTo>
                    <a:lnTo>
                      <a:pt x="39" y="0"/>
                    </a:lnTo>
                    <a:lnTo>
                      <a:pt x="35" y="3"/>
                    </a:lnTo>
                    <a:lnTo>
                      <a:pt x="30" y="8"/>
                    </a:lnTo>
                    <a:lnTo>
                      <a:pt x="27" y="13"/>
                    </a:lnTo>
                    <a:lnTo>
                      <a:pt x="24" y="18"/>
                    </a:lnTo>
                    <a:lnTo>
                      <a:pt x="18" y="29"/>
                    </a:lnTo>
                    <a:lnTo>
                      <a:pt x="15" y="40"/>
                    </a:lnTo>
                    <a:lnTo>
                      <a:pt x="10" y="51"/>
                    </a:lnTo>
                    <a:lnTo>
                      <a:pt x="7" y="62"/>
                    </a:lnTo>
                    <a:lnTo>
                      <a:pt x="6" y="66"/>
                    </a:lnTo>
                    <a:lnTo>
                      <a:pt x="4" y="69"/>
                    </a:lnTo>
                    <a:lnTo>
                      <a:pt x="2" y="72"/>
                    </a:lnTo>
                    <a:lnTo>
                      <a:pt x="0" y="73"/>
                    </a:lnTo>
                    <a:lnTo>
                      <a:pt x="1" y="78"/>
                    </a:lnTo>
                    <a:lnTo>
                      <a:pt x="3" y="84"/>
                    </a:lnTo>
                    <a:lnTo>
                      <a:pt x="7" y="90"/>
                    </a:lnTo>
                    <a:lnTo>
                      <a:pt x="12" y="96"/>
                    </a:lnTo>
                    <a:lnTo>
                      <a:pt x="18" y="101"/>
                    </a:lnTo>
                    <a:lnTo>
                      <a:pt x="25" y="106"/>
                    </a:lnTo>
                    <a:lnTo>
                      <a:pt x="32" y="109"/>
                    </a:lnTo>
                    <a:lnTo>
                      <a:pt x="39" y="11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26" name="Freeform 284"/>
              <p:cNvSpPr>
                <a:spLocks/>
              </p:cNvSpPr>
              <p:nvPr/>
            </p:nvSpPr>
            <p:spPr bwMode="auto">
              <a:xfrm>
                <a:off x="5189" y="2422"/>
                <a:ext cx="24" cy="25"/>
              </a:xfrm>
              <a:custGeom>
                <a:avLst/>
                <a:gdLst>
                  <a:gd name="T0" fmla="*/ 0 w 72"/>
                  <a:gd name="T1" fmla="*/ 13 h 75"/>
                  <a:gd name="T2" fmla="*/ 8 w 72"/>
                  <a:gd name="T3" fmla="*/ 18 h 75"/>
                  <a:gd name="T4" fmla="*/ 15 w 72"/>
                  <a:gd name="T5" fmla="*/ 25 h 75"/>
                  <a:gd name="T6" fmla="*/ 23 w 72"/>
                  <a:gd name="T7" fmla="*/ 32 h 75"/>
                  <a:gd name="T8" fmla="*/ 31 w 72"/>
                  <a:gd name="T9" fmla="*/ 40 h 75"/>
                  <a:gd name="T10" fmla="*/ 37 w 72"/>
                  <a:gd name="T11" fmla="*/ 48 h 75"/>
                  <a:gd name="T12" fmla="*/ 42 w 72"/>
                  <a:gd name="T13" fmla="*/ 57 h 75"/>
                  <a:gd name="T14" fmla="*/ 45 w 72"/>
                  <a:gd name="T15" fmla="*/ 65 h 75"/>
                  <a:gd name="T16" fmla="*/ 46 w 72"/>
                  <a:gd name="T17" fmla="*/ 75 h 75"/>
                  <a:gd name="T18" fmla="*/ 72 w 72"/>
                  <a:gd name="T19" fmla="*/ 75 h 75"/>
                  <a:gd name="T20" fmla="*/ 65 w 72"/>
                  <a:gd name="T21" fmla="*/ 50 h 75"/>
                  <a:gd name="T22" fmla="*/ 60 w 72"/>
                  <a:gd name="T23" fmla="*/ 34 h 75"/>
                  <a:gd name="T24" fmla="*/ 60 w 72"/>
                  <a:gd name="T25" fmla="*/ 27 h 75"/>
                  <a:gd name="T26" fmla="*/ 63 w 72"/>
                  <a:gd name="T27" fmla="*/ 19 h 75"/>
                  <a:gd name="T28" fmla="*/ 67 w 72"/>
                  <a:gd name="T29" fmla="*/ 11 h 75"/>
                  <a:gd name="T30" fmla="*/ 72 w 72"/>
                  <a:gd name="T31" fmla="*/ 1 h 75"/>
                  <a:gd name="T32" fmla="*/ 52 w 72"/>
                  <a:gd name="T33" fmla="*/ 0 h 75"/>
                  <a:gd name="T34" fmla="*/ 32 w 72"/>
                  <a:gd name="T35" fmla="*/ 0 h 75"/>
                  <a:gd name="T36" fmla="*/ 22 w 72"/>
                  <a:gd name="T37" fmla="*/ 1 h 75"/>
                  <a:gd name="T38" fmla="*/ 13 w 72"/>
                  <a:gd name="T39" fmla="*/ 3 h 75"/>
                  <a:gd name="T40" fmla="*/ 9 w 72"/>
                  <a:gd name="T41" fmla="*/ 5 h 75"/>
                  <a:gd name="T42" fmla="*/ 6 w 72"/>
                  <a:gd name="T43" fmla="*/ 7 h 75"/>
                  <a:gd name="T44" fmla="*/ 2 w 72"/>
                  <a:gd name="T45" fmla="*/ 10 h 75"/>
                  <a:gd name="T46" fmla="*/ 0 w 72"/>
                  <a:gd name="T47" fmla="*/ 13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2" h="75">
                    <a:moveTo>
                      <a:pt x="0" y="13"/>
                    </a:moveTo>
                    <a:lnTo>
                      <a:pt x="8" y="18"/>
                    </a:lnTo>
                    <a:lnTo>
                      <a:pt x="15" y="25"/>
                    </a:lnTo>
                    <a:lnTo>
                      <a:pt x="23" y="32"/>
                    </a:lnTo>
                    <a:lnTo>
                      <a:pt x="31" y="40"/>
                    </a:lnTo>
                    <a:lnTo>
                      <a:pt x="37" y="48"/>
                    </a:lnTo>
                    <a:lnTo>
                      <a:pt x="42" y="57"/>
                    </a:lnTo>
                    <a:lnTo>
                      <a:pt x="45" y="65"/>
                    </a:lnTo>
                    <a:lnTo>
                      <a:pt x="46" y="75"/>
                    </a:lnTo>
                    <a:lnTo>
                      <a:pt x="72" y="75"/>
                    </a:lnTo>
                    <a:lnTo>
                      <a:pt x="65" y="50"/>
                    </a:lnTo>
                    <a:lnTo>
                      <a:pt x="60" y="34"/>
                    </a:lnTo>
                    <a:lnTo>
                      <a:pt x="60" y="27"/>
                    </a:lnTo>
                    <a:lnTo>
                      <a:pt x="63" y="19"/>
                    </a:lnTo>
                    <a:lnTo>
                      <a:pt x="67" y="11"/>
                    </a:lnTo>
                    <a:lnTo>
                      <a:pt x="72" y="1"/>
                    </a:lnTo>
                    <a:lnTo>
                      <a:pt x="52" y="0"/>
                    </a:lnTo>
                    <a:lnTo>
                      <a:pt x="32" y="0"/>
                    </a:lnTo>
                    <a:lnTo>
                      <a:pt x="22" y="1"/>
                    </a:lnTo>
                    <a:lnTo>
                      <a:pt x="13" y="3"/>
                    </a:lnTo>
                    <a:lnTo>
                      <a:pt x="9" y="5"/>
                    </a:lnTo>
                    <a:lnTo>
                      <a:pt x="6" y="7"/>
                    </a:lnTo>
                    <a:lnTo>
                      <a:pt x="2" y="10"/>
                    </a:lnTo>
                    <a:lnTo>
                      <a:pt x="0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27" name="Freeform 285"/>
              <p:cNvSpPr>
                <a:spLocks/>
              </p:cNvSpPr>
              <p:nvPr/>
            </p:nvSpPr>
            <p:spPr bwMode="auto">
              <a:xfrm>
                <a:off x="5160" y="2389"/>
                <a:ext cx="5" cy="16"/>
              </a:xfrm>
              <a:custGeom>
                <a:avLst/>
                <a:gdLst>
                  <a:gd name="T0" fmla="*/ 15 w 15"/>
                  <a:gd name="T1" fmla="*/ 49 h 49"/>
                  <a:gd name="T2" fmla="*/ 15 w 15"/>
                  <a:gd name="T3" fmla="*/ 33 h 49"/>
                  <a:gd name="T4" fmla="*/ 15 w 15"/>
                  <a:gd name="T5" fmla="*/ 19 h 49"/>
                  <a:gd name="T6" fmla="*/ 14 w 15"/>
                  <a:gd name="T7" fmla="*/ 13 h 49"/>
                  <a:gd name="T8" fmla="*/ 13 w 15"/>
                  <a:gd name="T9" fmla="*/ 7 h 49"/>
                  <a:gd name="T10" fmla="*/ 11 w 15"/>
                  <a:gd name="T11" fmla="*/ 3 h 49"/>
                  <a:gd name="T12" fmla="*/ 9 w 15"/>
                  <a:gd name="T13" fmla="*/ 0 h 49"/>
                  <a:gd name="T14" fmla="*/ 4 w 15"/>
                  <a:gd name="T15" fmla="*/ 7 h 49"/>
                  <a:gd name="T16" fmla="*/ 2 w 15"/>
                  <a:gd name="T17" fmla="*/ 15 h 49"/>
                  <a:gd name="T18" fmla="*/ 0 w 15"/>
                  <a:gd name="T19" fmla="*/ 23 h 49"/>
                  <a:gd name="T20" fmla="*/ 0 w 15"/>
                  <a:gd name="T21" fmla="*/ 30 h 49"/>
                  <a:gd name="T22" fmla="*/ 1 w 15"/>
                  <a:gd name="T23" fmla="*/ 36 h 49"/>
                  <a:gd name="T24" fmla="*/ 4 w 15"/>
                  <a:gd name="T25" fmla="*/ 42 h 49"/>
                  <a:gd name="T26" fmla="*/ 7 w 15"/>
                  <a:gd name="T27" fmla="*/ 44 h 49"/>
                  <a:gd name="T28" fmla="*/ 9 w 15"/>
                  <a:gd name="T29" fmla="*/ 46 h 49"/>
                  <a:gd name="T30" fmla="*/ 12 w 15"/>
                  <a:gd name="T31" fmla="*/ 48 h 49"/>
                  <a:gd name="T32" fmla="*/ 15 w 15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5" h="49">
                    <a:moveTo>
                      <a:pt x="15" y="49"/>
                    </a:moveTo>
                    <a:lnTo>
                      <a:pt x="15" y="33"/>
                    </a:lnTo>
                    <a:lnTo>
                      <a:pt x="15" y="19"/>
                    </a:lnTo>
                    <a:lnTo>
                      <a:pt x="14" y="13"/>
                    </a:lnTo>
                    <a:lnTo>
                      <a:pt x="13" y="7"/>
                    </a:lnTo>
                    <a:lnTo>
                      <a:pt x="11" y="3"/>
                    </a:lnTo>
                    <a:lnTo>
                      <a:pt x="9" y="0"/>
                    </a:lnTo>
                    <a:lnTo>
                      <a:pt x="4" y="7"/>
                    </a:lnTo>
                    <a:lnTo>
                      <a:pt x="2" y="15"/>
                    </a:lnTo>
                    <a:lnTo>
                      <a:pt x="0" y="23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4" y="42"/>
                    </a:lnTo>
                    <a:lnTo>
                      <a:pt x="7" y="44"/>
                    </a:lnTo>
                    <a:lnTo>
                      <a:pt x="9" y="46"/>
                    </a:lnTo>
                    <a:lnTo>
                      <a:pt x="12" y="48"/>
                    </a:lnTo>
                    <a:lnTo>
                      <a:pt x="15" y="49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28" name="Freeform 286"/>
              <p:cNvSpPr>
                <a:spLocks/>
              </p:cNvSpPr>
              <p:nvPr/>
            </p:nvSpPr>
            <p:spPr bwMode="auto">
              <a:xfrm>
                <a:off x="5139" y="2387"/>
                <a:ext cx="15" cy="13"/>
              </a:xfrm>
              <a:custGeom>
                <a:avLst/>
                <a:gdLst>
                  <a:gd name="T0" fmla="*/ 20 w 47"/>
                  <a:gd name="T1" fmla="*/ 6 h 40"/>
                  <a:gd name="T2" fmla="*/ 0 w 47"/>
                  <a:gd name="T3" fmla="*/ 37 h 40"/>
                  <a:gd name="T4" fmla="*/ 6 w 47"/>
                  <a:gd name="T5" fmla="*/ 39 h 40"/>
                  <a:gd name="T6" fmla="*/ 12 w 47"/>
                  <a:gd name="T7" fmla="*/ 40 h 40"/>
                  <a:gd name="T8" fmla="*/ 19 w 47"/>
                  <a:gd name="T9" fmla="*/ 39 h 40"/>
                  <a:gd name="T10" fmla="*/ 26 w 47"/>
                  <a:gd name="T11" fmla="*/ 38 h 40"/>
                  <a:gd name="T12" fmla="*/ 32 w 47"/>
                  <a:gd name="T13" fmla="*/ 36 h 40"/>
                  <a:gd name="T14" fmla="*/ 39 w 47"/>
                  <a:gd name="T15" fmla="*/ 33 h 40"/>
                  <a:gd name="T16" fmla="*/ 43 w 47"/>
                  <a:gd name="T17" fmla="*/ 30 h 40"/>
                  <a:gd name="T18" fmla="*/ 47 w 47"/>
                  <a:gd name="T19" fmla="*/ 25 h 40"/>
                  <a:gd name="T20" fmla="*/ 47 w 47"/>
                  <a:gd name="T21" fmla="*/ 0 h 40"/>
                  <a:gd name="T22" fmla="*/ 41 w 47"/>
                  <a:gd name="T23" fmla="*/ 0 h 40"/>
                  <a:gd name="T24" fmla="*/ 33 w 47"/>
                  <a:gd name="T25" fmla="*/ 1 h 40"/>
                  <a:gd name="T26" fmla="*/ 26 w 47"/>
                  <a:gd name="T27" fmla="*/ 3 h 40"/>
                  <a:gd name="T28" fmla="*/ 20 w 47"/>
                  <a:gd name="T29" fmla="*/ 6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7" h="40">
                    <a:moveTo>
                      <a:pt x="20" y="6"/>
                    </a:moveTo>
                    <a:lnTo>
                      <a:pt x="0" y="37"/>
                    </a:lnTo>
                    <a:lnTo>
                      <a:pt x="6" y="39"/>
                    </a:lnTo>
                    <a:lnTo>
                      <a:pt x="12" y="40"/>
                    </a:lnTo>
                    <a:lnTo>
                      <a:pt x="19" y="39"/>
                    </a:lnTo>
                    <a:lnTo>
                      <a:pt x="26" y="38"/>
                    </a:lnTo>
                    <a:lnTo>
                      <a:pt x="32" y="36"/>
                    </a:lnTo>
                    <a:lnTo>
                      <a:pt x="39" y="33"/>
                    </a:lnTo>
                    <a:lnTo>
                      <a:pt x="43" y="30"/>
                    </a:lnTo>
                    <a:lnTo>
                      <a:pt x="47" y="25"/>
                    </a:lnTo>
                    <a:lnTo>
                      <a:pt x="47" y="0"/>
                    </a:lnTo>
                    <a:lnTo>
                      <a:pt x="41" y="0"/>
                    </a:lnTo>
                    <a:lnTo>
                      <a:pt x="33" y="1"/>
                    </a:lnTo>
                    <a:lnTo>
                      <a:pt x="26" y="3"/>
                    </a:lnTo>
                    <a:lnTo>
                      <a:pt x="2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29" name="Freeform 287"/>
              <p:cNvSpPr>
                <a:spLocks/>
              </p:cNvSpPr>
              <p:nvPr/>
            </p:nvSpPr>
            <p:spPr bwMode="auto">
              <a:xfrm>
                <a:off x="5184" y="2465"/>
                <a:ext cx="13" cy="10"/>
              </a:xfrm>
              <a:custGeom>
                <a:avLst/>
                <a:gdLst>
                  <a:gd name="T0" fmla="*/ 0 w 39"/>
                  <a:gd name="T1" fmla="*/ 0 h 31"/>
                  <a:gd name="T2" fmla="*/ 3 w 39"/>
                  <a:gd name="T3" fmla="*/ 8 h 31"/>
                  <a:gd name="T4" fmla="*/ 6 w 39"/>
                  <a:gd name="T5" fmla="*/ 13 h 31"/>
                  <a:gd name="T6" fmla="*/ 12 w 39"/>
                  <a:gd name="T7" fmla="*/ 19 h 31"/>
                  <a:gd name="T8" fmla="*/ 17 w 39"/>
                  <a:gd name="T9" fmla="*/ 23 h 31"/>
                  <a:gd name="T10" fmla="*/ 23 w 39"/>
                  <a:gd name="T11" fmla="*/ 26 h 31"/>
                  <a:gd name="T12" fmla="*/ 28 w 39"/>
                  <a:gd name="T13" fmla="*/ 29 h 31"/>
                  <a:gd name="T14" fmla="*/ 34 w 39"/>
                  <a:gd name="T15" fmla="*/ 31 h 31"/>
                  <a:gd name="T16" fmla="*/ 39 w 39"/>
                  <a:gd name="T17" fmla="*/ 31 h 31"/>
                  <a:gd name="T18" fmla="*/ 33 w 39"/>
                  <a:gd name="T19" fmla="*/ 22 h 31"/>
                  <a:gd name="T20" fmla="*/ 25 w 39"/>
                  <a:gd name="T21" fmla="*/ 14 h 31"/>
                  <a:gd name="T22" fmla="*/ 16 w 39"/>
                  <a:gd name="T23" fmla="*/ 7 h 31"/>
                  <a:gd name="T24" fmla="*/ 6 w 39"/>
                  <a:gd name="T2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0"/>
                    </a:moveTo>
                    <a:lnTo>
                      <a:pt x="3" y="8"/>
                    </a:lnTo>
                    <a:lnTo>
                      <a:pt x="6" y="13"/>
                    </a:lnTo>
                    <a:lnTo>
                      <a:pt x="12" y="19"/>
                    </a:lnTo>
                    <a:lnTo>
                      <a:pt x="17" y="23"/>
                    </a:lnTo>
                    <a:lnTo>
                      <a:pt x="23" y="26"/>
                    </a:lnTo>
                    <a:lnTo>
                      <a:pt x="28" y="29"/>
                    </a:lnTo>
                    <a:lnTo>
                      <a:pt x="34" y="31"/>
                    </a:lnTo>
                    <a:lnTo>
                      <a:pt x="39" y="31"/>
                    </a:lnTo>
                    <a:lnTo>
                      <a:pt x="33" y="22"/>
                    </a:lnTo>
                    <a:lnTo>
                      <a:pt x="25" y="14"/>
                    </a:lnTo>
                    <a:lnTo>
                      <a:pt x="16" y="7"/>
                    </a:lnTo>
                    <a:lnTo>
                      <a:pt x="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0" name="Freeform 288"/>
              <p:cNvSpPr>
                <a:spLocks/>
              </p:cNvSpPr>
              <p:nvPr/>
            </p:nvSpPr>
            <p:spPr bwMode="auto">
              <a:xfrm>
                <a:off x="5172" y="2410"/>
                <a:ext cx="10" cy="6"/>
              </a:xfrm>
              <a:custGeom>
                <a:avLst/>
                <a:gdLst>
                  <a:gd name="T0" fmla="*/ 0 w 34"/>
                  <a:gd name="T1" fmla="*/ 0 h 19"/>
                  <a:gd name="T2" fmla="*/ 34 w 34"/>
                  <a:gd name="T3" fmla="*/ 19 h 19"/>
                  <a:gd name="T4" fmla="*/ 34 w 34"/>
                  <a:gd name="T5" fmla="*/ 0 h 19"/>
                  <a:gd name="T6" fmla="*/ 24 w 34"/>
                  <a:gd name="T7" fmla="*/ 0 h 19"/>
                  <a:gd name="T8" fmla="*/ 14 w 34"/>
                  <a:gd name="T9" fmla="*/ 0 h 19"/>
                  <a:gd name="T10" fmla="*/ 7 w 34"/>
                  <a:gd name="T11" fmla="*/ 0 h 19"/>
                  <a:gd name="T12" fmla="*/ 0 w 3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9">
                    <a:moveTo>
                      <a:pt x="0" y="0"/>
                    </a:moveTo>
                    <a:lnTo>
                      <a:pt x="34" y="19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4" y="0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1" name="Freeform 289"/>
              <p:cNvSpPr>
                <a:spLocks/>
              </p:cNvSpPr>
              <p:nvPr/>
            </p:nvSpPr>
            <p:spPr bwMode="auto">
              <a:xfrm>
                <a:off x="5180" y="2471"/>
                <a:ext cx="6" cy="4"/>
              </a:xfrm>
              <a:custGeom>
                <a:avLst/>
                <a:gdLst>
                  <a:gd name="T0" fmla="*/ 0 w 19"/>
                  <a:gd name="T1" fmla="*/ 0 h 12"/>
                  <a:gd name="T2" fmla="*/ 19 w 19"/>
                  <a:gd name="T3" fmla="*/ 12 h 12"/>
                  <a:gd name="T4" fmla="*/ 13 w 19"/>
                  <a:gd name="T5" fmla="*/ 6 h 12"/>
                  <a:gd name="T6" fmla="*/ 6 w 19"/>
                  <a:gd name="T7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2">
                    <a:moveTo>
                      <a:pt x="0" y="0"/>
                    </a:moveTo>
                    <a:lnTo>
                      <a:pt x="19" y="12"/>
                    </a:lnTo>
                    <a:lnTo>
                      <a:pt x="13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2" name="Freeform 290"/>
              <p:cNvSpPr>
                <a:spLocks/>
              </p:cNvSpPr>
              <p:nvPr/>
            </p:nvSpPr>
            <p:spPr bwMode="auto">
              <a:xfrm>
                <a:off x="5062" y="2447"/>
                <a:ext cx="42" cy="55"/>
              </a:xfrm>
              <a:custGeom>
                <a:avLst/>
                <a:gdLst>
                  <a:gd name="T0" fmla="*/ 113 w 126"/>
                  <a:gd name="T1" fmla="*/ 0 h 166"/>
                  <a:gd name="T2" fmla="*/ 117 w 126"/>
                  <a:gd name="T3" fmla="*/ 5 h 166"/>
                  <a:gd name="T4" fmla="*/ 121 w 126"/>
                  <a:gd name="T5" fmla="*/ 10 h 166"/>
                  <a:gd name="T6" fmla="*/ 124 w 126"/>
                  <a:gd name="T7" fmla="*/ 13 h 166"/>
                  <a:gd name="T8" fmla="*/ 125 w 126"/>
                  <a:gd name="T9" fmla="*/ 17 h 166"/>
                  <a:gd name="T10" fmla="*/ 126 w 126"/>
                  <a:gd name="T11" fmla="*/ 20 h 166"/>
                  <a:gd name="T12" fmla="*/ 126 w 126"/>
                  <a:gd name="T13" fmla="*/ 25 h 166"/>
                  <a:gd name="T14" fmla="*/ 123 w 126"/>
                  <a:gd name="T15" fmla="*/ 32 h 166"/>
                  <a:gd name="T16" fmla="*/ 118 w 126"/>
                  <a:gd name="T17" fmla="*/ 41 h 166"/>
                  <a:gd name="T18" fmla="*/ 113 w 126"/>
                  <a:gd name="T19" fmla="*/ 50 h 166"/>
                  <a:gd name="T20" fmla="*/ 106 w 126"/>
                  <a:gd name="T21" fmla="*/ 61 h 166"/>
                  <a:gd name="T22" fmla="*/ 91 w 126"/>
                  <a:gd name="T23" fmla="*/ 83 h 166"/>
                  <a:gd name="T24" fmla="*/ 72 w 126"/>
                  <a:gd name="T25" fmla="*/ 104 h 166"/>
                  <a:gd name="T26" fmla="*/ 53 w 126"/>
                  <a:gd name="T27" fmla="*/ 126 h 166"/>
                  <a:gd name="T28" fmla="*/ 34 w 126"/>
                  <a:gd name="T29" fmla="*/ 144 h 166"/>
                  <a:gd name="T30" fmla="*/ 25 w 126"/>
                  <a:gd name="T31" fmla="*/ 152 h 166"/>
                  <a:gd name="T32" fmla="*/ 16 w 126"/>
                  <a:gd name="T33" fmla="*/ 158 h 166"/>
                  <a:gd name="T34" fmla="*/ 7 w 126"/>
                  <a:gd name="T35" fmla="*/ 163 h 166"/>
                  <a:gd name="T36" fmla="*/ 0 w 126"/>
                  <a:gd name="T37" fmla="*/ 166 h 166"/>
                  <a:gd name="T38" fmla="*/ 0 w 126"/>
                  <a:gd name="T39" fmla="*/ 160 h 166"/>
                  <a:gd name="T40" fmla="*/ 0 w 126"/>
                  <a:gd name="T41" fmla="*/ 153 h 166"/>
                  <a:gd name="T42" fmla="*/ 0 w 126"/>
                  <a:gd name="T43" fmla="*/ 145 h 166"/>
                  <a:gd name="T44" fmla="*/ 0 w 126"/>
                  <a:gd name="T45" fmla="*/ 136 h 166"/>
                  <a:gd name="T46" fmla="*/ 3 w 126"/>
                  <a:gd name="T47" fmla="*/ 131 h 166"/>
                  <a:gd name="T48" fmla="*/ 6 w 126"/>
                  <a:gd name="T49" fmla="*/ 128 h 166"/>
                  <a:gd name="T50" fmla="*/ 12 w 126"/>
                  <a:gd name="T51" fmla="*/ 124 h 166"/>
                  <a:gd name="T52" fmla="*/ 16 w 126"/>
                  <a:gd name="T53" fmla="*/ 121 h 166"/>
                  <a:gd name="T54" fmla="*/ 26 w 126"/>
                  <a:gd name="T55" fmla="*/ 116 h 166"/>
                  <a:gd name="T56" fmla="*/ 33 w 126"/>
                  <a:gd name="T57" fmla="*/ 110 h 166"/>
                  <a:gd name="T58" fmla="*/ 40 w 126"/>
                  <a:gd name="T59" fmla="*/ 104 h 166"/>
                  <a:gd name="T60" fmla="*/ 48 w 126"/>
                  <a:gd name="T61" fmla="*/ 96 h 166"/>
                  <a:gd name="T62" fmla="*/ 53 w 126"/>
                  <a:gd name="T63" fmla="*/ 89 h 166"/>
                  <a:gd name="T64" fmla="*/ 58 w 126"/>
                  <a:gd name="T65" fmla="*/ 82 h 166"/>
                  <a:gd name="T66" fmla="*/ 67 w 126"/>
                  <a:gd name="T67" fmla="*/ 66 h 166"/>
                  <a:gd name="T68" fmla="*/ 72 w 126"/>
                  <a:gd name="T69" fmla="*/ 50 h 166"/>
                  <a:gd name="T70" fmla="*/ 79 w 126"/>
                  <a:gd name="T71" fmla="*/ 36 h 166"/>
                  <a:gd name="T72" fmla="*/ 87 w 126"/>
                  <a:gd name="T73" fmla="*/ 23 h 166"/>
                  <a:gd name="T74" fmla="*/ 92 w 126"/>
                  <a:gd name="T75" fmla="*/ 16 h 166"/>
                  <a:gd name="T76" fmla="*/ 97 w 126"/>
                  <a:gd name="T77" fmla="*/ 11 h 166"/>
                  <a:gd name="T78" fmla="*/ 104 w 126"/>
                  <a:gd name="T79" fmla="*/ 5 h 166"/>
                  <a:gd name="T80" fmla="*/ 113 w 126"/>
                  <a:gd name="T81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6" h="166">
                    <a:moveTo>
                      <a:pt x="113" y="0"/>
                    </a:moveTo>
                    <a:lnTo>
                      <a:pt x="117" y="5"/>
                    </a:lnTo>
                    <a:lnTo>
                      <a:pt x="121" y="10"/>
                    </a:lnTo>
                    <a:lnTo>
                      <a:pt x="124" y="13"/>
                    </a:lnTo>
                    <a:lnTo>
                      <a:pt x="125" y="17"/>
                    </a:lnTo>
                    <a:lnTo>
                      <a:pt x="126" y="20"/>
                    </a:lnTo>
                    <a:lnTo>
                      <a:pt x="126" y="25"/>
                    </a:lnTo>
                    <a:lnTo>
                      <a:pt x="123" y="32"/>
                    </a:lnTo>
                    <a:lnTo>
                      <a:pt x="118" y="41"/>
                    </a:lnTo>
                    <a:lnTo>
                      <a:pt x="113" y="50"/>
                    </a:lnTo>
                    <a:lnTo>
                      <a:pt x="106" y="61"/>
                    </a:lnTo>
                    <a:lnTo>
                      <a:pt x="91" y="83"/>
                    </a:lnTo>
                    <a:lnTo>
                      <a:pt x="72" y="104"/>
                    </a:lnTo>
                    <a:lnTo>
                      <a:pt x="53" y="126"/>
                    </a:lnTo>
                    <a:lnTo>
                      <a:pt x="34" y="144"/>
                    </a:lnTo>
                    <a:lnTo>
                      <a:pt x="25" y="152"/>
                    </a:lnTo>
                    <a:lnTo>
                      <a:pt x="16" y="158"/>
                    </a:lnTo>
                    <a:lnTo>
                      <a:pt x="7" y="163"/>
                    </a:lnTo>
                    <a:lnTo>
                      <a:pt x="0" y="166"/>
                    </a:lnTo>
                    <a:lnTo>
                      <a:pt x="0" y="160"/>
                    </a:lnTo>
                    <a:lnTo>
                      <a:pt x="0" y="153"/>
                    </a:lnTo>
                    <a:lnTo>
                      <a:pt x="0" y="145"/>
                    </a:lnTo>
                    <a:lnTo>
                      <a:pt x="0" y="136"/>
                    </a:lnTo>
                    <a:lnTo>
                      <a:pt x="3" y="131"/>
                    </a:lnTo>
                    <a:lnTo>
                      <a:pt x="6" y="128"/>
                    </a:lnTo>
                    <a:lnTo>
                      <a:pt x="12" y="124"/>
                    </a:lnTo>
                    <a:lnTo>
                      <a:pt x="16" y="121"/>
                    </a:lnTo>
                    <a:lnTo>
                      <a:pt x="26" y="116"/>
                    </a:lnTo>
                    <a:lnTo>
                      <a:pt x="33" y="110"/>
                    </a:lnTo>
                    <a:lnTo>
                      <a:pt x="40" y="104"/>
                    </a:lnTo>
                    <a:lnTo>
                      <a:pt x="48" y="96"/>
                    </a:lnTo>
                    <a:lnTo>
                      <a:pt x="53" y="89"/>
                    </a:lnTo>
                    <a:lnTo>
                      <a:pt x="58" y="82"/>
                    </a:lnTo>
                    <a:lnTo>
                      <a:pt x="67" y="66"/>
                    </a:lnTo>
                    <a:lnTo>
                      <a:pt x="72" y="50"/>
                    </a:lnTo>
                    <a:lnTo>
                      <a:pt x="79" y="36"/>
                    </a:lnTo>
                    <a:lnTo>
                      <a:pt x="87" y="23"/>
                    </a:lnTo>
                    <a:lnTo>
                      <a:pt x="92" y="16"/>
                    </a:lnTo>
                    <a:lnTo>
                      <a:pt x="97" y="11"/>
                    </a:lnTo>
                    <a:lnTo>
                      <a:pt x="104" y="5"/>
                    </a:lnTo>
                    <a:lnTo>
                      <a:pt x="1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3" name="Freeform 291"/>
              <p:cNvSpPr>
                <a:spLocks/>
              </p:cNvSpPr>
              <p:nvPr/>
            </p:nvSpPr>
            <p:spPr bwMode="auto">
              <a:xfrm>
                <a:off x="5154" y="2465"/>
                <a:ext cx="85" cy="86"/>
              </a:xfrm>
              <a:custGeom>
                <a:avLst/>
                <a:gdLst>
                  <a:gd name="T0" fmla="*/ 8 w 259"/>
                  <a:gd name="T1" fmla="*/ 182 h 259"/>
                  <a:gd name="T2" fmla="*/ 1 w 259"/>
                  <a:gd name="T3" fmla="*/ 163 h 259"/>
                  <a:gd name="T4" fmla="*/ 0 w 259"/>
                  <a:gd name="T5" fmla="*/ 142 h 259"/>
                  <a:gd name="T6" fmla="*/ 6 w 259"/>
                  <a:gd name="T7" fmla="*/ 130 h 259"/>
                  <a:gd name="T8" fmla="*/ 19 w 259"/>
                  <a:gd name="T9" fmla="*/ 126 h 259"/>
                  <a:gd name="T10" fmla="*/ 34 w 259"/>
                  <a:gd name="T11" fmla="*/ 117 h 259"/>
                  <a:gd name="T12" fmla="*/ 48 w 259"/>
                  <a:gd name="T13" fmla="*/ 100 h 259"/>
                  <a:gd name="T14" fmla="*/ 60 w 259"/>
                  <a:gd name="T15" fmla="*/ 91 h 259"/>
                  <a:gd name="T16" fmla="*/ 68 w 259"/>
                  <a:gd name="T17" fmla="*/ 87 h 259"/>
                  <a:gd name="T18" fmla="*/ 83 w 259"/>
                  <a:gd name="T19" fmla="*/ 87 h 259"/>
                  <a:gd name="T20" fmla="*/ 94 w 259"/>
                  <a:gd name="T21" fmla="*/ 93 h 259"/>
                  <a:gd name="T22" fmla="*/ 101 w 259"/>
                  <a:gd name="T23" fmla="*/ 105 h 259"/>
                  <a:gd name="T24" fmla="*/ 108 w 259"/>
                  <a:gd name="T25" fmla="*/ 110 h 259"/>
                  <a:gd name="T26" fmla="*/ 120 w 259"/>
                  <a:gd name="T27" fmla="*/ 110 h 259"/>
                  <a:gd name="T28" fmla="*/ 135 w 259"/>
                  <a:gd name="T29" fmla="*/ 104 h 259"/>
                  <a:gd name="T30" fmla="*/ 148 w 259"/>
                  <a:gd name="T31" fmla="*/ 93 h 259"/>
                  <a:gd name="T32" fmla="*/ 160 w 259"/>
                  <a:gd name="T33" fmla="*/ 78 h 259"/>
                  <a:gd name="T34" fmla="*/ 174 w 259"/>
                  <a:gd name="T35" fmla="*/ 51 h 259"/>
                  <a:gd name="T36" fmla="*/ 188 w 259"/>
                  <a:gd name="T37" fmla="*/ 16 h 259"/>
                  <a:gd name="T38" fmla="*/ 195 w 259"/>
                  <a:gd name="T39" fmla="*/ 4 h 259"/>
                  <a:gd name="T40" fmla="*/ 202 w 259"/>
                  <a:gd name="T41" fmla="*/ 12 h 259"/>
                  <a:gd name="T42" fmla="*/ 213 w 259"/>
                  <a:gd name="T43" fmla="*/ 18 h 259"/>
                  <a:gd name="T44" fmla="*/ 219 w 259"/>
                  <a:gd name="T45" fmla="*/ 32 h 259"/>
                  <a:gd name="T46" fmla="*/ 219 w 259"/>
                  <a:gd name="T47" fmla="*/ 52 h 259"/>
                  <a:gd name="T48" fmla="*/ 227 w 259"/>
                  <a:gd name="T49" fmla="*/ 61 h 259"/>
                  <a:gd name="T50" fmla="*/ 234 w 259"/>
                  <a:gd name="T51" fmla="*/ 70 h 259"/>
                  <a:gd name="T52" fmla="*/ 234 w 259"/>
                  <a:gd name="T53" fmla="*/ 88 h 259"/>
                  <a:gd name="T54" fmla="*/ 234 w 259"/>
                  <a:gd name="T55" fmla="*/ 104 h 259"/>
                  <a:gd name="T56" fmla="*/ 237 w 259"/>
                  <a:gd name="T57" fmla="*/ 110 h 259"/>
                  <a:gd name="T58" fmla="*/ 243 w 259"/>
                  <a:gd name="T59" fmla="*/ 121 h 259"/>
                  <a:gd name="T60" fmla="*/ 249 w 259"/>
                  <a:gd name="T61" fmla="*/ 137 h 259"/>
                  <a:gd name="T62" fmla="*/ 254 w 259"/>
                  <a:gd name="T63" fmla="*/ 161 h 259"/>
                  <a:gd name="T64" fmla="*/ 245 w 259"/>
                  <a:gd name="T65" fmla="*/ 235 h 259"/>
                  <a:gd name="T66" fmla="*/ 239 w 259"/>
                  <a:gd name="T67" fmla="*/ 222 h 259"/>
                  <a:gd name="T68" fmla="*/ 237 w 259"/>
                  <a:gd name="T69" fmla="*/ 208 h 259"/>
                  <a:gd name="T70" fmla="*/ 239 w 259"/>
                  <a:gd name="T71" fmla="*/ 192 h 259"/>
                  <a:gd name="T72" fmla="*/ 222 w 259"/>
                  <a:gd name="T73" fmla="*/ 188 h 259"/>
                  <a:gd name="T74" fmla="*/ 206 w 259"/>
                  <a:gd name="T75" fmla="*/ 179 h 259"/>
                  <a:gd name="T76" fmla="*/ 194 w 259"/>
                  <a:gd name="T77" fmla="*/ 199 h 259"/>
                  <a:gd name="T78" fmla="*/ 188 w 259"/>
                  <a:gd name="T79" fmla="*/ 219 h 259"/>
                  <a:gd name="T80" fmla="*/ 185 w 259"/>
                  <a:gd name="T81" fmla="*/ 259 h 259"/>
                  <a:gd name="T82" fmla="*/ 124 w 259"/>
                  <a:gd name="T83" fmla="*/ 242 h 259"/>
                  <a:gd name="T84" fmla="*/ 110 w 259"/>
                  <a:gd name="T85" fmla="*/ 220 h 259"/>
                  <a:gd name="T86" fmla="*/ 99 w 259"/>
                  <a:gd name="T87" fmla="*/ 209 h 259"/>
                  <a:gd name="T88" fmla="*/ 97 w 259"/>
                  <a:gd name="T89" fmla="*/ 196 h 259"/>
                  <a:gd name="T90" fmla="*/ 105 w 259"/>
                  <a:gd name="T91" fmla="*/ 186 h 259"/>
                  <a:gd name="T92" fmla="*/ 112 w 259"/>
                  <a:gd name="T93" fmla="*/ 180 h 259"/>
                  <a:gd name="T94" fmla="*/ 117 w 259"/>
                  <a:gd name="T95" fmla="*/ 173 h 259"/>
                  <a:gd name="T96" fmla="*/ 93 w 259"/>
                  <a:gd name="T97" fmla="*/ 154 h 259"/>
                  <a:gd name="T98" fmla="*/ 28 w 259"/>
                  <a:gd name="T99" fmla="*/ 155 h 259"/>
                  <a:gd name="T100" fmla="*/ 20 w 259"/>
                  <a:gd name="T101" fmla="*/ 163 h 259"/>
                  <a:gd name="T102" fmla="*/ 16 w 259"/>
                  <a:gd name="T103" fmla="*/ 175 h 259"/>
                  <a:gd name="T104" fmla="*/ 13 w 259"/>
                  <a:gd name="T105" fmla="*/ 187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9" h="259">
                    <a:moveTo>
                      <a:pt x="13" y="192"/>
                    </a:moveTo>
                    <a:lnTo>
                      <a:pt x="8" y="182"/>
                    </a:lnTo>
                    <a:lnTo>
                      <a:pt x="4" y="173"/>
                    </a:lnTo>
                    <a:lnTo>
                      <a:pt x="1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6" y="130"/>
                    </a:lnTo>
                    <a:lnTo>
                      <a:pt x="13" y="128"/>
                    </a:lnTo>
                    <a:lnTo>
                      <a:pt x="19" y="126"/>
                    </a:lnTo>
                    <a:lnTo>
                      <a:pt x="24" y="123"/>
                    </a:lnTo>
                    <a:lnTo>
                      <a:pt x="34" y="117"/>
                    </a:lnTo>
                    <a:lnTo>
                      <a:pt x="41" y="108"/>
                    </a:lnTo>
                    <a:lnTo>
                      <a:pt x="48" y="100"/>
                    </a:lnTo>
                    <a:lnTo>
                      <a:pt x="56" y="93"/>
                    </a:lnTo>
                    <a:lnTo>
                      <a:pt x="60" y="91"/>
                    </a:lnTo>
                    <a:lnTo>
                      <a:pt x="63" y="89"/>
                    </a:lnTo>
                    <a:lnTo>
                      <a:pt x="68" y="87"/>
                    </a:lnTo>
                    <a:lnTo>
                      <a:pt x="73" y="87"/>
                    </a:lnTo>
                    <a:lnTo>
                      <a:pt x="83" y="87"/>
                    </a:lnTo>
                    <a:lnTo>
                      <a:pt x="93" y="87"/>
                    </a:lnTo>
                    <a:lnTo>
                      <a:pt x="94" y="93"/>
                    </a:lnTo>
                    <a:lnTo>
                      <a:pt x="97" y="101"/>
                    </a:lnTo>
                    <a:lnTo>
                      <a:pt x="101" y="105"/>
                    </a:lnTo>
                    <a:lnTo>
                      <a:pt x="104" y="108"/>
                    </a:lnTo>
                    <a:lnTo>
                      <a:pt x="108" y="110"/>
                    </a:lnTo>
                    <a:lnTo>
                      <a:pt x="113" y="111"/>
                    </a:lnTo>
                    <a:lnTo>
                      <a:pt x="120" y="110"/>
                    </a:lnTo>
                    <a:lnTo>
                      <a:pt x="127" y="108"/>
                    </a:lnTo>
                    <a:lnTo>
                      <a:pt x="135" y="104"/>
                    </a:lnTo>
                    <a:lnTo>
                      <a:pt x="141" y="99"/>
                    </a:lnTo>
                    <a:lnTo>
                      <a:pt x="148" y="93"/>
                    </a:lnTo>
                    <a:lnTo>
                      <a:pt x="153" y="86"/>
                    </a:lnTo>
                    <a:lnTo>
                      <a:pt x="160" y="78"/>
                    </a:lnTo>
                    <a:lnTo>
                      <a:pt x="165" y="70"/>
                    </a:lnTo>
                    <a:lnTo>
                      <a:pt x="174" y="51"/>
                    </a:lnTo>
                    <a:lnTo>
                      <a:pt x="183" y="33"/>
                    </a:lnTo>
                    <a:lnTo>
                      <a:pt x="188" y="16"/>
                    </a:lnTo>
                    <a:lnTo>
                      <a:pt x="193" y="0"/>
                    </a:lnTo>
                    <a:lnTo>
                      <a:pt x="195" y="4"/>
                    </a:lnTo>
                    <a:lnTo>
                      <a:pt x="198" y="9"/>
                    </a:lnTo>
                    <a:lnTo>
                      <a:pt x="202" y="12"/>
                    </a:lnTo>
                    <a:lnTo>
                      <a:pt x="206" y="15"/>
                    </a:lnTo>
                    <a:lnTo>
                      <a:pt x="213" y="18"/>
                    </a:lnTo>
                    <a:lnTo>
                      <a:pt x="219" y="19"/>
                    </a:lnTo>
                    <a:lnTo>
                      <a:pt x="219" y="32"/>
                    </a:lnTo>
                    <a:lnTo>
                      <a:pt x="219" y="44"/>
                    </a:lnTo>
                    <a:lnTo>
                      <a:pt x="219" y="52"/>
                    </a:lnTo>
                    <a:lnTo>
                      <a:pt x="219" y="55"/>
                    </a:lnTo>
                    <a:lnTo>
                      <a:pt x="227" y="61"/>
                    </a:lnTo>
                    <a:lnTo>
                      <a:pt x="231" y="66"/>
                    </a:lnTo>
                    <a:lnTo>
                      <a:pt x="234" y="70"/>
                    </a:lnTo>
                    <a:lnTo>
                      <a:pt x="239" y="75"/>
                    </a:lnTo>
                    <a:lnTo>
                      <a:pt x="234" y="88"/>
                    </a:lnTo>
                    <a:lnTo>
                      <a:pt x="233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7" y="110"/>
                    </a:lnTo>
                    <a:lnTo>
                      <a:pt x="239" y="111"/>
                    </a:lnTo>
                    <a:lnTo>
                      <a:pt x="243" y="121"/>
                    </a:lnTo>
                    <a:lnTo>
                      <a:pt x="247" y="129"/>
                    </a:lnTo>
                    <a:lnTo>
                      <a:pt x="249" y="137"/>
                    </a:lnTo>
                    <a:lnTo>
                      <a:pt x="251" y="145"/>
                    </a:lnTo>
                    <a:lnTo>
                      <a:pt x="254" y="161"/>
                    </a:lnTo>
                    <a:lnTo>
                      <a:pt x="259" y="179"/>
                    </a:lnTo>
                    <a:lnTo>
                      <a:pt x="245" y="235"/>
                    </a:lnTo>
                    <a:lnTo>
                      <a:pt x="241" y="230"/>
                    </a:lnTo>
                    <a:lnTo>
                      <a:pt x="239" y="222"/>
                    </a:lnTo>
                    <a:lnTo>
                      <a:pt x="238" y="215"/>
                    </a:lnTo>
                    <a:lnTo>
                      <a:pt x="237" y="208"/>
                    </a:lnTo>
                    <a:lnTo>
                      <a:pt x="238" y="196"/>
                    </a:lnTo>
                    <a:lnTo>
                      <a:pt x="239" y="192"/>
                    </a:lnTo>
                    <a:lnTo>
                      <a:pt x="231" y="191"/>
                    </a:lnTo>
                    <a:lnTo>
                      <a:pt x="222" y="188"/>
                    </a:lnTo>
                    <a:lnTo>
                      <a:pt x="213" y="184"/>
                    </a:lnTo>
                    <a:lnTo>
                      <a:pt x="206" y="179"/>
                    </a:lnTo>
                    <a:lnTo>
                      <a:pt x="199" y="189"/>
                    </a:lnTo>
                    <a:lnTo>
                      <a:pt x="194" y="199"/>
                    </a:lnTo>
                    <a:lnTo>
                      <a:pt x="191" y="209"/>
                    </a:lnTo>
                    <a:lnTo>
                      <a:pt x="188" y="219"/>
                    </a:lnTo>
                    <a:lnTo>
                      <a:pt x="186" y="240"/>
                    </a:lnTo>
                    <a:lnTo>
                      <a:pt x="185" y="259"/>
                    </a:lnTo>
                    <a:lnTo>
                      <a:pt x="132" y="259"/>
                    </a:lnTo>
                    <a:lnTo>
                      <a:pt x="124" y="242"/>
                    </a:lnTo>
                    <a:lnTo>
                      <a:pt x="115" y="226"/>
                    </a:lnTo>
                    <a:lnTo>
                      <a:pt x="110" y="220"/>
                    </a:lnTo>
                    <a:lnTo>
                      <a:pt x="105" y="214"/>
                    </a:lnTo>
                    <a:lnTo>
                      <a:pt x="99" y="209"/>
                    </a:lnTo>
                    <a:lnTo>
                      <a:pt x="93" y="204"/>
                    </a:lnTo>
                    <a:lnTo>
                      <a:pt x="97" y="196"/>
                    </a:lnTo>
                    <a:lnTo>
                      <a:pt x="102" y="190"/>
                    </a:lnTo>
                    <a:lnTo>
                      <a:pt x="105" y="186"/>
                    </a:lnTo>
                    <a:lnTo>
                      <a:pt x="108" y="183"/>
                    </a:lnTo>
                    <a:lnTo>
                      <a:pt x="112" y="180"/>
                    </a:lnTo>
                    <a:lnTo>
                      <a:pt x="114" y="177"/>
                    </a:lnTo>
                    <a:lnTo>
                      <a:pt x="117" y="173"/>
                    </a:lnTo>
                    <a:lnTo>
                      <a:pt x="119" y="166"/>
                    </a:lnTo>
                    <a:lnTo>
                      <a:pt x="93" y="154"/>
                    </a:lnTo>
                    <a:lnTo>
                      <a:pt x="32" y="154"/>
                    </a:lnTo>
                    <a:lnTo>
                      <a:pt x="28" y="155"/>
                    </a:lnTo>
                    <a:lnTo>
                      <a:pt x="24" y="158"/>
                    </a:lnTo>
                    <a:lnTo>
                      <a:pt x="20" y="163"/>
                    </a:lnTo>
                    <a:lnTo>
                      <a:pt x="18" y="168"/>
                    </a:lnTo>
                    <a:lnTo>
                      <a:pt x="16" y="175"/>
                    </a:lnTo>
                    <a:lnTo>
                      <a:pt x="14" y="181"/>
                    </a:lnTo>
                    <a:lnTo>
                      <a:pt x="13" y="187"/>
                    </a:lnTo>
                    <a:lnTo>
                      <a:pt x="13" y="192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4" name="Freeform 292"/>
              <p:cNvSpPr>
                <a:spLocks/>
              </p:cNvSpPr>
              <p:nvPr/>
            </p:nvSpPr>
            <p:spPr bwMode="auto">
              <a:xfrm>
                <a:off x="5104" y="2395"/>
                <a:ext cx="23" cy="31"/>
              </a:xfrm>
              <a:custGeom>
                <a:avLst/>
                <a:gdLst>
                  <a:gd name="T0" fmla="*/ 72 w 72"/>
                  <a:gd name="T1" fmla="*/ 43 h 92"/>
                  <a:gd name="T2" fmla="*/ 72 w 72"/>
                  <a:gd name="T3" fmla="*/ 92 h 92"/>
                  <a:gd name="T4" fmla="*/ 65 w 72"/>
                  <a:gd name="T5" fmla="*/ 86 h 92"/>
                  <a:gd name="T6" fmla="*/ 58 w 72"/>
                  <a:gd name="T7" fmla="*/ 81 h 92"/>
                  <a:gd name="T8" fmla="*/ 51 w 72"/>
                  <a:gd name="T9" fmla="*/ 75 h 92"/>
                  <a:gd name="T10" fmla="*/ 46 w 72"/>
                  <a:gd name="T11" fmla="*/ 69 h 92"/>
                  <a:gd name="T12" fmla="*/ 38 w 72"/>
                  <a:gd name="T13" fmla="*/ 58 h 92"/>
                  <a:gd name="T14" fmla="*/ 32 w 72"/>
                  <a:gd name="T15" fmla="*/ 46 h 92"/>
                  <a:gd name="T16" fmla="*/ 25 w 72"/>
                  <a:gd name="T17" fmla="*/ 34 h 92"/>
                  <a:gd name="T18" fmla="*/ 19 w 72"/>
                  <a:gd name="T19" fmla="*/ 23 h 92"/>
                  <a:gd name="T20" fmla="*/ 11 w 72"/>
                  <a:gd name="T21" fmla="*/ 12 h 92"/>
                  <a:gd name="T22" fmla="*/ 0 w 72"/>
                  <a:gd name="T23" fmla="*/ 0 h 92"/>
                  <a:gd name="T24" fmla="*/ 25 w 72"/>
                  <a:gd name="T25" fmla="*/ 12 h 92"/>
                  <a:gd name="T26" fmla="*/ 44 w 72"/>
                  <a:gd name="T27" fmla="*/ 21 h 92"/>
                  <a:gd name="T28" fmla="*/ 51 w 72"/>
                  <a:gd name="T29" fmla="*/ 26 h 92"/>
                  <a:gd name="T30" fmla="*/ 58 w 72"/>
                  <a:gd name="T31" fmla="*/ 31 h 92"/>
                  <a:gd name="T32" fmla="*/ 66 w 72"/>
                  <a:gd name="T33" fmla="*/ 36 h 92"/>
                  <a:gd name="T34" fmla="*/ 72 w 72"/>
                  <a:gd name="T35" fmla="*/ 43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72" h="92">
                    <a:moveTo>
                      <a:pt x="72" y="43"/>
                    </a:moveTo>
                    <a:lnTo>
                      <a:pt x="72" y="92"/>
                    </a:lnTo>
                    <a:lnTo>
                      <a:pt x="65" y="86"/>
                    </a:lnTo>
                    <a:lnTo>
                      <a:pt x="58" y="81"/>
                    </a:lnTo>
                    <a:lnTo>
                      <a:pt x="51" y="75"/>
                    </a:lnTo>
                    <a:lnTo>
                      <a:pt x="46" y="69"/>
                    </a:lnTo>
                    <a:lnTo>
                      <a:pt x="38" y="58"/>
                    </a:lnTo>
                    <a:lnTo>
                      <a:pt x="32" y="46"/>
                    </a:lnTo>
                    <a:lnTo>
                      <a:pt x="25" y="34"/>
                    </a:lnTo>
                    <a:lnTo>
                      <a:pt x="19" y="23"/>
                    </a:lnTo>
                    <a:lnTo>
                      <a:pt x="11" y="12"/>
                    </a:lnTo>
                    <a:lnTo>
                      <a:pt x="0" y="0"/>
                    </a:lnTo>
                    <a:lnTo>
                      <a:pt x="25" y="12"/>
                    </a:lnTo>
                    <a:lnTo>
                      <a:pt x="44" y="21"/>
                    </a:lnTo>
                    <a:lnTo>
                      <a:pt x="51" y="26"/>
                    </a:lnTo>
                    <a:lnTo>
                      <a:pt x="58" y="31"/>
                    </a:lnTo>
                    <a:lnTo>
                      <a:pt x="66" y="36"/>
                    </a:lnTo>
                    <a:lnTo>
                      <a:pt x="72" y="4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5" name="Freeform 293"/>
              <p:cNvSpPr>
                <a:spLocks/>
              </p:cNvSpPr>
              <p:nvPr/>
            </p:nvSpPr>
            <p:spPr bwMode="auto">
              <a:xfrm>
                <a:off x="5143" y="2436"/>
                <a:ext cx="16" cy="21"/>
              </a:xfrm>
              <a:custGeom>
                <a:avLst/>
                <a:gdLst>
                  <a:gd name="T0" fmla="*/ 6 w 46"/>
                  <a:gd name="T1" fmla="*/ 6 h 62"/>
                  <a:gd name="T2" fmla="*/ 19 w 46"/>
                  <a:gd name="T3" fmla="*/ 5 h 62"/>
                  <a:gd name="T4" fmla="*/ 31 w 46"/>
                  <a:gd name="T5" fmla="*/ 3 h 62"/>
                  <a:gd name="T6" fmla="*/ 39 w 46"/>
                  <a:gd name="T7" fmla="*/ 1 h 62"/>
                  <a:gd name="T8" fmla="*/ 46 w 46"/>
                  <a:gd name="T9" fmla="*/ 0 h 62"/>
                  <a:gd name="T10" fmla="*/ 46 w 46"/>
                  <a:gd name="T11" fmla="*/ 9 h 62"/>
                  <a:gd name="T12" fmla="*/ 46 w 46"/>
                  <a:gd name="T13" fmla="*/ 18 h 62"/>
                  <a:gd name="T14" fmla="*/ 46 w 46"/>
                  <a:gd name="T15" fmla="*/ 27 h 62"/>
                  <a:gd name="T16" fmla="*/ 46 w 46"/>
                  <a:gd name="T17" fmla="*/ 38 h 62"/>
                  <a:gd name="T18" fmla="*/ 45 w 46"/>
                  <a:gd name="T19" fmla="*/ 46 h 62"/>
                  <a:gd name="T20" fmla="*/ 41 w 46"/>
                  <a:gd name="T21" fmla="*/ 54 h 62"/>
                  <a:gd name="T22" fmla="*/ 39 w 46"/>
                  <a:gd name="T23" fmla="*/ 57 h 62"/>
                  <a:gd name="T24" fmla="*/ 37 w 46"/>
                  <a:gd name="T25" fmla="*/ 60 h 62"/>
                  <a:gd name="T26" fmla="*/ 35 w 46"/>
                  <a:gd name="T27" fmla="*/ 61 h 62"/>
                  <a:gd name="T28" fmla="*/ 33 w 46"/>
                  <a:gd name="T29" fmla="*/ 62 h 62"/>
                  <a:gd name="T30" fmla="*/ 27 w 46"/>
                  <a:gd name="T31" fmla="*/ 61 h 62"/>
                  <a:gd name="T32" fmla="*/ 22 w 46"/>
                  <a:gd name="T33" fmla="*/ 60 h 62"/>
                  <a:gd name="T34" fmla="*/ 17 w 46"/>
                  <a:gd name="T35" fmla="*/ 59 h 62"/>
                  <a:gd name="T36" fmla="*/ 14 w 46"/>
                  <a:gd name="T37" fmla="*/ 57 h 62"/>
                  <a:gd name="T38" fmla="*/ 11 w 46"/>
                  <a:gd name="T39" fmla="*/ 54 h 62"/>
                  <a:gd name="T40" fmla="*/ 7 w 46"/>
                  <a:gd name="T41" fmla="*/ 51 h 62"/>
                  <a:gd name="T42" fmla="*/ 5 w 46"/>
                  <a:gd name="T43" fmla="*/ 47 h 62"/>
                  <a:gd name="T44" fmla="*/ 4 w 46"/>
                  <a:gd name="T45" fmla="*/ 44 h 62"/>
                  <a:gd name="T46" fmla="*/ 1 w 46"/>
                  <a:gd name="T47" fmla="*/ 34 h 62"/>
                  <a:gd name="T48" fmla="*/ 0 w 46"/>
                  <a:gd name="T49" fmla="*/ 25 h 62"/>
                  <a:gd name="T50" fmla="*/ 0 w 46"/>
                  <a:gd name="T51" fmla="*/ 16 h 62"/>
                  <a:gd name="T52" fmla="*/ 0 w 46"/>
                  <a:gd name="T53" fmla="*/ 6 h 62"/>
                  <a:gd name="T54" fmla="*/ 6 w 46"/>
                  <a:gd name="T55" fmla="*/ 6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6" h="62">
                    <a:moveTo>
                      <a:pt x="6" y="6"/>
                    </a:moveTo>
                    <a:lnTo>
                      <a:pt x="19" y="5"/>
                    </a:lnTo>
                    <a:lnTo>
                      <a:pt x="31" y="3"/>
                    </a:lnTo>
                    <a:lnTo>
                      <a:pt x="39" y="1"/>
                    </a:lnTo>
                    <a:lnTo>
                      <a:pt x="46" y="0"/>
                    </a:lnTo>
                    <a:lnTo>
                      <a:pt x="46" y="9"/>
                    </a:lnTo>
                    <a:lnTo>
                      <a:pt x="46" y="18"/>
                    </a:lnTo>
                    <a:lnTo>
                      <a:pt x="46" y="27"/>
                    </a:lnTo>
                    <a:lnTo>
                      <a:pt x="46" y="38"/>
                    </a:lnTo>
                    <a:lnTo>
                      <a:pt x="45" y="46"/>
                    </a:lnTo>
                    <a:lnTo>
                      <a:pt x="41" y="54"/>
                    </a:lnTo>
                    <a:lnTo>
                      <a:pt x="39" y="57"/>
                    </a:lnTo>
                    <a:lnTo>
                      <a:pt x="37" y="60"/>
                    </a:lnTo>
                    <a:lnTo>
                      <a:pt x="35" y="61"/>
                    </a:lnTo>
                    <a:lnTo>
                      <a:pt x="33" y="62"/>
                    </a:lnTo>
                    <a:lnTo>
                      <a:pt x="27" y="61"/>
                    </a:lnTo>
                    <a:lnTo>
                      <a:pt x="22" y="60"/>
                    </a:lnTo>
                    <a:lnTo>
                      <a:pt x="17" y="59"/>
                    </a:lnTo>
                    <a:lnTo>
                      <a:pt x="14" y="57"/>
                    </a:lnTo>
                    <a:lnTo>
                      <a:pt x="11" y="54"/>
                    </a:lnTo>
                    <a:lnTo>
                      <a:pt x="7" y="51"/>
                    </a:lnTo>
                    <a:lnTo>
                      <a:pt x="5" y="47"/>
                    </a:lnTo>
                    <a:lnTo>
                      <a:pt x="4" y="44"/>
                    </a:lnTo>
                    <a:lnTo>
                      <a:pt x="1" y="34"/>
                    </a:lnTo>
                    <a:lnTo>
                      <a:pt x="0" y="25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6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6" name="Freeform 294"/>
              <p:cNvSpPr>
                <a:spLocks/>
              </p:cNvSpPr>
              <p:nvPr/>
            </p:nvSpPr>
            <p:spPr bwMode="auto">
              <a:xfrm>
                <a:off x="5089" y="2295"/>
                <a:ext cx="50" cy="98"/>
              </a:xfrm>
              <a:custGeom>
                <a:avLst/>
                <a:gdLst>
                  <a:gd name="T0" fmla="*/ 59 w 152"/>
                  <a:gd name="T1" fmla="*/ 0 h 296"/>
                  <a:gd name="T2" fmla="*/ 66 w 152"/>
                  <a:gd name="T3" fmla="*/ 9 h 296"/>
                  <a:gd name="T4" fmla="*/ 77 w 152"/>
                  <a:gd name="T5" fmla="*/ 17 h 296"/>
                  <a:gd name="T6" fmla="*/ 88 w 152"/>
                  <a:gd name="T7" fmla="*/ 23 h 296"/>
                  <a:gd name="T8" fmla="*/ 99 w 152"/>
                  <a:gd name="T9" fmla="*/ 25 h 296"/>
                  <a:gd name="T10" fmla="*/ 108 w 152"/>
                  <a:gd name="T11" fmla="*/ 21 h 296"/>
                  <a:gd name="T12" fmla="*/ 118 w 152"/>
                  <a:gd name="T13" fmla="*/ 12 h 296"/>
                  <a:gd name="T14" fmla="*/ 122 w 152"/>
                  <a:gd name="T15" fmla="*/ 35 h 296"/>
                  <a:gd name="T16" fmla="*/ 130 w 152"/>
                  <a:gd name="T17" fmla="*/ 62 h 296"/>
                  <a:gd name="T18" fmla="*/ 141 w 152"/>
                  <a:gd name="T19" fmla="*/ 86 h 296"/>
                  <a:gd name="T20" fmla="*/ 147 w 152"/>
                  <a:gd name="T21" fmla="*/ 94 h 296"/>
                  <a:gd name="T22" fmla="*/ 152 w 152"/>
                  <a:gd name="T23" fmla="*/ 99 h 296"/>
                  <a:gd name="T24" fmla="*/ 143 w 152"/>
                  <a:gd name="T25" fmla="*/ 120 h 296"/>
                  <a:gd name="T26" fmla="*/ 129 w 152"/>
                  <a:gd name="T27" fmla="*/ 140 h 296"/>
                  <a:gd name="T28" fmla="*/ 117 w 152"/>
                  <a:gd name="T29" fmla="*/ 157 h 296"/>
                  <a:gd name="T30" fmla="*/ 112 w 152"/>
                  <a:gd name="T31" fmla="*/ 172 h 296"/>
                  <a:gd name="T32" fmla="*/ 115 w 152"/>
                  <a:gd name="T33" fmla="*/ 197 h 296"/>
                  <a:gd name="T34" fmla="*/ 115 w 152"/>
                  <a:gd name="T35" fmla="*/ 205 h 296"/>
                  <a:gd name="T36" fmla="*/ 112 w 152"/>
                  <a:gd name="T37" fmla="*/ 216 h 296"/>
                  <a:gd name="T38" fmla="*/ 126 w 152"/>
                  <a:gd name="T39" fmla="*/ 216 h 296"/>
                  <a:gd name="T40" fmla="*/ 146 w 152"/>
                  <a:gd name="T41" fmla="*/ 216 h 296"/>
                  <a:gd name="T42" fmla="*/ 136 w 152"/>
                  <a:gd name="T43" fmla="*/ 252 h 296"/>
                  <a:gd name="T44" fmla="*/ 136 w 152"/>
                  <a:gd name="T45" fmla="*/ 267 h 296"/>
                  <a:gd name="T46" fmla="*/ 146 w 152"/>
                  <a:gd name="T47" fmla="*/ 283 h 296"/>
                  <a:gd name="T48" fmla="*/ 125 w 152"/>
                  <a:gd name="T49" fmla="*/ 291 h 296"/>
                  <a:gd name="T50" fmla="*/ 105 w 152"/>
                  <a:gd name="T51" fmla="*/ 296 h 296"/>
                  <a:gd name="T52" fmla="*/ 85 w 152"/>
                  <a:gd name="T53" fmla="*/ 294 h 296"/>
                  <a:gd name="T54" fmla="*/ 73 w 152"/>
                  <a:gd name="T55" fmla="*/ 288 h 296"/>
                  <a:gd name="T56" fmla="*/ 67 w 152"/>
                  <a:gd name="T57" fmla="*/ 280 h 296"/>
                  <a:gd name="T58" fmla="*/ 66 w 152"/>
                  <a:gd name="T59" fmla="*/ 271 h 296"/>
                  <a:gd name="T60" fmla="*/ 85 w 152"/>
                  <a:gd name="T61" fmla="*/ 253 h 296"/>
                  <a:gd name="T62" fmla="*/ 69 w 152"/>
                  <a:gd name="T63" fmla="*/ 249 h 296"/>
                  <a:gd name="T64" fmla="*/ 52 w 152"/>
                  <a:gd name="T65" fmla="*/ 242 h 296"/>
                  <a:gd name="T66" fmla="*/ 38 w 152"/>
                  <a:gd name="T67" fmla="*/ 231 h 296"/>
                  <a:gd name="T68" fmla="*/ 25 w 152"/>
                  <a:gd name="T69" fmla="*/ 219 h 296"/>
                  <a:gd name="T70" fmla="*/ 14 w 152"/>
                  <a:gd name="T71" fmla="*/ 205 h 296"/>
                  <a:gd name="T72" fmla="*/ 6 w 152"/>
                  <a:gd name="T73" fmla="*/ 190 h 296"/>
                  <a:gd name="T74" fmla="*/ 1 w 152"/>
                  <a:gd name="T75" fmla="*/ 172 h 296"/>
                  <a:gd name="T76" fmla="*/ 0 w 152"/>
                  <a:gd name="T77" fmla="*/ 154 h 296"/>
                  <a:gd name="T78" fmla="*/ 0 w 152"/>
                  <a:gd name="T79" fmla="*/ 130 h 296"/>
                  <a:gd name="T80" fmla="*/ 27 w 152"/>
                  <a:gd name="T81" fmla="*/ 106 h 296"/>
                  <a:gd name="T82" fmla="*/ 32 w 152"/>
                  <a:gd name="T83" fmla="*/ 46 h 296"/>
                  <a:gd name="T84" fmla="*/ 31 w 152"/>
                  <a:gd name="T85" fmla="*/ 18 h 296"/>
                  <a:gd name="T86" fmla="*/ 28 w 152"/>
                  <a:gd name="T87" fmla="*/ 4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52" h="296">
                    <a:moveTo>
                      <a:pt x="26" y="0"/>
                    </a:moveTo>
                    <a:lnTo>
                      <a:pt x="59" y="0"/>
                    </a:lnTo>
                    <a:lnTo>
                      <a:pt x="62" y="4"/>
                    </a:lnTo>
                    <a:lnTo>
                      <a:pt x="66" y="9"/>
                    </a:lnTo>
                    <a:lnTo>
                      <a:pt x="71" y="13"/>
                    </a:lnTo>
                    <a:lnTo>
                      <a:pt x="77" y="17"/>
                    </a:lnTo>
                    <a:lnTo>
                      <a:pt x="82" y="21"/>
                    </a:lnTo>
                    <a:lnTo>
                      <a:pt x="88" y="23"/>
                    </a:lnTo>
                    <a:lnTo>
                      <a:pt x="93" y="24"/>
                    </a:lnTo>
                    <a:lnTo>
                      <a:pt x="99" y="25"/>
                    </a:lnTo>
                    <a:lnTo>
                      <a:pt x="104" y="24"/>
                    </a:lnTo>
                    <a:lnTo>
                      <a:pt x="108" y="21"/>
                    </a:lnTo>
                    <a:lnTo>
                      <a:pt x="114" y="17"/>
                    </a:lnTo>
                    <a:lnTo>
                      <a:pt x="118" y="12"/>
                    </a:lnTo>
                    <a:lnTo>
                      <a:pt x="119" y="23"/>
                    </a:lnTo>
                    <a:lnTo>
                      <a:pt x="122" y="35"/>
                    </a:lnTo>
                    <a:lnTo>
                      <a:pt x="126" y="49"/>
                    </a:lnTo>
                    <a:lnTo>
                      <a:pt x="130" y="62"/>
                    </a:lnTo>
                    <a:lnTo>
                      <a:pt x="136" y="76"/>
                    </a:lnTo>
                    <a:lnTo>
                      <a:pt x="141" y="86"/>
                    </a:lnTo>
                    <a:lnTo>
                      <a:pt x="144" y="91"/>
                    </a:lnTo>
                    <a:lnTo>
                      <a:pt x="147" y="94"/>
                    </a:lnTo>
                    <a:lnTo>
                      <a:pt x="149" y="97"/>
                    </a:lnTo>
                    <a:lnTo>
                      <a:pt x="152" y="99"/>
                    </a:lnTo>
                    <a:lnTo>
                      <a:pt x="148" y="110"/>
                    </a:lnTo>
                    <a:lnTo>
                      <a:pt x="143" y="120"/>
                    </a:lnTo>
                    <a:lnTo>
                      <a:pt x="137" y="131"/>
                    </a:lnTo>
                    <a:lnTo>
                      <a:pt x="129" y="140"/>
                    </a:lnTo>
                    <a:lnTo>
                      <a:pt x="123" y="149"/>
                    </a:lnTo>
                    <a:lnTo>
                      <a:pt x="117" y="157"/>
                    </a:lnTo>
                    <a:lnTo>
                      <a:pt x="114" y="165"/>
                    </a:lnTo>
                    <a:lnTo>
                      <a:pt x="112" y="172"/>
                    </a:lnTo>
                    <a:lnTo>
                      <a:pt x="113" y="187"/>
                    </a:lnTo>
                    <a:lnTo>
                      <a:pt x="115" y="197"/>
                    </a:lnTo>
                    <a:lnTo>
                      <a:pt x="115" y="201"/>
                    </a:lnTo>
                    <a:lnTo>
                      <a:pt x="115" y="205"/>
                    </a:lnTo>
                    <a:lnTo>
                      <a:pt x="114" y="210"/>
                    </a:lnTo>
                    <a:lnTo>
                      <a:pt x="112" y="216"/>
                    </a:lnTo>
                    <a:lnTo>
                      <a:pt x="118" y="216"/>
                    </a:lnTo>
                    <a:lnTo>
                      <a:pt x="126" y="216"/>
                    </a:lnTo>
                    <a:lnTo>
                      <a:pt x="136" y="216"/>
                    </a:lnTo>
                    <a:lnTo>
                      <a:pt x="146" y="216"/>
                    </a:lnTo>
                    <a:lnTo>
                      <a:pt x="139" y="235"/>
                    </a:lnTo>
                    <a:lnTo>
                      <a:pt x="136" y="252"/>
                    </a:lnTo>
                    <a:lnTo>
                      <a:pt x="135" y="259"/>
                    </a:lnTo>
                    <a:lnTo>
                      <a:pt x="136" y="267"/>
                    </a:lnTo>
                    <a:lnTo>
                      <a:pt x="139" y="275"/>
                    </a:lnTo>
                    <a:lnTo>
                      <a:pt x="146" y="283"/>
                    </a:lnTo>
                    <a:lnTo>
                      <a:pt x="136" y="288"/>
                    </a:lnTo>
                    <a:lnTo>
                      <a:pt x="125" y="291"/>
                    </a:lnTo>
                    <a:lnTo>
                      <a:pt x="115" y="295"/>
                    </a:lnTo>
                    <a:lnTo>
                      <a:pt x="105" y="296"/>
                    </a:lnTo>
                    <a:lnTo>
                      <a:pt x="94" y="296"/>
                    </a:lnTo>
                    <a:lnTo>
                      <a:pt x="85" y="294"/>
                    </a:lnTo>
                    <a:lnTo>
                      <a:pt x="79" y="291"/>
                    </a:lnTo>
                    <a:lnTo>
                      <a:pt x="73" y="288"/>
                    </a:lnTo>
                    <a:lnTo>
                      <a:pt x="70" y="284"/>
                    </a:lnTo>
                    <a:lnTo>
                      <a:pt x="67" y="280"/>
                    </a:lnTo>
                    <a:lnTo>
                      <a:pt x="66" y="276"/>
                    </a:lnTo>
                    <a:lnTo>
                      <a:pt x="66" y="271"/>
                    </a:lnTo>
                    <a:lnTo>
                      <a:pt x="76" y="262"/>
                    </a:lnTo>
                    <a:lnTo>
                      <a:pt x="85" y="253"/>
                    </a:lnTo>
                    <a:lnTo>
                      <a:pt x="77" y="251"/>
                    </a:lnTo>
                    <a:lnTo>
                      <a:pt x="69" y="249"/>
                    </a:lnTo>
                    <a:lnTo>
                      <a:pt x="60" y="246"/>
                    </a:lnTo>
                    <a:lnTo>
                      <a:pt x="52" y="242"/>
                    </a:lnTo>
                    <a:lnTo>
                      <a:pt x="45" y="236"/>
                    </a:lnTo>
                    <a:lnTo>
                      <a:pt x="38" y="231"/>
                    </a:lnTo>
                    <a:lnTo>
                      <a:pt x="32" y="226"/>
                    </a:lnTo>
                    <a:lnTo>
                      <a:pt x="25" y="219"/>
                    </a:lnTo>
                    <a:lnTo>
                      <a:pt x="20" y="213"/>
                    </a:lnTo>
                    <a:lnTo>
                      <a:pt x="14" y="205"/>
                    </a:lnTo>
                    <a:lnTo>
                      <a:pt x="10" y="198"/>
                    </a:lnTo>
                    <a:lnTo>
                      <a:pt x="6" y="190"/>
                    </a:lnTo>
                    <a:lnTo>
                      <a:pt x="3" y="180"/>
                    </a:lnTo>
                    <a:lnTo>
                      <a:pt x="1" y="172"/>
                    </a:lnTo>
                    <a:lnTo>
                      <a:pt x="0" y="163"/>
                    </a:lnTo>
                    <a:lnTo>
                      <a:pt x="0" y="154"/>
                    </a:lnTo>
                    <a:lnTo>
                      <a:pt x="0" y="142"/>
                    </a:lnTo>
                    <a:lnTo>
                      <a:pt x="0" y="130"/>
                    </a:lnTo>
                    <a:lnTo>
                      <a:pt x="26" y="130"/>
                    </a:lnTo>
                    <a:lnTo>
                      <a:pt x="27" y="106"/>
                    </a:lnTo>
                    <a:lnTo>
                      <a:pt x="31" y="67"/>
                    </a:lnTo>
                    <a:lnTo>
                      <a:pt x="32" y="46"/>
                    </a:lnTo>
                    <a:lnTo>
                      <a:pt x="32" y="27"/>
                    </a:lnTo>
                    <a:lnTo>
                      <a:pt x="31" y="18"/>
                    </a:lnTo>
                    <a:lnTo>
                      <a:pt x="29" y="10"/>
                    </a:lnTo>
                    <a:lnTo>
                      <a:pt x="28" y="4"/>
                    </a:lnTo>
                    <a:lnTo>
                      <a:pt x="2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7" name="Freeform 295"/>
              <p:cNvSpPr>
                <a:spLocks/>
              </p:cNvSpPr>
              <p:nvPr/>
            </p:nvSpPr>
            <p:spPr bwMode="auto">
              <a:xfrm>
                <a:off x="5189" y="2442"/>
                <a:ext cx="8" cy="13"/>
              </a:xfrm>
              <a:custGeom>
                <a:avLst/>
                <a:gdLst>
                  <a:gd name="T0" fmla="*/ 26 w 26"/>
                  <a:gd name="T1" fmla="*/ 38 h 38"/>
                  <a:gd name="T2" fmla="*/ 26 w 26"/>
                  <a:gd name="T3" fmla="*/ 0 h 38"/>
                  <a:gd name="T4" fmla="*/ 21 w 26"/>
                  <a:gd name="T5" fmla="*/ 1 h 38"/>
                  <a:gd name="T6" fmla="*/ 13 w 26"/>
                  <a:gd name="T7" fmla="*/ 4 h 38"/>
                  <a:gd name="T8" fmla="*/ 6 w 26"/>
                  <a:gd name="T9" fmla="*/ 8 h 38"/>
                  <a:gd name="T10" fmla="*/ 0 w 26"/>
                  <a:gd name="T11" fmla="*/ 13 h 38"/>
                  <a:gd name="T12" fmla="*/ 18 w 26"/>
                  <a:gd name="T13" fmla="*/ 30 h 38"/>
                  <a:gd name="T14" fmla="*/ 26 w 26"/>
                  <a:gd name="T15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38">
                    <a:moveTo>
                      <a:pt x="26" y="38"/>
                    </a:moveTo>
                    <a:lnTo>
                      <a:pt x="26" y="0"/>
                    </a:lnTo>
                    <a:lnTo>
                      <a:pt x="21" y="1"/>
                    </a:lnTo>
                    <a:lnTo>
                      <a:pt x="13" y="4"/>
                    </a:lnTo>
                    <a:lnTo>
                      <a:pt x="6" y="8"/>
                    </a:lnTo>
                    <a:lnTo>
                      <a:pt x="0" y="13"/>
                    </a:lnTo>
                    <a:lnTo>
                      <a:pt x="18" y="30"/>
                    </a:lnTo>
                    <a:lnTo>
                      <a:pt x="26" y="3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8" name="Freeform 296"/>
              <p:cNvSpPr>
                <a:spLocks/>
              </p:cNvSpPr>
              <p:nvPr/>
            </p:nvSpPr>
            <p:spPr bwMode="auto">
              <a:xfrm>
                <a:off x="5165" y="2420"/>
                <a:ext cx="10" cy="10"/>
              </a:xfrm>
              <a:custGeom>
                <a:avLst/>
                <a:gdLst>
                  <a:gd name="T0" fmla="*/ 0 w 34"/>
                  <a:gd name="T1" fmla="*/ 18 h 31"/>
                  <a:gd name="T2" fmla="*/ 8 w 34"/>
                  <a:gd name="T3" fmla="*/ 22 h 31"/>
                  <a:gd name="T4" fmla="*/ 17 w 34"/>
                  <a:gd name="T5" fmla="*/ 26 h 31"/>
                  <a:gd name="T6" fmla="*/ 27 w 34"/>
                  <a:gd name="T7" fmla="*/ 30 h 31"/>
                  <a:gd name="T8" fmla="*/ 34 w 34"/>
                  <a:gd name="T9" fmla="*/ 31 h 31"/>
                  <a:gd name="T10" fmla="*/ 33 w 34"/>
                  <a:gd name="T11" fmla="*/ 24 h 31"/>
                  <a:gd name="T12" fmla="*/ 30 w 34"/>
                  <a:gd name="T13" fmla="*/ 15 h 31"/>
                  <a:gd name="T14" fmla="*/ 26 w 34"/>
                  <a:gd name="T15" fmla="*/ 6 h 31"/>
                  <a:gd name="T16" fmla="*/ 20 w 34"/>
                  <a:gd name="T17" fmla="*/ 0 h 31"/>
                  <a:gd name="T18" fmla="*/ 16 w 34"/>
                  <a:gd name="T19" fmla="*/ 5 h 31"/>
                  <a:gd name="T20" fmla="*/ 10 w 34"/>
                  <a:gd name="T21" fmla="*/ 11 h 31"/>
                  <a:gd name="T22" fmla="*/ 8 w 34"/>
                  <a:gd name="T23" fmla="*/ 14 h 31"/>
                  <a:gd name="T24" fmla="*/ 6 w 34"/>
                  <a:gd name="T25" fmla="*/ 16 h 31"/>
                  <a:gd name="T26" fmla="*/ 4 w 34"/>
                  <a:gd name="T27" fmla="*/ 18 h 31"/>
                  <a:gd name="T28" fmla="*/ 0 w 34"/>
                  <a:gd name="T29" fmla="*/ 18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4" h="31">
                    <a:moveTo>
                      <a:pt x="0" y="18"/>
                    </a:moveTo>
                    <a:lnTo>
                      <a:pt x="8" y="22"/>
                    </a:lnTo>
                    <a:lnTo>
                      <a:pt x="17" y="26"/>
                    </a:lnTo>
                    <a:lnTo>
                      <a:pt x="27" y="30"/>
                    </a:lnTo>
                    <a:lnTo>
                      <a:pt x="34" y="31"/>
                    </a:lnTo>
                    <a:lnTo>
                      <a:pt x="33" y="24"/>
                    </a:lnTo>
                    <a:lnTo>
                      <a:pt x="30" y="15"/>
                    </a:lnTo>
                    <a:lnTo>
                      <a:pt x="26" y="6"/>
                    </a:lnTo>
                    <a:lnTo>
                      <a:pt x="20" y="0"/>
                    </a:lnTo>
                    <a:lnTo>
                      <a:pt x="16" y="5"/>
                    </a:lnTo>
                    <a:lnTo>
                      <a:pt x="10" y="11"/>
                    </a:lnTo>
                    <a:lnTo>
                      <a:pt x="8" y="14"/>
                    </a:lnTo>
                    <a:lnTo>
                      <a:pt x="6" y="16"/>
                    </a:lnTo>
                    <a:lnTo>
                      <a:pt x="4" y="18"/>
                    </a:lnTo>
                    <a:lnTo>
                      <a:pt x="0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39" name="Freeform 297"/>
              <p:cNvSpPr>
                <a:spLocks/>
              </p:cNvSpPr>
              <p:nvPr/>
            </p:nvSpPr>
            <p:spPr bwMode="auto">
              <a:xfrm>
                <a:off x="5139" y="2418"/>
                <a:ext cx="6" cy="12"/>
              </a:xfrm>
              <a:custGeom>
                <a:avLst/>
                <a:gdLst>
                  <a:gd name="T0" fmla="*/ 0 w 20"/>
                  <a:gd name="T1" fmla="*/ 6 h 37"/>
                  <a:gd name="T2" fmla="*/ 0 w 20"/>
                  <a:gd name="T3" fmla="*/ 37 h 37"/>
                  <a:gd name="T4" fmla="*/ 7 w 20"/>
                  <a:gd name="T5" fmla="*/ 33 h 37"/>
                  <a:gd name="T6" fmla="*/ 20 w 20"/>
                  <a:gd name="T7" fmla="*/ 30 h 37"/>
                  <a:gd name="T8" fmla="*/ 20 w 20"/>
                  <a:gd name="T9" fmla="*/ 0 h 37"/>
                  <a:gd name="T10" fmla="*/ 0 w 20"/>
                  <a:gd name="T11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37">
                    <a:moveTo>
                      <a:pt x="0" y="6"/>
                    </a:moveTo>
                    <a:lnTo>
                      <a:pt x="0" y="37"/>
                    </a:lnTo>
                    <a:lnTo>
                      <a:pt x="7" y="33"/>
                    </a:lnTo>
                    <a:lnTo>
                      <a:pt x="20" y="30"/>
                    </a:lnTo>
                    <a:lnTo>
                      <a:pt x="20" y="0"/>
                    </a:lnTo>
                    <a:lnTo>
                      <a:pt x="0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40" name="Line 298"/>
              <p:cNvSpPr>
                <a:spLocks noChangeShapeType="1"/>
              </p:cNvSpPr>
              <p:nvPr/>
            </p:nvSpPr>
            <p:spPr bwMode="auto">
              <a:xfrm>
                <a:off x="5180" y="2449"/>
                <a:ext cx="1" cy="10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41" name="Freeform 299"/>
              <p:cNvSpPr>
                <a:spLocks/>
              </p:cNvSpPr>
              <p:nvPr/>
            </p:nvSpPr>
            <p:spPr bwMode="auto">
              <a:xfrm>
                <a:off x="5180" y="2453"/>
                <a:ext cx="4" cy="6"/>
              </a:xfrm>
              <a:custGeom>
                <a:avLst/>
                <a:gdLst>
                  <a:gd name="T0" fmla="*/ 0 w 13"/>
                  <a:gd name="T1" fmla="*/ 18 h 18"/>
                  <a:gd name="T2" fmla="*/ 1 w 13"/>
                  <a:gd name="T3" fmla="*/ 13 h 18"/>
                  <a:gd name="T4" fmla="*/ 3 w 13"/>
                  <a:gd name="T5" fmla="*/ 9 h 18"/>
                  <a:gd name="T6" fmla="*/ 7 w 13"/>
                  <a:gd name="T7" fmla="*/ 4 h 18"/>
                  <a:gd name="T8" fmla="*/ 13 w 13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8">
                    <a:moveTo>
                      <a:pt x="0" y="18"/>
                    </a:moveTo>
                    <a:lnTo>
                      <a:pt x="1" y="13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13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42" name="Line 300"/>
              <p:cNvSpPr>
                <a:spLocks noChangeShapeType="1"/>
              </p:cNvSpPr>
              <p:nvPr/>
            </p:nvSpPr>
            <p:spPr bwMode="auto">
              <a:xfrm flipH="1" flipV="1">
                <a:off x="5178" y="2447"/>
                <a:ext cx="6" cy="6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43" name="Freeform 301"/>
              <p:cNvSpPr>
                <a:spLocks/>
              </p:cNvSpPr>
              <p:nvPr/>
            </p:nvSpPr>
            <p:spPr bwMode="auto">
              <a:xfrm>
                <a:off x="5116" y="2564"/>
                <a:ext cx="9" cy="10"/>
              </a:xfrm>
              <a:custGeom>
                <a:avLst/>
                <a:gdLst>
                  <a:gd name="T0" fmla="*/ 0 w 27"/>
                  <a:gd name="T1" fmla="*/ 0 h 31"/>
                  <a:gd name="T2" fmla="*/ 20 w 27"/>
                  <a:gd name="T3" fmla="*/ 31 h 31"/>
                  <a:gd name="T4" fmla="*/ 27 w 27"/>
                  <a:gd name="T5" fmla="*/ 13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7" h="31">
                    <a:moveTo>
                      <a:pt x="0" y="0"/>
                    </a:moveTo>
                    <a:lnTo>
                      <a:pt x="20" y="31"/>
                    </a:lnTo>
                    <a:lnTo>
                      <a:pt x="27" y="13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44" name="Freeform 302"/>
              <p:cNvSpPr>
                <a:spLocks/>
              </p:cNvSpPr>
              <p:nvPr/>
            </p:nvSpPr>
            <p:spPr bwMode="auto">
              <a:xfrm>
                <a:off x="5119" y="2568"/>
                <a:ext cx="6" cy="1"/>
              </a:xfrm>
              <a:custGeom>
                <a:avLst/>
                <a:gdLst>
                  <a:gd name="T0" fmla="*/ 20 w 20"/>
                  <a:gd name="T1" fmla="*/ 10 w 20"/>
                  <a:gd name="T2" fmla="*/ 0 w 20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0">
                    <a:moveTo>
                      <a:pt x="20" y="0"/>
                    </a:move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45" name="Freeform 303"/>
              <p:cNvSpPr>
                <a:spLocks/>
              </p:cNvSpPr>
              <p:nvPr/>
            </p:nvSpPr>
            <p:spPr bwMode="auto">
              <a:xfrm>
                <a:off x="5127" y="2557"/>
                <a:ext cx="12" cy="5"/>
              </a:xfrm>
              <a:custGeom>
                <a:avLst/>
                <a:gdLst>
                  <a:gd name="T0" fmla="*/ 0 w 34"/>
                  <a:gd name="T1" fmla="*/ 13 h 13"/>
                  <a:gd name="T2" fmla="*/ 6 w 34"/>
                  <a:gd name="T3" fmla="*/ 13 h 13"/>
                  <a:gd name="T4" fmla="*/ 10 w 34"/>
                  <a:gd name="T5" fmla="*/ 11 h 13"/>
                  <a:gd name="T6" fmla="*/ 16 w 34"/>
                  <a:gd name="T7" fmla="*/ 10 h 13"/>
                  <a:gd name="T8" fmla="*/ 20 w 34"/>
                  <a:gd name="T9" fmla="*/ 7 h 13"/>
                  <a:gd name="T10" fmla="*/ 28 w 34"/>
                  <a:gd name="T11" fmla="*/ 2 h 13"/>
                  <a:gd name="T12" fmla="*/ 34 w 34"/>
                  <a:gd name="T13" fmla="*/ 0 h 13"/>
                  <a:gd name="T14" fmla="*/ 25 w 34"/>
                  <a:gd name="T15" fmla="*/ 0 h 13"/>
                  <a:gd name="T16" fmla="*/ 15 w 3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" h="13">
                    <a:moveTo>
                      <a:pt x="0" y="13"/>
                    </a:moveTo>
                    <a:lnTo>
                      <a:pt x="6" y="13"/>
                    </a:lnTo>
                    <a:lnTo>
                      <a:pt x="10" y="11"/>
                    </a:lnTo>
                    <a:lnTo>
                      <a:pt x="16" y="10"/>
                    </a:lnTo>
                    <a:lnTo>
                      <a:pt x="20" y="7"/>
                    </a:lnTo>
                    <a:lnTo>
                      <a:pt x="28" y="2"/>
                    </a:lnTo>
                    <a:lnTo>
                      <a:pt x="34" y="0"/>
                    </a:lnTo>
                    <a:lnTo>
                      <a:pt x="25" y="0"/>
                    </a:lnTo>
                    <a:lnTo>
                      <a:pt x="15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46" name="Freeform 304"/>
              <p:cNvSpPr>
                <a:spLocks/>
              </p:cNvSpPr>
              <p:nvPr/>
            </p:nvSpPr>
            <p:spPr bwMode="auto">
              <a:xfrm>
                <a:off x="5127" y="2547"/>
                <a:ext cx="12" cy="6"/>
              </a:xfrm>
              <a:custGeom>
                <a:avLst/>
                <a:gdLst>
                  <a:gd name="T0" fmla="*/ 34 w 34"/>
                  <a:gd name="T1" fmla="*/ 18 h 18"/>
                  <a:gd name="T2" fmla="*/ 34 w 34"/>
                  <a:gd name="T3" fmla="*/ 0 h 18"/>
                  <a:gd name="T4" fmla="*/ 28 w 34"/>
                  <a:gd name="T5" fmla="*/ 0 h 18"/>
                  <a:gd name="T6" fmla="*/ 20 w 34"/>
                  <a:gd name="T7" fmla="*/ 0 h 18"/>
                  <a:gd name="T8" fmla="*/ 10 w 34"/>
                  <a:gd name="T9" fmla="*/ 0 h 18"/>
                  <a:gd name="T10" fmla="*/ 0 w 34"/>
                  <a:gd name="T11" fmla="*/ 0 h 18"/>
                  <a:gd name="T12" fmla="*/ 34 w 34"/>
                  <a:gd name="T13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4" h="18">
                    <a:moveTo>
                      <a:pt x="34" y="18"/>
                    </a:moveTo>
                    <a:lnTo>
                      <a:pt x="34" y="0"/>
                    </a:lnTo>
                    <a:lnTo>
                      <a:pt x="28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34" y="18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47" name="Freeform 305"/>
              <p:cNvSpPr>
                <a:spLocks/>
              </p:cNvSpPr>
              <p:nvPr/>
            </p:nvSpPr>
            <p:spPr bwMode="auto">
              <a:xfrm>
                <a:off x="5141" y="2535"/>
                <a:ext cx="20" cy="8"/>
              </a:xfrm>
              <a:custGeom>
                <a:avLst/>
                <a:gdLst>
                  <a:gd name="T0" fmla="*/ 53 w 59"/>
                  <a:gd name="T1" fmla="*/ 25 h 25"/>
                  <a:gd name="T2" fmla="*/ 56 w 59"/>
                  <a:gd name="T3" fmla="*/ 12 h 25"/>
                  <a:gd name="T4" fmla="*/ 59 w 59"/>
                  <a:gd name="T5" fmla="*/ 0 h 25"/>
                  <a:gd name="T6" fmla="*/ 44 w 59"/>
                  <a:gd name="T7" fmla="*/ 0 h 25"/>
                  <a:gd name="T8" fmla="*/ 27 w 59"/>
                  <a:gd name="T9" fmla="*/ 0 h 25"/>
                  <a:gd name="T10" fmla="*/ 19 w 59"/>
                  <a:gd name="T11" fmla="*/ 1 h 25"/>
                  <a:gd name="T12" fmla="*/ 12 w 59"/>
                  <a:gd name="T13" fmla="*/ 2 h 25"/>
                  <a:gd name="T14" fmla="*/ 5 w 59"/>
                  <a:gd name="T15" fmla="*/ 4 h 25"/>
                  <a:gd name="T16" fmla="*/ 0 w 59"/>
                  <a:gd name="T17" fmla="*/ 6 h 25"/>
                  <a:gd name="T18" fmla="*/ 13 w 59"/>
                  <a:gd name="T19" fmla="*/ 14 h 25"/>
                  <a:gd name="T20" fmla="*/ 26 w 59"/>
                  <a:gd name="T21" fmla="*/ 20 h 25"/>
                  <a:gd name="T22" fmla="*/ 33 w 59"/>
                  <a:gd name="T23" fmla="*/ 22 h 25"/>
                  <a:gd name="T24" fmla="*/ 38 w 59"/>
                  <a:gd name="T25" fmla="*/ 24 h 25"/>
                  <a:gd name="T26" fmla="*/ 46 w 59"/>
                  <a:gd name="T27" fmla="*/ 25 h 25"/>
                  <a:gd name="T28" fmla="*/ 53 w 59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25">
                    <a:moveTo>
                      <a:pt x="53" y="25"/>
                    </a:moveTo>
                    <a:lnTo>
                      <a:pt x="56" y="12"/>
                    </a:lnTo>
                    <a:lnTo>
                      <a:pt x="59" y="0"/>
                    </a:lnTo>
                    <a:lnTo>
                      <a:pt x="44" y="0"/>
                    </a:lnTo>
                    <a:lnTo>
                      <a:pt x="27" y="0"/>
                    </a:lnTo>
                    <a:lnTo>
                      <a:pt x="19" y="1"/>
                    </a:lnTo>
                    <a:lnTo>
                      <a:pt x="12" y="2"/>
                    </a:lnTo>
                    <a:lnTo>
                      <a:pt x="5" y="4"/>
                    </a:lnTo>
                    <a:lnTo>
                      <a:pt x="0" y="6"/>
                    </a:lnTo>
                    <a:lnTo>
                      <a:pt x="13" y="14"/>
                    </a:lnTo>
                    <a:lnTo>
                      <a:pt x="26" y="20"/>
                    </a:lnTo>
                    <a:lnTo>
                      <a:pt x="33" y="22"/>
                    </a:lnTo>
                    <a:lnTo>
                      <a:pt x="38" y="24"/>
                    </a:lnTo>
                    <a:lnTo>
                      <a:pt x="46" y="25"/>
                    </a:lnTo>
                    <a:lnTo>
                      <a:pt x="53" y="25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48" name="Line 306"/>
              <p:cNvSpPr>
                <a:spLocks noChangeShapeType="1"/>
              </p:cNvSpPr>
              <p:nvPr/>
            </p:nvSpPr>
            <p:spPr bwMode="auto">
              <a:xfrm flipV="1">
                <a:off x="5191" y="2516"/>
                <a:ext cx="6" cy="2"/>
              </a:xfrm>
              <a:prstGeom prst="line">
                <a:avLst/>
              </a:prstGeom>
              <a:grpFill/>
              <a:ln w="95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</p:grpSp>
        <p:sp>
          <p:nvSpPr>
            <p:cNvPr id="1285" name="Freeform 307"/>
            <p:cNvSpPr>
              <a:spLocks/>
            </p:cNvSpPr>
            <p:nvPr>
              <p:custDataLst>
                <p:tags r:id="rId211"/>
              </p:custDataLst>
            </p:nvPr>
          </p:nvSpPr>
          <p:spPr bwMode="auto">
            <a:xfrm>
              <a:off x="9397053" y="4551034"/>
              <a:ext cx="14363" cy="53978"/>
            </a:xfrm>
            <a:custGeom>
              <a:avLst/>
              <a:gdLst>
                <a:gd name="T0" fmla="*/ 0 w 33"/>
                <a:gd name="T1" fmla="*/ 43 h 43"/>
                <a:gd name="T2" fmla="*/ 1 w 33"/>
                <a:gd name="T3" fmla="*/ 34 h 43"/>
                <a:gd name="T4" fmla="*/ 2 w 33"/>
                <a:gd name="T5" fmla="*/ 27 h 43"/>
                <a:gd name="T6" fmla="*/ 5 w 33"/>
                <a:gd name="T7" fmla="*/ 21 h 43"/>
                <a:gd name="T8" fmla="*/ 9 w 33"/>
                <a:gd name="T9" fmla="*/ 15 h 43"/>
                <a:gd name="T10" fmla="*/ 14 w 33"/>
                <a:gd name="T11" fmla="*/ 9 h 43"/>
                <a:gd name="T12" fmla="*/ 20 w 33"/>
                <a:gd name="T13" fmla="*/ 5 h 43"/>
                <a:gd name="T14" fmla="*/ 26 w 33"/>
                <a:gd name="T15" fmla="*/ 2 h 43"/>
                <a:gd name="T16" fmla="*/ 33 w 33"/>
                <a:gd name="T17" fmla="*/ 0 h 43"/>
                <a:gd name="T18" fmla="*/ 33 w 33"/>
                <a:gd name="T19" fmla="*/ 25 h 43"/>
                <a:gd name="T20" fmla="*/ 23 w 33"/>
                <a:gd name="T21" fmla="*/ 27 h 43"/>
                <a:gd name="T22" fmla="*/ 18 w 33"/>
                <a:gd name="T23" fmla="*/ 29 h 43"/>
                <a:gd name="T24" fmla="*/ 16 w 33"/>
                <a:gd name="T25" fmla="*/ 32 h 43"/>
                <a:gd name="T26" fmla="*/ 16 w 33"/>
                <a:gd name="T27" fmla="*/ 34 h 43"/>
                <a:gd name="T28" fmla="*/ 16 w 33"/>
                <a:gd name="T29" fmla="*/ 36 h 43"/>
                <a:gd name="T30" fmla="*/ 14 w 33"/>
                <a:gd name="T31" fmla="*/ 38 h 43"/>
                <a:gd name="T32" fmla="*/ 10 w 33"/>
                <a:gd name="T33" fmla="*/ 41 h 43"/>
                <a:gd name="T34" fmla="*/ 0 w 33"/>
                <a:gd name="T3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3" h="43">
                  <a:moveTo>
                    <a:pt x="0" y="43"/>
                  </a:moveTo>
                  <a:lnTo>
                    <a:pt x="1" y="34"/>
                  </a:lnTo>
                  <a:lnTo>
                    <a:pt x="2" y="27"/>
                  </a:lnTo>
                  <a:lnTo>
                    <a:pt x="5" y="21"/>
                  </a:lnTo>
                  <a:lnTo>
                    <a:pt x="9" y="15"/>
                  </a:lnTo>
                  <a:lnTo>
                    <a:pt x="14" y="9"/>
                  </a:lnTo>
                  <a:lnTo>
                    <a:pt x="20" y="5"/>
                  </a:lnTo>
                  <a:lnTo>
                    <a:pt x="26" y="2"/>
                  </a:lnTo>
                  <a:lnTo>
                    <a:pt x="33" y="0"/>
                  </a:lnTo>
                  <a:lnTo>
                    <a:pt x="33" y="25"/>
                  </a:lnTo>
                  <a:lnTo>
                    <a:pt x="23" y="27"/>
                  </a:lnTo>
                  <a:lnTo>
                    <a:pt x="18" y="29"/>
                  </a:lnTo>
                  <a:lnTo>
                    <a:pt x="16" y="32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8"/>
                  </a:lnTo>
                  <a:lnTo>
                    <a:pt x="10" y="41"/>
                  </a:lnTo>
                  <a:lnTo>
                    <a:pt x="0" y="43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86" name="Freeform 308"/>
            <p:cNvSpPr>
              <a:spLocks/>
            </p:cNvSpPr>
            <p:nvPr>
              <p:custDataLst>
                <p:tags r:id="rId212"/>
              </p:custDataLst>
            </p:nvPr>
          </p:nvSpPr>
          <p:spPr bwMode="auto">
            <a:xfrm>
              <a:off x="9473658" y="4490309"/>
              <a:ext cx="22343" cy="59037"/>
            </a:xfrm>
            <a:custGeom>
              <a:avLst/>
              <a:gdLst>
                <a:gd name="T0" fmla="*/ 0 w 54"/>
                <a:gd name="T1" fmla="*/ 55 h 92"/>
                <a:gd name="T2" fmla="*/ 1 w 54"/>
                <a:gd name="T3" fmla="*/ 51 h 92"/>
                <a:gd name="T4" fmla="*/ 2 w 54"/>
                <a:gd name="T5" fmla="*/ 46 h 92"/>
                <a:gd name="T6" fmla="*/ 3 w 54"/>
                <a:gd name="T7" fmla="*/ 42 h 92"/>
                <a:gd name="T8" fmla="*/ 6 w 54"/>
                <a:gd name="T9" fmla="*/ 37 h 92"/>
                <a:gd name="T10" fmla="*/ 11 w 54"/>
                <a:gd name="T11" fmla="*/ 29 h 92"/>
                <a:gd name="T12" fmla="*/ 18 w 54"/>
                <a:gd name="T13" fmla="*/ 21 h 92"/>
                <a:gd name="T14" fmla="*/ 31 w 54"/>
                <a:gd name="T15" fmla="*/ 7 h 92"/>
                <a:gd name="T16" fmla="*/ 41 w 54"/>
                <a:gd name="T17" fmla="*/ 0 h 92"/>
                <a:gd name="T18" fmla="*/ 54 w 54"/>
                <a:gd name="T19" fmla="*/ 12 h 92"/>
                <a:gd name="T20" fmla="*/ 51 w 54"/>
                <a:gd name="T21" fmla="*/ 21 h 92"/>
                <a:gd name="T22" fmla="*/ 47 w 54"/>
                <a:gd name="T23" fmla="*/ 29 h 92"/>
                <a:gd name="T24" fmla="*/ 44 w 54"/>
                <a:gd name="T25" fmla="*/ 35 h 92"/>
                <a:gd name="T26" fmla="*/ 41 w 54"/>
                <a:gd name="T27" fmla="*/ 41 h 92"/>
                <a:gd name="T28" fmla="*/ 33 w 54"/>
                <a:gd name="T29" fmla="*/ 49 h 92"/>
                <a:gd name="T30" fmla="*/ 28 w 54"/>
                <a:gd name="T31" fmla="*/ 55 h 92"/>
                <a:gd name="T32" fmla="*/ 26 w 54"/>
                <a:gd name="T33" fmla="*/ 64 h 92"/>
                <a:gd name="T34" fmla="*/ 26 w 54"/>
                <a:gd name="T35" fmla="*/ 74 h 92"/>
                <a:gd name="T36" fmla="*/ 24 w 54"/>
                <a:gd name="T37" fmla="*/ 83 h 92"/>
                <a:gd name="T38" fmla="*/ 20 w 54"/>
                <a:gd name="T39" fmla="*/ 92 h 92"/>
                <a:gd name="T40" fmla="*/ 14 w 54"/>
                <a:gd name="T41" fmla="*/ 83 h 92"/>
                <a:gd name="T42" fmla="*/ 8 w 54"/>
                <a:gd name="T43" fmla="*/ 74 h 92"/>
                <a:gd name="T44" fmla="*/ 5 w 54"/>
                <a:gd name="T45" fmla="*/ 70 h 92"/>
                <a:gd name="T46" fmla="*/ 2 w 54"/>
                <a:gd name="T47" fmla="*/ 64 h 92"/>
                <a:gd name="T48" fmla="*/ 1 w 54"/>
                <a:gd name="T49" fmla="*/ 60 h 92"/>
                <a:gd name="T50" fmla="*/ 0 w 54"/>
                <a:gd name="T51" fmla="*/ 5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92">
                  <a:moveTo>
                    <a:pt x="0" y="55"/>
                  </a:moveTo>
                  <a:lnTo>
                    <a:pt x="1" y="51"/>
                  </a:lnTo>
                  <a:lnTo>
                    <a:pt x="2" y="46"/>
                  </a:lnTo>
                  <a:lnTo>
                    <a:pt x="3" y="42"/>
                  </a:lnTo>
                  <a:lnTo>
                    <a:pt x="6" y="37"/>
                  </a:lnTo>
                  <a:lnTo>
                    <a:pt x="11" y="29"/>
                  </a:lnTo>
                  <a:lnTo>
                    <a:pt x="18" y="21"/>
                  </a:lnTo>
                  <a:lnTo>
                    <a:pt x="31" y="7"/>
                  </a:lnTo>
                  <a:lnTo>
                    <a:pt x="41" y="0"/>
                  </a:lnTo>
                  <a:lnTo>
                    <a:pt x="54" y="12"/>
                  </a:lnTo>
                  <a:lnTo>
                    <a:pt x="51" y="21"/>
                  </a:lnTo>
                  <a:lnTo>
                    <a:pt x="47" y="29"/>
                  </a:lnTo>
                  <a:lnTo>
                    <a:pt x="44" y="35"/>
                  </a:lnTo>
                  <a:lnTo>
                    <a:pt x="41" y="41"/>
                  </a:lnTo>
                  <a:lnTo>
                    <a:pt x="33" y="49"/>
                  </a:lnTo>
                  <a:lnTo>
                    <a:pt x="28" y="55"/>
                  </a:lnTo>
                  <a:lnTo>
                    <a:pt x="26" y="64"/>
                  </a:lnTo>
                  <a:lnTo>
                    <a:pt x="26" y="74"/>
                  </a:lnTo>
                  <a:lnTo>
                    <a:pt x="24" y="83"/>
                  </a:lnTo>
                  <a:lnTo>
                    <a:pt x="20" y="92"/>
                  </a:lnTo>
                  <a:lnTo>
                    <a:pt x="14" y="83"/>
                  </a:lnTo>
                  <a:lnTo>
                    <a:pt x="8" y="74"/>
                  </a:lnTo>
                  <a:lnTo>
                    <a:pt x="5" y="70"/>
                  </a:lnTo>
                  <a:lnTo>
                    <a:pt x="2" y="64"/>
                  </a:lnTo>
                  <a:lnTo>
                    <a:pt x="1" y="60"/>
                  </a:lnTo>
                  <a:lnTo>
                    <a:pt x="0" y="55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87" name="Freeform 309"/>
            <p:cNvSpPr>
              <a:spLocks/>
            </p:cNvSpPr>
            <p:nvPr>
              <p:custDataLst>
                <p:tags r:id="rId213"/>
              </p:custDataLst>
            </p:nvPr>
          </p:nvSpPr>
          <p:spPr bwMode="auto">
            <a:xfrm>
              <a:off x="9521537" y="4368860"/>
              <a:ext cx="23939" cy="57351"/>
            </a:xfrm>
            <a:custGeom>
              <a:avLst/>
              <a:gdLst>
                <a:gd name="T0" fmla="*/ 0 w 60"/>
                <a:gd name="T1" fmla="*/ 0 h 18"/>
                <a:gd name="T2" fmla="*/ 19 w 60"/>
                <a:gd name="T3" fmla="*/ 4 h 18"/>
                <a:gd name="T4" fmla="*/ 37 w 60"/>
                <a:gd name="T5" fmla="*/ 9 h 18"/>
                <a:gd name="T6" fmla="*/ 45 w 60"/>
                <a:gd name="T7" fmla="*/ 11 h 18"/>
                <a:gd name="T8" fmla="*/ 51 w 60"/>
                <a:gd name="T9" fmla="*/ 13 h 18"/>
                <a:gd name="T10" fmla="*/ 56 w 60"/>
                <a:gd name="T11" fmla="*/ 16 h 18"/>
                <a:gd name="T12" fmla="*/ 60 w 60"/>
                <a:gd name="T13" fmla="*/ 18 h 18"/>
                <a:gd name="T14" fmla="*/ 38 w 60"/>
                <a:gd name="T15" fmla="*/ 18 h 18"/>
                <a:gd name="T16" fmla="*/ 23 w 60"/>
                <a:gd name="T17" fmla="*/ 18 h 18"/>
                <a:gd name="T18" fmla="*/ 10 w 60"/>
                <a:gd name="T19" fmla="*/ 18 h 18"/>
                <a:gd name="T20" fmla="*/ 0 w 60"/>
                <a:gd name="T21" fmla="*/ 18 h 18"/>
                <a:gd name="T22" fmla="*/ 0 w 60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8">
                  <a:moveTo>
                    <a:pt x="0" y="0"/>
                  </a:moveTo>
                  <a:lnTo>
                    <a:pt x="19" y="4"/>
                  </a:lnTo>
                  <a:lnTo>
                    <a:pt x="37" y="9"/>
                  </a:lnTo>
                  <a:lnTo>
                    <a:pt x="45" y="11"/>
                  </a:lnTo>
                  <a:lnTo>
                    <a:pt x="51" y="13"/>
                  </a:lnTo>
                  <a:lnTo>
                    <a:pt x="56" y="16"/>
                  </a:lnTo>
                  <a:lnTo>
                    <a:pt x="60" y="18"/>
                  </a:lnTo>
                  <a:lnTo>
                    <a:pt x="38" y="18"/>
                  </a:lnTo>
                  <a:lnTo>
                    <a:pt x="23" y="18"/>
                  </a:lnTo>
                  <a:lnTo>
                    <a:pt x="10" y="18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88" name="Freeform 310"/>
            <p:cNvSpPr>
              <a:spLocks/>
            </p:cNvSpPr>
            <p:nvPr>
              <p:custDataLst>
                <p:tags r:id="rId214"/>
              </p:custDataLst>
            </p:nvPr>
          </p:nvSpPr>
          <p:spPr bwMode="auto">
            <a:xfrm>
              <a:off x="9505577" y="4338498"/>
              <a:ext cx="25535" cy="57351"/>
            </a:xfrm>
            <a:custGeom>
              <a:avLst/>
              <a:gdLst>
                <a:gd name="T0" fmla="*/ 0 w 66"/>
                <a:gd name="T1" fmla="*/ 18 h 18"/>
                <a:gd name="T2" fmla="*/ 66 w 66"/>
                <a:gd name="T3" fmla="*/ 18 h 18"/>
                <a:gd name="T4" fmla="*/ 52 w 66"/>
                <a:gd name="T5" fmla="*/ 13 h 18"/>
                <a:gd name="T6" fmla="*/ 40 w 66"/>
                <a:gd name="T7" fmla="*/ 7 h 18"/>
                <a:gd name="T8" fmla="*/ 35 w 66"/>
                <a:gd name="T9" fmla="*/ 4 h 18"/>
                <a:gd name="T10" fmla="*/ 29 w 66"/>
                <a:gd name="T11" fmla="*/ 2 h 18"/>
                <a:gd name="T12" fmla="*/ 25 w 66"/>
                <a:gd name="T13" fmla="*/ 1 h 18"/>
                <a:gd name="T14" fmla="*/ 19 w 66"/>
                <a:gd name="T15" fmla="*/ 0 h 18"/>
                <a:gd name="T16" fmla="*/ 0 w 66"/>
                <a:gd name="T1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6" h="18">
                  <a:moveTo>
                    <a:pt x="0" y="18"/>
                  </a:moveTo>
                  <a:lnTo>
                    <a:pt x="66" y="18"/>
                  </a:lnTo>
                  <a:lnTo>
                    <a:pt x="52" y="13"/>
                  </a:lnTo>
                  <a:lnTo>
                    <a:pt x="40" y="7"/>
                  </a:lnTo>
                  <a:lnTo>
                    <a:pt x="35" y="4"/>
                  </a:lnTo>
                  <a:lnTo>
                    <a:pt x="29" y="2"/>
                  </a:lnTo>
                  <a:lnTo>
                    <a:pt x="25" y="1"/>
                  </a:lnTo>
                  <a:lnTo>
                    <a:pt x="19" y="0"/>
                  </a:lnTo>
                  <a:lnTo>
                    <a:pt x="0" y="1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89" name="Freeform 311"/>
            <p:cNvSpPr>
              <a:spLocks/>
            </p:cNvSpPr>
            <p:nvPr>
              <p:custDataLst>
                <p:tags r:id="rId215"/>
              </p:custDataLst>
            </p:nvPr>
          </p:nvSpPr>
          <p:spPr bwMode="auto">
            <a:xfrm>
              <a:off x="9330023" y="4235602"/>
              <a:ext cx="7979" cy="57351"/>
            </a:xfrm>
            <a:custGeom>
              <a:avLst/>
              <a:gdLst>
                <a:gd name="T0" fmla="*/ 0 w 17"/>
                <a:gd name="T1" fmla="*/ 36 h 42"/>
                <a:gd name="T2" fmla="*/ 13 w 17"/>
                <a:gd name="T3" fmla="*/ 42 h 42"/>
                <a:gd name="T4" fmla="*/ 14 w 17"/>
                <a:gd name="T5" fmla="*/ 33 h 42"/>
                <a:gd name="T6" fmla="*/ 16 w 17"/>
                <a:gd name="T7" fmla="*/ 23 h 42"/>
                <a:gd name="T8" fmla="*/ 17 w 17"/>
                <a:gd name="T9" fmla="*/ 18 h 42"/>
                <a:gd name="T10" fmla="*/ 16 w 17"/>
                <a:gd name="T11" fmla="*/ 12 h 42"/>
                <a:gd name="T12" fmla="*/ 16 w 17"/>
                <a:gd name="T13" fmla="*/ 6 h 42"/>
                <a:gd name="T14" fmla="*/ 13 w 17"/>
                <a:gd name="T15" fmla="*/ 0 h 42"/>
                <a:gd name="T16" fmla="*/ 0 w 17"/>
                <a:gd name="T17" fmla="*/ 36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42">
                  <a:moveTo>
                    <a:pt x="0" y="36"/>
                  </a:moveTo>
                  <a:lnTo>
                    <a:pt x="13" y="42"/>
                  </a:lnTo>
                  <a:lnTo>
                    <a:pt x="14" y="33"/>
                  </a:lnTo>
                  <a:lnTo>
                    <a:pt x="16" y="23"/>
                  </a:lnTo>
                  <a:lnTo>
                    <a:pt x="17" y="18"/>
                  </a:lnTo>
                  <a:lnTo>
                    <a:pt x="16" y="12"/>
                  </a:lnTo>
                  <a:lnTo>
                    <a:pt x="16" y="6"/>
                  </a:lnTo>
                  <a:lnTo>
                    <a:pt x="13" y="0"/>
                  </a:lnTo>
                  <a:lnTo>
                    <a:pt x="0" y="36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0" name="Freeform 312"/>
            <p:cNvSpPr>
              <a:spLocks/>
            </p:cNvSpPr>
            <p:nvPr>
              <p:custDataLst>
                <p:tags r:id="rId216"/>
              </p:custDataLst>
            </p:nvPr>
          </p:nvSpPr>
          <p:spPr bwMode="auto">
            <a:xfrm>
              <a:off x="9256610" y="4370546"/>
              <a:ext cx="30322" cy="59038"/>
            </a:xfrm>
            <a:custGeom>
              <a:avLst/>
              <a:gdLst>
                <a:gd name="T0" fmla="*/ 6 w 72"/>
                <a:gd name="T1" fmla="*/ 29 h 29"/>
                <a:gd name="T2" fmla="*/ 15 w 72"/>
                <a:gd name="T3" fmla="*/ 26 h 29"/>
                <a:gd name="T4" fmla="*/ 24 w 72"/>
                <a:gd name="T5" fmla="*/ 24 h 29"/>
                <a:gd name="T6" fmla="*/ 32 w 72"/>
                <a:gd name="T7" fmla="*/ 24 h 29"/>
                <a:gd name="T8" fmla="*/ 39 w 72"/>
                <a:gd name="T9" fmla="*/ 24 h 29"/>
                <a:gd name="T10" fmla="*/ 55 w 72"/>
                <a:gd name="T11" fmla="*/ 27 h 29"/>
                <a:gd name="T12" fmla="*/ 72 w 72"/>
                <a:gd name="T13" fmla="*/ 29 h 29"/>
                <a:gd name="T14" fmla="*/ 72 w 72"/>
                <a:gd name="T15" fmla="*/ 4 h 29"/>
                <a:gd name="T16" fmla="*/ 58 w 72"/>
                <a:gd name="T17" fmla="*/ 1 h 29"/>
                <a:gd name="T18" fmla="*/ 47 w 72"/>
                <a:gd name="T19" fmla="*/ 0 h 29"/>
                <a:gd name="T20" fmla="*/ 39 w 72"/>
                <a:gd name="T21" fmla="*/ 0 h 29"/>
                <a:gd name="T22" fmla="*/ 34 w 72"/>
                <a:gd name="T23" fmla="*/ 2 h 29"/>
                <a:gd name="T24" fmla="*/ 27 w 72"/>
                <a:gd name="T25" fmla="*/ 3 h 29"/>
                <a:gd name="T26" fmla="*/ 21 w 72"/>
                <a:gd name="T27" fmla="*/ 5 h 29"/>
                <a:gd name="T28" fmla="*/ 12 w 72"/>
                <a:gd name="T29" fmla="*/ 5 h 29"/>
                <a:gd name="T30" fmla="*/ 0 w 72"/>
                <a:gd name="T31" fmla="*/ 4 h 29"/>
                <a:gd name="T32" fmla="*/ 3 w 72"/>
                <a:gd name="T33" fmla="*/ 16 h 29"/>
                <a:gd name="T34" fmla="*/ 6 w 72"/>
                <a:gd name="T3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29">
                  <a:moveTo>
                    <a:pt x="6" y="29"/>
                  </a:moveTo>
                  <a:lnTo>
                    <a:pt x="15" y="26"/>
                  </a:lnTo>
                  <a:lnTo>
                    <a:pt x="24" y="24"/>
                  </a:lnTo>
                  <a:lnTo>
                    <a:pt x="32" y="24"/>
                  </a:lnTo>
                  <a:lnTo>
                    <a:pt x="39" y="24"/>
                  </a:lnTo>
                  <a:lnTo>
                    <a:pt x="55" y="27"/>
                  </a:lnTo>
                  <a:lnTo>
                    <a:pt x="72" y="29"/>
                  </a:lnTo>
                  <a:lnTo>
                    <a:pt x="72" y="4"/>
                  </a:lnTo>
                  <a:lnTo>
                    <a:pt x="58" y="1"/>
                  </a:lnTo>
                  <a:lnTo>
                    <a:pt x="47" y="0"/>
                  </a:lnTo>
                  <a:lnTo>
                    <a:pt x="39" y="0"/>
                  </a:lnTo>
                  <a:lnTo>
                    <a:pt x="34" y="2"/>
                  </a:lnTo>
                  <a:lnTo>
                    <a:pt x="27" y="3"/>
                  </a:lnTo>
                  <a:lnTo>
                    <a:pt x="21" y="5"/>
                  </a:lnTo>
                  <a:lnTo>
                    <a:pt x="12" y="5"/>
                  </a:lnTo>
                  <a:lnTo>
                    <a:pt x="0" y="4"/>
                  </a:lnTo>
                  <a:lnTo>
                    <a:pt x="3" y="16"/>
                  </a:lnTo>
                  <a:lnTo>
                    <a:pt x="6" y="29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1" name="Freeform 313"/>
            <p:cNvSpPr>
              <a:spLocks/>
            </p:cNvSpPr>
            <p:nvPr>
              <p:custDataLst>
                <p:tags r:id="rId217"/>
              </p:custDataLst>
            </p:nvPr>
          </p:nvSpPr>
          <p:spPr bwMode="auto">
            <a:xfrm>
              <a:off x="9264589" y="4556094"/>
              <a:ext cx="19151" cy="55665"/>
            </a:xfrm>
            <a:custGeom>
              <a:avLst/>
              <a:gdLst>
                <a:gd name="T0" fmla="*/ 0 w 46"/>
                <a:gd name="T1" fmla="*/ 0 h 37"/>
                <a:gd name="T2" fmla="*/ 9 w 46"/>
                <a:gd name="T3" fmla="*/ 9 h 37"/>
                <a:gd name="T4" fmla="*/ 20 w 46"/>
                <a:gd name="T5" fmla="*/ 15 h 37"/>
                <a:gd name="T6" fmla="*/ 31 w 46"/>
                <a:gd name="T7" fmla="*/ 20 h 37"/>
                <a:gd name="T8" fmla="*/ 46 w 46"/>
                <a:gd name="T9" fmla="*/ 25 h 37"/>
                <a:gd name="T10" fmla="*/ 37 w 46"/>
                <a:gd name="T11" fmla="*/ 29 h 37"/>
                <a:gd name="T12" fmla="*/ 29 w 46"/>
                <a:gd name="T13" fmla="*/ 33 h 37"/>
                <a:gd name="T14" fmla="*/ 21 w 46"/>
                <a:gd name="T15" fmla="*/ 36 h 37"/>
                <a:gd name="T16" fmla="*/ 13 w 46"/>
                <a:gd name="T17" fmla="*/ 37 h 37"/>
                <a:gd name="T18" fmla="*/ 9 w 46"/>
                <a:gd name="T19" fmla="*/ 36 h 37"/>
                <a:gd name="T20" fmla="*/ 7 w 46"/>
                <a:gd name="T21" fmla="*/ 33 h 37"/>
                <a:gd name="T22" fmla="*/ 5 w 46"/>
                <a:gd name="T23" fmla="*/ 29 h 37"/>
                <a:gd name="T24" fmla="*/ 3 w 46"/>
                <a:gd name="T25" fmla="*/ 23 h 37"/>
                <a:gd name="T26" fmla="*/ 1 w 46"/>
                <a:gd name="T27" fmla="*/ 12 h 37"/>
                <a:gd name="T28" fmla="*/ 0 w 46"/>
                <a:gd name="T29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37">
                  <a:moveTo>
                    <a:pt x="0" y="0"/>
                  </a:moveTo>
                  <a:lnTo>
                    <a:pt x="9" y="9"/>
                  </a:lnTo>
                  <a:lnTo>
                    <a:pt x="20" y="15"/>
                  </a:lnTo>
                  <a:lnTo>
                    <a:pt x="31" y="20"/>
                  </a:lnTo>
                  <a:lnTo>
                    <a:pt x="46" y="25"/>
                  </a:lnTo>
                  <a:lnTo>
                    <a:pt x="37" y="29"/>
                  </a:lnTo>
                  <a:lnTo>
                    <a:pt x="29" y="33"/>
                  </a:lnTo>
                  <a:lnTo>
                    <a:pt x="21" y="36"/>
                  </a:lnTo>
                  <a:lnTo>
                    <a:pt x="13" y="37"/>
                  </a:lnTo>
                  <a:lnTo>
                    <a:pt x="9" y="36"/>
                  </a:lnTo>
                  <a:lnTo>
                    <a:pt x="7" y="33"/>
                  </a:lnTo>
                  <a:lnTo>
                    <a:pt x="5" y="29"/>
                  </a:lnTo>
                  <a:lnTo>
                    <a:pt x="3" y="23"/>
                  </a:lnTo>
                  <a:lnTo>
                    <a:pt x="1" y="12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2" name="Freeform 314"/>
            <p:cNvSpPr>
              <a:spLocks/>
            </p:cNvSpPr>
            <p:nvPr>
              <p:custDataLst>
                <p:tags r:id="rId218"/>
              </p:custDataLst>
            </p:nvPr>
          </p:nvSpPr>
          <p:spPr bwMode="auto">
            <a:xfrm>
              <a:off x="9377902" y="4375607"/>
              <a:ext cx="11171" cy="57351"/>
            </a:xfrm>
            <a:custGeom>
              <a:avLst/>
              <a:gdLst>
                <a:gd name="T0" fmla="*/ 0 w 26"/>
                <a:gd name="T1" fmla="*/ 0 h 19"/>
                <a:gd name="T2" fmla="*/ 26 w 26"/>
                <a:gd name="T3" fmla="*/ 19 h 19"/>
                <a:gd name="T4" fmla="*/ 26 w 26"/>
                <a:gd name="T5" fmla="*/ 9 h 19"/>
                <a:gd name="T6" fmla="*/ 26 w 26"/>
                <a:gd name="T7" fmla="*/ 0 h 19"/>
                <a:gd name="T8" fmla="*/ 15 w 26"/>
                <a:gd name="T9" fmla="*/ 0 h 19"/>
                <a:gd name="T10" fmla="*/ 0 w 26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" h="19">
                  <a:moveTo>
                    <a:pt x="0" y="0"/>
                  </a:moveTo>
                  <a:lnTo>
                    <a:pt x="26" y="19"/>
                  </a:lnTo>
                  <a:lnTo>
                    <a:pt x="26" y="9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3" name="Freeform 315"/>
            <p:cNvSpPr>
              <a:spLocks/>
            </p:cNvSpPr>
            <p:nvPr>
              <p:custDataLst>
                <p:tags r:id="rId219"/>
              </p:custDataLst>
            </p:nvPr>
          </p:nvSpPr>
          <p:spPr bwMode="auto">
            <a:xfrm>
              <a:off x="9239054" y="4370546"/>
              <a:ext cx="17556" cy="59038"/>
            </a:xfrm>
            <a:custGeom>
              <a:avLst/>
              <a:gdLst>
                <a:gd name="T0" fmla="*/ 2 w 43"/>
                <a:gd name="T1" fmla="*/ 0 h 31"/>
                <a:gd name="T2" fmla="*/ 1 w 43"/>
                <a:gd name="T3" fmla="*/ 12 h 31"/>
                <a:gd name="T4" fmla="*/ 0 w 43"/>
                <a:gd name="T5" fmla="*/ 23 h 31"/>
                <a:gd name="T6" fmla="*/ 0 w 43"/>
                <a:gd name="T7" fmla="*/ 26 h 31"/>
                <a:gd name="T8" fmla="*/ 0 w 43"/>
                <a:gd name="T9" fmla="*/ 29 h 31"/>
                <a:gd name="T10" fmla="*/ 0 w 43"/>
                <a:gd name="T11" fmla="*/ 31 h 31"/>
                <a:gd name="T12" fmla="*/ 2 w 43"/>
                <a:gd name="T13" fmla="*/ 31 h 31"/>
                <a:gd name="T14" fmla="*/ 13 w 43"/>
                <a:gd name="T15" fmla="*/ 22 h 31"/>
                <a:gd name="T16" fmla="*/ 25 w 43"/>
                <a:gd name="T17" fmla="*/ 13 h 31"/>
                <a:gd name="T18" fmla="*/ 35 w 43"/>
                <a:gd name="T19" fmla="*/ 5 h 31"/>
                <a:gd name="T20" fmla="*/ 43 w 43"/>
                <a:gd name="T21" fmla="*/ 0 h 31"/>
                <a:gd name="T22" fmla="*/ 2 w 43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31">
                  <a:moveTo>
                    <a:pt x="2" y="0"/>
                  </a:moveTo>
                  <a:lnTo>
                    <a:pt x="1" y="12"/>
                  </a:lnTo>
                  <a:lnTo>
                    <a:pt x="0" y="23"/>
                  </a:lnTo>
                  <a:lnTo>
                    <a:pt x="0" y="26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13" y="22"/>
                  </a:lnTo>
                  <a:lnTo>
                    <a:pt x="25" y="13"/>
                  </a:lnTo>
                  <a:lnTo>
                    <a:pt x="35" y="5"/>
                  </a:lnTo>
                  <a:lnTo>
                    <a:pt x="43" y="0"/>
                  </a:lnTo>
                  <a:lnTo>
                    <a:pt x="2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4" name="Freeform 316"/>
            <p:cNvSpPr>
              <a:spLocks/>
            </p:cNvSpPr>
            <p:nvPr>
              <p:custDataLst>
                <p:tags r:id="rId220"/>
              </p:custDataLst>
            </p:nvPr>
          </p:nvSpPr>
          <p:spPr bwMode="auto">
            <a:xfrm>
              <a:off x="9282145" y="4417777"/>
              <a:ext cx="30322" cy="57351"/>
            </a:xfrm>
            <a:custGeom>
              <a:avLst/>
              <a:gdLst>
                <a:gd name="T0" fmla="*/ 4 w 71"/>
                <a:gd name="T1" fmla="*/ 12 h 49"/>
                <a:gd name="T2" fmla="*/ 4 w 71"/>
                <a:gd name="T3" fmla="*/ 18 h 49"/>
                <a:gd name="T4" fmla="*/ 5 w 71"/>
                <a:gd name="T5" fmla="*/ 25 h 49"/>
                <a:gd name="T6" fmla="*/ 7 w 71"/>
                <a:gd name="T7" fmla="*/ 31 h 49"/>
                <a:gd name="T8" fmla="*/ 9 w 71"/>
                <a:gd name="T9" fmla="*/ 37 h 49"/>
                <a:gd name="T10" fmla="*/ 14 w 71"/>
                <a:gd name="T11" fmla="*/ 41 h 49"/>
                <a:gd name="T12" fmla="*/ 18 w 71"/>
                <a:gd name="T13" fmla="*/ 46 h 49"/>
                <a:gd name="T14" fmla="*/ 23 w 71"/>
                <a:gd name="T15" fmla="*/ 48 h 49"/>
                <a:gd name="T16" fmla="*/ 30 w 71"/>
                <a:gd name="T17" fmla="*/ 49 h 49"/>
                <a:gd name="T18" fmla="*/ 35 w 71"/>
                <a:gd name="T19" fmla="*/ 48 h 49"/>
                <a:gd name="T20" fmla="*/ 40 w 71"/>
                <a:gd name="T21" fmla="*/ 46 h 49"/>
                <a:gd name="T22" fmla="*/ 45 w 71"/>
                <a:gd name="T23" fmla="*/ 42 h 49"/>
                <a:gd name="T24" fmla="*/ 50 w 71"/>
                <a:gd name="T25" fmla="*/ 37 h 49"/>
                <a:gd name="T26" fmla="*/ 60 w 71"/>
                <a:gd name="T27" fmla="*/ 28 h 49"/>
                <a:gd name="T28" fmla="*/ 71 w 71"/>
                <a:gd name="T29" fmla="*/ 18 h 49"/>
                <a:gd name="T30" fmla="*/ 61 w 71"/>
                <a:gd name="T31" fmla="*/ 12 h 49"/>
                <a:gd name="T32" fmla="*/ 52 w 71"/>
                <a:gd name="T33" fmla="*/ 9 h 49"/>
                <a:gd name="T34" fmla="*/ 44 w 71"/>
                <a:gd name="T35" fmla="*/ 7 h 49"/>
                <a:gd name="T36" fmla="*/ 37 w 71"/>
                <a:gd name="T37" fmla="*/ 6 h 49"/>
                <a:gd name="T38" fmla="*/ 29 w 71"/>
                <a:gd name="T39" fmla="*/ 6 h 49"/>
                <a:gd name="T40" fmla="*/ 21 w 71"/>
                <a:gd name="T41" fmla="*/ 5 h 49"/>
                <a:gd name="T42" fmla="*/ 14 w 71"/>
                <a:gd name="T43" fmla="*/ 3 h 49"/>
                <a:gd name="T44" fmla="*/ 4 w 71"/>
                <a:gd name="T45" fmla="*/ 0 h 49"/>
                <a:gd name="T46" fmla="*/ 3 w 71"/>
                <a:gd name="T47" fmla="*/ 1 h 49"/>
                <a:gd name="T48" fmla="*/ 1 w 71"/>
                <a:gd name="T49" fmla="*/ 6 h 49"/>
                <a:gd name="T50" fmla="*/ 0 w 71"/>
                <a:gd name="T51" fmla="*/ 8 h 49"/>
                <a:gd name="T52" fmla="*/ 0 w 71"/>
                <a:gd name="T53" fmla="*/ 10 h 49"/>
                <a:gd name="T54" fmla="*/ 1 w 71"/>
                <a:gd name="T55" fmla="*/ 11 h 49"/>
                <a:gd name="T56" fmla="*/ 4 w 71"/>
                <a:gd name="T57" fmla="*/ 12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1" h="49">
                  <a:moveTo>
                    <a:pt x="4" y="12"/>
                  </a:moveTo>
                  <a:lnTo>
                    <a:pt x="4" y="18"/>
                  </a:lnTo>
                  <a:lnTo>
                    <a:pt x="5" y="25"/>
                  </a:lnTo>
                  <a:lnTo>
                    <a:pt x="7" y="31"/>
                  </a:lnTo>
                  <a:lnTo>
                    <a:pt x="9" y="37"/>
                  </a:lnTo>
                  <a:lnTo>
                    <a:pt x="14" y="41"/>
                  </a:lnTo>
                  <a:lnTo>
                    <a:pt x="18" y="46"/>
                  </a:lnTo>
                  <a:lnTo>
                    <a:pt x="23" y="48"/>
                  </a:lnTo>
                  <a:lnTo>
                    <a:pt x="30" y="49"/>
                  </a:lnTo>
                  <a:lnTo>
                    <a:pt x="35" y="48"/>
                  </a:lnTo>
                  <a:lnTo>
                    <a:pt x="40" y="46"/>
                  </a:lnTo>
                  <a:lnTo>
                    <a:pt x="45" y="42"/>
                  </a:lnTo>
                  <a:lnTo>
                    <a:pt x="50" y="37"/>
                  </a:lnTo>
                  <a:lnTo>
                    <a:pt x="60" y="28"/>
                  </a:lnTo>
                  <a:lnTo>
                    <a:pt x="71" y="18"/>
                  </a:lnTo>
                  <a:lnTo>
                    <a:pt x="61" y="12"/>
                  </a:lnTo>
                  <a:lnTo>
                    <a:pt x="52" y="9"/>
                  </a:lnTo>
                  <a:lnTo>
                    <a:pt x="44" y="7"/>
                  </a:lnTo>
                  <a:lnTo>
                    <a:pt x="37" y="6"/>
                  </a:lnTo>
                  <a:lnTo>
                    <a:pt x="29" y="6"/>
                  </a:lnTo>
                  <a:lnTo>
                    <a:pt x="21" y="5"/>
                  </a:lnTo>
                  <a:lnTo>
                    <a:pt x="14" y="3"/>
                  </a:lnTo>
                  <a:lnTo>
                    <a:pt x="4" y="0"/>
                  </a:lnTo>
                  <a:lnTo>
                    <a:pt x="3" y="1"/>
                  </a:lnTo>
                  <a:lnTo>
                    <a:pt x="1" y="6"/>
                  </a:lnTo>
                  <a:lnTo>
                    <a:pt x="0" y="8"/>
                  </a:lnTo>
                  <a:lnTo>
                    <a:pt x="0" y="10"/>
                  </a:lnTo>
                  <a:lnTo>
                    <a:pt x="1" y="11"/>
                  </a:lnTo>
                  <a:lnTo>
                    <a:pt x="4" y="12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5" name="Freeform 317"/>
            <p:cNvSpPr>
              <a:spLocks/>
            </p:cNvSpPr>
            <p:nvPr>
              <p:custDataLst>
                <p:tags r:id="rId221"/>
              </p:custDataLst>
            </p:nvPr>
          </p:nvSpPr>
          <p:spPr bwMode="auto">
            <a:xfrm>
              <a:off x="9084248" y="4621880"/>
              <a:ext cx="46282" cy="59037"/>
            </a:xfrm>
            <a:custGeom>
              <a:avLst/>
              <a:gdLst>
                <a:gd name="T0" fmla="*/ 46 w 112"/>
                <a:gd name="T1" fmla="*/ 2 h 26"/>
                <a:gd name="T2" fmla="*/ 56 w 112"/>
                <a:gd name="T3" fmla="*/ 2 h 26"/>
                <a:gd name="T4" fmla="*/ 66 w 112"/>
                <a:gd name="T5" fmla="*/ 3 h 26"/>
                <a:gd name="T6" fmla="*/ 74 w 112"/>
                <a:gd name="T7" fmla="*/ 4 h 26"/>
                <a:gd name="T8" fmla="*/ 84 w 112"/>
                <a:gd name="T9" fmla="*/ 6 h 26"/>
                <a:gd name="T10" fmla="*/ 92 w 112"/>
                <a:gd name="T11" fmla="*/ 9 h 26"/>
                <a:gd name="T12" fmla="*/ 100 w 112"/>
                <a:gd name="T13" fmla="*/ 12 h 26"/>
                <a:gd name="T14" fmla="*/ 106 w 112"/>
                <a:gd name="T15" fmla="*/ 16 h 26"/>
                <a:gd name="T16" fmla="*/ 112 w 112"/>
                <a:gd name="T17" fmla="*/ 20 h 26"/>
                <a:gd name="T18" fmla="*/ 110 w 112"/>
                <a:gd name="T19" fmla="*/ 22 h 26"/>
                <a:gd name="T20" fmla="*/ 105 w 112"/>
                <a:gd name="T21" fmla="*/ 23 h 26"/>
                <a:gd name="T22" fmla="*/ 101 w 112"/>
                <a:gd name="T23" fmla="*/ 25 h 26"/>
                <a:gd name="T24" fmla="*/ 95 w 112"/>
                <a:gd name="T25" fmla="*/ 25 h 26"/>
                <a:gd name="T26" fmla="*/ 87 w 112"/>
                <a:gd name="T27" fmla="*/ 26 h 26"/>
                <a:gd name="T28" fmla="*/ 79 w 112"/>
                <a:gd name="T29" fmla="*/ 26 h 26"/>
                <a:gd name="T30" fmla="*/ 66 w 112"/>
                <a:gd name="T31" fmla="*/ 24 h 26"/>
                <a:gd name="T32" fmla="*/ 41 w 112"/>
                <a:gd name="T33" fmla="*/ 19 h 26"/>
                <a:gd name="T34" fmla="*/ 16 w 112"/>
                <a:gd name="T35" fmla="*/ 13 h 26"/>
                <a:gd name="T36" fmla="*/ 0 w 112"/>
                <a:gd name="T37" fmla="*/ 8 h 26"/>
                <a:gd name="T38" fmla="*/ 5 w 112"/>
                <a:gd name="T39" fmla="*/ 4 h 26"/>
                <a:gd name="T40" fmla="*/ 11 w 112"/>
                <a:gd name="T41" fmla="*/ 2 h 26"/>
                <a:gd name="T42" fmla="*/ 18 w 112"/>
                <a:gd name="T43" fmla="*/ 1 h 26"/>
                <a:gd name="T44" fmla="*/ 25 w 112"/>
                <a:gd name="T45" fmla="*/ 0 h 26"/>
                <a:gd name="T46" fmla="*/ 37 w 112"/>
                <a:gd name="T47" fmla="*/ 1 h 26"/>
                <a:gd name="T48" fmla="*/ 46 w 112"/>
                <a:gd name="T49" fmla="*/ 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" h="26">
                  <a:moveTo>
                    <a:pt x="46" y="2"/>
                  </a:moveTo>
                  <a:lnTo>
                    <a:pt x="56" y="2"/>
                  </a:lnTo>
                  <a:lnTo>
                    <a:pt x="66" y="3"/>
                  </a:lnTo>
                  <a:lnTo>
                    <a:pt x="74" y="4"/>
                  </a:lnTo>
                  <a:lnTo>
                    <a:pt x="84" y="6"/>
                  </a:lnTo>
                  <a:lnTo>
                    <a:pt x="92" y="9"/>
                  </a:lnTo>
                  <a:lnTo>
                    <a:pt x="100" y="12"/>
                  </a:lnTo>
                  <a:lnTo>
                    <a:pt x="106" y="16"/>
                  </a:lnTo>
                  <a:lnTo>
                    <a:pt x="112" y="20"/>
                  </a:lnTo>
                  <a:lnTo>
                    <a:pt x="110" y="22"/>
                  </a:lnTo>
                  <a:lnTo>
                    <a:pt x="105" y="23"/>
                  </a:lnTo>
                  <a:lnTo>
                    <a:pt x="101" y="25"/>
                  </a:lnTo>
                  <a:lnTo>
                    <a:pt x="95" y="25"/>
                  </a:lnTo>
                  <a:lnTo>
                    <a:pt x="87" y="26"/>
                  </a:lnTo>
                  <a:lnTo>
                    <a:pt x="79" y="26"/>
                  </a:lnTo>
                  <a:lnTo>
                    <a:pt x="66" y="24"/>
                  </a:lnTo>
                  <a:lnTo>
                    <a:pt x="41" y="19"/>
                  </a:lnTo>
                  <a:lnTo>
                    <a:pt x="16" y="13"/>
                  </a:lnTo>
                  <a:lnTo>
                    <a:pt x="0" y="8"/>
                  </a:lnTo>
                  <a:lnTo>
                    <a:pt x="5" y="4"/>
                  </a:lnTo>
                  <a:lnTo>
                    <a:pt x="11" y="2"/>
                  </a:lnTo>
                  <a:lnTo>
                    <a:pt x="18" y="1"/>
                  </a:lnTo>
                  <a:lnTo>
                    <a:pt x="25" y="0"/>
                  </a:lnTo>
                  <a:lnTo>
                    <a:pt x="37" y="1"/>
                  </a:lnTo>
                  <a:lnTo>
                    <a:pt x="46" y="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6" name="Freeform 318"/>
            <p:cNvSpPr>
              <a:spLocks/>
            </p:cNvSpPr>
            <p:nvPr>
              <p:custDataLst>
                <p:tags r:id="rId222"/>
              </p:custDataLst>
            </p:nvPr>
          </p:nvSpPr>
          <p:spPr bwMode="auto">
            <a:xfrm>
              <a:off x="9183197" y="4658989"/>
              <a:ext cx="14363" cy="59037"/>
            </a:xfrm>
            <a:custGeom>
              <a:avLst/>
              <a:gdLst>
                <a:gd name="T0" fmla="*/ 0 w 41"/>
                <a:gd name="T1" fmla="*/ 0 h 25"/>
                <a:gd name="T2" fmla="*/ 41 w 41"/>
                <a:gd name="T3" fmla="*/ 0 h 25"/>
                <a:gd name="T4" fmla="*/ 28 w 41"/>
                <a:gd name="T5" fmla="*/ 8 h 25"/>
                <a:gd name="T6" fmla="*/ 18 w 41"/>
                <a:gd name="T7" fmla="*/ 15 h 25"/>
                <a:gd name="T8" fmla="*/ 9 w 41"/>
                <a:gd name="T9" fmla="*/ 20 h 25"/>
                <a:gd name="T10" fmla="*/ 0 w 41"/>
                <a:gd name="T11" fmla="*/ 25 h 25"/>
                <a:gd name="T12" fmla="*/ 0 w 41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25">
                  <a:moveTo>
                    <a:pt x="0" y="0"/>
                  </a:moveTo>
                  <a:lnTo>
                    <a:pt x="41" y="0"/>
                  </a:lnTo>
                  <a:lnTo>
                    <a:pt x="28" y="8"/>
                  </a:lnTo>
                  <a:lnTo>
                    <a:pt x="18" y="15"/>
                  </a:lnTo>
                  <a:lnTo>
                    <a:pt x="9" y="20"/>
                  </a:lnTo>
                  <a:lnTo>
                    <a:pt x="0" y="25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7" name="Freeform 319"/>
            <p:cNvSpPr>
              <a:spLocks/>
            </p:cNvSpPr>
            <p:nvPr>
              <p:custDataLst>
                <p:tags r:id="rId223"/>
              </p:custDataLst>
            </p:nvPr>
          </p:nvSpPr>
          <p:spPr bwMode="auto">
            <a:xfrm>
              <a:off x="9015622" y="4591517"/>
              <a:ext cx="36707" cy="55664"/>
            </a:xfrm>
            <a:custGeom>
              <a:avLst/>
              <a:gdLst>
                <a:gd name="T0" fmla="*/ 0 w 81"/>
                <a:gd name="T1" fmla="*/ 31 h 31"/>
                <a:gd name="T2" fmla="*/ 0 w 81"/>
                <a:gd name="T3" fmla="*/ 22 h 31"/>
                <a:gd name="T4" fmla="*/ 0 w 81"/>
                <a:gd name="T5" fmla="*/ 13 h 31"/>
                <a:gd name="T6" fmla="*/ 0 w 81"/>
                <a:gd name="T7" fmla="*/ 10 h 31"/>
                <a:gd name="T8" fmla="*/ 2 w 81"/>
                <a:gd name="T9" fmla="*/ 8 h 31"/>
                <a:gd name="T10" fmla="*/ 3 w 81"/>
                <a:gd name="T11" fmla="*/ 6 h 31"/>
                <a:gd name="T12" fmla="*/ 4 w 81"/>
                <a:gd name="T13" fmla="*/ 4 h 31"/>
                <a:gd name="T14" fmla="*/ 8 w 81"/>
                <a:gd name="T15" fmla="*/ 2 h 31"/>
                <a:gd name="T16" fmla="*/ 14 w 81"/>
                <a:gd name="T17" fmla="*/ 0 h 31"/>
                <a:gd name="T18" fmla="*/ 26 w 81"/>
                <a:gd name="T19" fmla="*/ 1 h 31"/>
                <a:gd name="T20" fmla="*/ 41 w 81"/>
                <a:gd name="T21" fmla="*/ 1 h 31"/>
                <a:gd name="T22" fmla="*/ 56 w 81"/>
                <a:gd name="T23" fmla="*/ 1 h 31"/>
                <a:gd name="T24" fmla="*/ 65 w 81"/>
                <a:gd name="T25" fmla="*/ 1 h 31"/>
                <a:gd name="T26" fmla="*/ 73 w 81"/>
                <a:gd name="T27" fmla="*/ 1 h 31"/>
                <a:gd name="T28" fmla="*/ 81 w 81"/>
                <a:gd name="T29" fmla="*/ 1 h 31"/>
                <a:gd name="T30" fmla="*/ 73 w 81"/>
                <a:gd name="T31" fmla="*/ 6 h 31"/>
                <a:gd name="T32" fmla="*/ 67 w 81"/>
                <a:gd name="T33" fmla="*/ 10 h 31"/>
                <a:gd name="T34" fmla="*/ 64 w 81"/>
                <a:gd name="T35" fmla="*/ 14 h 31"/>
                <a:gd name="T36" fmla="*/ 62 w 81"/>
                <a:gd name="T37" fmla="*/ 18 h 31"/>
                <a:gd name="T38" fmla="*/ 59 w 81"/>
                <a:gd name="T39" fmla="*/ 21 h 31"/>
                <a:gd name="T40" fmla="*/ 54 w 81"/>
                <a:gd name="T41" fmla="*/ 23 h 31"/>
                <a:gd name="T42" fmla="*/ 47 w 81"/>
                <a:gd name="T43" fmla="*/ 25 h 31"/>
                <a:gd name="T44" fmla="*/ 34 w 81"/>
                <a:gd name="T45" fmla="*/ 25 h 31"/>
                <a:gd name="T46" fmla="*/ 0 w 81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1" h="31">
                  <a:moveTo>
                    <a:pt x="0" y="31"/>
                  </a:moveTo>
                  <a:lnTo>
                    <a:pt x="0" y="22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" y="8"/>
                  </a:lnTo>
                  <a:lnTo>
                    <a:pt x="3" y="6"/>
                  </a:lnTo>
                  <a:lnTo>
                    <a:pt x="4" y="4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6" y="1"/>
                  </a:lnTo>
                  <a:lnTo>
                    <a:pt x="41" y="1"/>
                  </a:lnTo>
                  <a:lnTo>
                    <a:pt x="56" y="1"/>
                  </a:lnTo>
                  <a:lnTo>
                    <a:pt x="65" y="1"/>
                  </a:lnTo>
                  <a:lnTo>
                    <a:pt x="73" y="1"/>
                  </a:lnTo>
                  <a:lnTo>
                    <a:pt x="81" y="1"/>
                  </a:lnTo>
                  <a:lnTo>
                    <a:pt x="73" y="6"/>
                  </a:lnTo>
                  <a:lnTo>
                    <a:pt x="67" y="10"/>
                  </a:lnTo>
                  <a:lnTo>
                    <a:pt x="64" y="14"/>
                  </a:lnTo>
                  <a:lnTo>
                    <a:pt x="62" y="18"/>
                  </a:lnTo>
                  <a:lnTo>
                    <a:pt x="59" y="21"/>
                  </a:lnTo>
                  <a:lnTo>
                    <a:pt x="54" y="23"/>
                  </a:lnTo>
                  <a:lnTo>
                    <a:pt x="47" y="25"/>
                  </a:lnTo>
                  <a:lnTo>
                    <a:pt x="34" y="25"/>
                  </a:lnTo>
                  <a:lnTo>
                    <a:pt x="0" y="31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8" name="Freeform 320"/>
            <p:cNvSpPr>
              <a:spLocks/>
            </p:cNvSpPr>
            <p:nvPr>
              <p:custDataLst>
                <p:tags r:id="rId224"/>
              </p:custDataLst>
            </p:nvPr>
          </p:nvSpPr>
          <p:spPr bwMode="auto">
            <a:xfrm>
              <a:off x="9060308" y="4578023"/>
              <a:ext cx="39899" cy="53978"/>
            </a:xfrm>
            <a:custGeom>
              <a:avLst/>
              <a:gdLst>
                <a:gd name="T0" fmla="*/ 2 w 89"/>
                <a:gd name="T1" fmla="*/ 49 h 49"/>
                <a:gd name="T2" fmla="*/ 89 w 89"/>
                <a:gd name="T3" fmla="*/ 49 h 49"/>
                <a:gd name="T4" fmla="*/ 78 w 89"/>
                <a:gd name="T5" fmla="*/ 41 h 49"/>
                <a:gd name="T6" fmla="*/ 68 w 89"/>
                <a:gd name="T7" fmla="*/ 35 h 49"/>
                <a:gd name="T8" fmla="*/ 57 w 89"/>
                <a:gd name="T9" fmla="*/ 30 h 49"/>
                <a:gd name="T10" fmla="*/ 46 w 89"/>
                <a:gd name="T11" fmla="*/ 25 h 49"/>
                <a:gd name="T12" fmla="*/ 36 w 89"/>
                <a:gd name="T13" fmla="*/ 21 h 49"/>
                <a:gd name="T14" fmla="*/ 26 w 89"/>
                <a:gd name="T15" fmla="*/ 14 h 49"/>
                <a:gd name="T16" fmla="*/ 16 w 89"/>
                <a:gd name="T17" fmla="*/ 8 h 49"/>
                <a:gd name="T18" fmla="*/ 9 w 89"/>
                <a:gd name="T19" fmla="*/ 0 h 49"/>
                <a:gd name="T20" fmla="*/ 4 w 89"/>
                <a:gd name="T21" fmla="*/ 10 h 49"/>
                <a:gd name="T22" fmla="*/ 1 w 89"/>
                <a:gd name="T23" fmla="*/ 23 h 49"/>
                <a:gd name="T24" fmla="*/ 0 w 89"/>
                <a:gd name="T25" fmla="*/ 29 h 49"/>
                <a:gd name="T26" fmla="*/ 0 w 89"/>
                <a:gd name="T27" fmla="*/ 36 h 49"/>
                <a:gd name="T28" fmla="*/ 0 w 89"/>
                <a:gd name="T29" fmla="*/ 43 h 49"/>
                <a:gd name="T30" fmla="*/ 2 w 89"/>
                <a:gd name="T3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9" h="49">
                  <a:moveTo>
                    <a:pt x="2" y="49"/>
                  </a:moveTo>
                  <a:lnTo>
                    <a:pt x="89" y="49"/>
                  </a:lnTo>
                  <a:lnTo>
                    <a:pt x="78" y="41"/>
                  </a:lnTo>
                  <a:lnTo>
                    <a:pt x="68" y="35"/>
                  </a:lnTo>
                  <a:lnTo>
                    <a:pt x="57" y="30"/>
                  </a:lnTo>
                  <a:lnTo>
                    <a:pt x="46" y="25"/>
                  </a:lnTo>
                  <a:lnTo>
                    <a:pt x="36" y="21"/>
                  </a:lnTo>
                  <a:lnTo>
                    <a:pt x="26" y="14"/>
                  </a:lnTo>
                  <a:lnTo>
                    <a:pt x="16" y="8"/>
                  </a:lnTo>
                  <a:lnTo>
                    <a:pt x="9" y="0"/>
                  </a:lnTo>
                  <a:lnTo>
                    <a:pt x="4" y="10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3"/>
                  </a:lnTo>
                  <a:lnTo>
                    <a:pt x="2" y="49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299" name="Freeform 321"/>
            <p:cNvSpPr>
              <a:spLocks/>
            </p:cNvSpPr>
            <p:nvPr>
              <p:custDataLst>
                <p:tags r:id="rId225"/>
              </p:custDataLst>
            </p:nvPr>
          </p:nvSpPr>
          <p:spPr bwMode="auto">
            <a:xfrm>
              <a:off x="9112975" y="4586456"/>
              <a:ext cx="36706" cy="59038"/>
            </a:xfrm>
            <a:custGeom>
              <a:avLst/>
              <a:gdLst>
                <a:gd name="T0" fmla="*/ 0 w 86"/>
                <a:gd name="T1" fmla="*/ 21 h 46"/>
                <a:gd name="T2" fmla="*/ 14 w 86"/>
                <a:gd name="T3" fmla="*/ 26 h 46"/>
                <a:gd name="T4" fmla="*/ 25 w 86"/>
                <a:gd name="T5" fmla="*/ 29 h 46"/>
                <a:gd name="T6" fmla="*/ 30 w 86"/>
                <a:gd name="T7" fmla="*/ 30 h 46"/>
                <a:gd name="T8" fmla="*/ 36 w 86"/>
                <a:gd name="T9" fmla="*/ 30 h 46"/>
                <a:gd name="T10" fmla="*/ 41 w 86"/>
                <a:gd name="T11" fmla="*/ 29 h 46"/>
                <a:gd name="T12" fmla="*/ 46 w 86"/>
                <a:gd name="T13" fmla="*/ 27 h 46"/>
                <a:gd name="T14" fmla="*/ 46 w 86"/>
                <a:gd name="T15" fmla="*/ 36 h 46"/>
                <a:gd name="T16" fmla="*/ 46 w 86"/>
                <a:gd name="T17" fmla="*/ 46 h 46"/>
                <a:gd name="T18" fmla="*/ 56 w 86"/>
                <a:gd name="T19" fmla="*/ 45 h 46"/>
                <a:gd name="T20" fmla="*/ 67 w 86"/>
                <a:gd name="T21" fmla="*/ 43 h 46"/>
                <a:gd name="T22" fmla="*/ 77 w 86"/>
                <a:gd name="T23" fmla="*/ 40 h 46"/>
                <a:gd name="T24" fmla="*/ 86 w 86"/>
                <a:gd name="T25" fmla="*/ 40 h 46"/>
                <a:gd name="T26" fmla="*/ 83 w 86"/>
                <a:gd name="T27" fmla="*/ 32 h 46"/>
                <a:gd name="T28" fmla="*/ 80 w 86"/>
                <a:gd name="T29" fmla="*/ 25 h 46"/>
                <a:gd name="T30" fmla="*/ 74 w 86"/>
                <a:gd name="T31" fmla="*/ 19 h 46"/>
                <a:gd name="T32" fmla="*/ 70 w 86"/>
                <a:gd name="T33" fmla="*/ 14 h 46"/>
                <a:gd name="T34" fmla="*/ 64 w 86"/>
                <a:gd name="T35" fmla="*/ 9 h 46"/>
                <a:gd name="T36" fmla="*/ 58 w 86"/>
                <a:gd name="T37" fmla="*/ 6 h 46"/>
                <a:gd name="T38" fmla="*/ 51 w 86"/>
                <a:gd name="T39" fmla="*/ 3 h 46"/>
                <a:gd name="T40" fmla="*/ 46 w 86"/>
                <a:gd name="T41" fmla="*/ 1 h 46"/>
                <a:gd name="T42" fmla="*/ 39 w 86"/>
                <a:gd name="T43" fmla="*/ 0 h 46"/>
                <a:gd name="T44" fmla="*/ 33 w 86"/>
                <a:gd name="T45" fmla="*/ 0 h 46"/>
                <a:gd name="T46" fmla="*/ 26 w 86"/>
                <a:gd name="T47" fmla="*/ 1 h 46"/>
                <a:gd name="T48" fmla="*/ 19 w 86"/>
                <a:gd name="T49" fmla="*/ 3 h 46"/>
                <a:gd name="T50" fmla="*/ 14 w 86"/>
                <a:gd name="T51" fmla="*/ 6 h 46"/>
                <a:gd name="T52" fmla="*/ 8 w 86"/>
                <a:gd name="T53" fmla="*/ 10 h 46"/>
                <a:gd name="T54" fmla="*/ 4 w 86"/>
                <a:gd name="T55" fmla="*/ 15 h 46"/>
                <a:gd name="T56" fmla="*/ 0 w 86"/>
                <a:gd name="T57" fmla="*/ 2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6" h="46">
                  <a:moveTo>
                    <a:pt x="0" y="21"/>
                  </a:moveTo>
                  <a:lnTo>
                    <a:pt x="14" y="26"/>
                  </a:lnTo>
                  <a:lnTo>
                    <a:pt x="25" y="29"/>
                  </a:lnTo>
                  <a:lnTo>
                    <a:pt x="30" y="30"/>
                  </a:lnTo>
                  <a:lnTo>
                    <a:pt x="36" y="30"/>
                  </a:lnTo>
                  <a:lnTo>
                    <a:pt x="41" y="29"/>
                  </a:lnTo>
                  <a:lnTo>
                    <a:pt x="46" y="27"/>
                  </a:lnTo>
                  <a:lnTo>
                    <a:pt x="46" y="36"/>
                  </a:lnTo>
                  <a:lnTo>
                    <a:pt x="46" y="46"/>
                  </a:lnTo>
                  <a:lnTo>
                    <a:pt x="56" y="45"/>
                  </a:lnTo>
                  <a:lnTo>
                    <a:pt x="67" y="43"/>
                  </a:lnTo>
                  <a:lnTo>
                    <a:pt x="77" y="40"/>
                  </a:lnTo>
                  <a:lnTo>
                    <a:pt x="86" y="40"/>
                  </a:lnTo>
                  <a:lnTo>
                    <a:pt x="83" y="32"/>
                  </a:lnTo>
                  <a:lnTo>
                    <a:pt x="80" y="25"/>
                  </a:lnTo>
                  <a:lnTo>
                    <a:pt x="74" y="19"/>
                  </a:lnTo>
                  <a:lnTo>
                    <a:pt x="70" y="14"/>
                  </a:lnTo>
                  <a:lnTo>
                    <a:pt x="64" y="9"/>
                  </a:lnTo>
                  <a:lnTo>
                    <a:pt x="58" y="6"/>
                  </a:lnTo>
                  <a:lnTo>
                    <a:pt x="51" y="3"/>
                  </a:lnTo>
                  <a:lnTo>
                    <a:pt x="46" y="1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26" y="1"/>
                  </a:lnTo>
                  <a:lnTo>
                    <a:pt x="19" y="3"/>
                  </a:lnTo>
                  <a:lnTo>
                    <a:pt x="14" y="6"/>
                  </a:lnTo>
                  <a:lnTo>
                    <a:pt x="8" y="10"/>
                  </a:lnTo>
                  <a:lnTo>
                    <a:pt x="4" y="15"/>
                  </a:lnTo>
                  <a:lnTo>
                    <a:pt x="0" y="21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0" name="Freeform 322"/>
            <p:cNvSpPr>
              <a:spLocks/>
            </p:cNvSpPr>
            <p:nvPr>
              <p:custDataLst>
                <p:tags r:id="rId226"/>
              </p:custDataLst>
            </p:nvPr>
          </p:nvSpPr>
          <p:spPr bwMode="auto">
            <a:xfrm>
              <a:off x="9165641" y="4591517"/>
              <a:ext cx="25535" cy="55664"/>
            </a:xfrm>
            <a:custGeom>
              <a:avLst/>
              <a:gdLst>
                <a:gd name="T0" fmla="*/ 0 w 59"/>
                <a:gd name="T1" fmla="*/ 0 h 18"/>
                <a:gd name="T2" fmla="*/ 0 w 59"/>
                <a:gd name="T3" fmla="*/ 18 h 18"/>
                <a:gd name="T4" fmla="*/ 39 w 59"/>
                <a:gd name="T5" fmla="*/ 18 h 18"/>
                <a:gd name="T6" fmla="*/ 59 w 59"/>
                <a:gd name="T7" fmla="*/ 6 h 18"/>
                <a:gd name="T8" fmla="*/ 51 w 59"/>
                <a:gd name="T9" fmla="*/ 5 h 18"/>
                <a:gd name="T10" fmla="*/ 45 w 59"/>
                <a:gd name="T11" fmla="*/ 4 h 18"/>
                <a:gd name="T12" fmla="*/ 37 w 59"/>
                <a:gd name="T13" fmla="*/ 5 h 18"/>
                <a:gd name="T14" fmla="*/ 29 w 59"/>
                <a:gd name="T15" fmla="*/ 6 h 18"/>
                <a:gd name="T16" fmla="*/ 22 w 59"/>
                <a:gd name="T17" fmla="*/ 6 h 18"/>
                <a:gd name="T18" fmla="*/ 14 w 59"/>
                <a:gd name="T19" fmla="*/ 5 h 18"/>
                <a:gd name="T20" fmla="*/ 7 w 59"/>
                <a:gd name="T21" fmla="*/ 4 h 18"/>
                <a:gd name="T22" fmla="*/ 0 w 59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9" h="18">
                  <a:moveTo>
                    <a:pt x="0" y="0"/>
                  </a:moveTo>
                  <a:lnTo>
                    <a:pt x="0" y="18"/>
                  </a:lnTo>
                  <a:lnTo>
                    <a:pt x="39" y="18"/>
                  </a:lnTo>
                  <a:lnTo>
                    <a:pt x="59" y="6"/>
                  </a:lnTo>
                  <a:lnTo>
                    <a:pt x="51" y="5"/>
                  </a:lnTo>
                  <a:lnTo>
                    <a:pt x="45" y="4"/>
                  </a:lnTo>
                  <a:lnTo>
                    <a:pt x="37" y="5"/>
                  </a:lnTo>
                  <a:lnTo>
                    <a:pt x="29" y="6"/>
                  </a:lnTo>
                  <a:lnTo>
                    <a:pt x="22" y="6"/>
                  </a:lnTo>
                  <a:lnTo>
                    <a:pt x="14" y="5"/>
                  </a:lnTo>
                  <a:lnTo>
                    <a:pt x="7" y="4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1" name="Freeform 323"/>
            <p:cNvSpPr>
              <a:spLocks/>
            </p:cNvSpPr>
            <p:nvPr>
              <p:custDataLst>
                <p:tags r:id="rId227"/>
              </p:custDataLst>
            </p:nvPr>
          </p:nvSpPr>
          <p:spPr bwMode="auto">
            <a:xfrm>
              <a:off x="9239054" y="4583083"/>
              <a:ext cx="1596" cy="55665"/>
            </a:xfrm>
            <a:custGeom>
              <a:avLst/>
              <a:gdLst>
                <a:gd name="T0" fmla="*/ 4 w 4"/>
                <a:gd name="T1" fmla="*/ 19 h 19"/>
                <a:gd name="T2" fmla="*/ 4 w 4"/>
                <a:gd name="T3" fmla="*/ 0 h 19"/>
                <a:gd name="T4" fmla="*/ 2 w 4"/>
                <a:gd name="T5" fmla="*/ 1 h 19"/>
                <a:gd name="T6" fmla="*/ 1 w 4"/>
                <a:gd name="T7" fmla="*/ 3 h 19"/>
                <a:gd name="T8" fmla="*/ 0 w 4"/>
                <a:gd name="T9" fmla="*/ 6 h 19"/>
                <a:gd name="T10" fmla="*/ 0 w 4"/>
                <a:gd name="T11" fmla="*/ 10 h 19"/>
                <a:gd name="T12" fmla="*/ 0 w 4"/>
                <a:gd name="T13" fmla="*/ 14 h 19"/>
                <a:gd name="T14" fmla="*/ 1 w 4"/>
                <a:gd name="T15" fmla="*/ 16 h 19"/>
                <a:gd name="T16" fmla="*/ 2 w 4"/>
                <a:gd name="T17" fmla="*/ 19 h 19"/>
                <a:gd name="T18" fmla="*/ 4 w 4"/>
                <a:gd name="T19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9">
                  <a:moveTo>
                    <a:pt x="4" y="19"/>
                  </a:moveTo>
                  <a:lnTo>
                    <a:pt x="4" y="0"/>
                  </a:lnTo>
                  <a:lnTo>
                    <a:pt x="2" y="1"/>
                  </a:lnTo>
                  <a:lnTo>
                    <a:pt x="1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4"/>
                  </a:lnTo>
                  <a:lnTo>
                    <a:pt x="1" y="16"/>
                  </a:lnTo>
                  <a:lnTo>
                    <a:pt x="2" y="19"/>
                  </a:lnTo>
                  <a:lnTo>
                    <a:pt x="4" y="19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2" name="Freeform 324"/>
            <p:cNvSpPr>
              <a:spLocks/>
            </p:cNvSpPr>
            <p:nvPr>
              <p:custDataLst>
                <p:tags r:id="rId228"/>
              </p:custDataLst>
            </p:nvPr>
          </p:nvSpPr>
          <p:spPr bwMode="auto">
            <a:xfrm>
              <a:off x="8812937" y="4397535"/>
              <a:ext cx="20747" cy="59038"/>
            </a:xfrm>
            <a:custGeom>
              <a:avLst/>
              <a:gdLst>
                <a:gd name="T0" fmla="*/ 0 w 46"/>
                <a:gd name="T1" fmla="*/ 50 h 50"/>
                <a:gd name="T2" fmla="*/ 7 w 46"/>
                <a:gd name="T3" fmla="*/ 0 h 50"/>
                <a:gd name="T4" fmla="*/ 23 w 46"/>
                <a:gd name="T5" fmla="*/ 8 h 50"/>
                <a:gd name="T6" fmla="*/ 34 w 46"/>
                <a:gd name="T7" fmla="*/ 14 h 50"/>
                <a:gd name="T8" fmla="*/ 37 w 46"/>
                <a:gd name="T9" fmla="*/ 18 h 50"/>
                <a:gd name="T10" fmla="*/ 41 w 46"/>
                <a:gd name="T11" fmla="*/ 22 h 50"/>
                <a:gd name="T12" fmla="*/ 44 w 46"/>
                <a:gd name="T13" fmla="*/ 30 h 50"/>
                <a:gd name="T14" fmla="*/ 46 w 46"/>
                <a:gd name="T15" fmla="*/ 38 h 50"/>
                <a:gd name="T16" fmla="*/ 34 w 46"/>
                <a:gd name="T17" fmla="*/ 42 h 50"/>
                <a:gd name="T18" fmla="*/ 21 w 46"/>
                <a:gd name="T19" fmla="*/ 46 h 50"/>
                <a:gd name="T20" fmla="*/ 8 w 46"/>
                <a:gd name="T21" fmla="*/ 49 h 50"/>
                <a:gd name="T22" fmla="*/ 0 w 46"/>
                <a:gd name="T23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50">
                  <a:moveTo>
                    <a:pt x="0" y="50"/>
                  </a:moveTo>
                  <a:lnTo>
                    <a:pt x="7" y="0"/>
                  </a:lnTo>
                  <a:lnTo>
                    <a:pt x="23" y="8"/>
                  </a:lnTo>
                  <a:lnTo>
                    <a:pt x="34" y="14"/>
                  </a:lnTo>
                  <a:lnTo>
                    <a:pt x="37" y="18"/>
                  </a:lnTo>
                  <a:lnTo>
                    <a:pt x="41" y="22"/>
                  </a:lnTo>
                  <a:lnTo>
                    <a:pt x="44" y="30"/>
                  </a:lnTo>
                  <a:lnTo>
                    <a:pt x="46" y="38"/>
                  </a:lnTo>
                  <a:lnTo>
                    <a:pt x="34" y="42"/>
                  </a:lnTo>
                  <a:lnTo>
                    <a:pt x="21" y="46"/>
                  </a:lnTo>
                  <a:lnTo>
                    <a:pt x="8" y="49"/>
                  </a:lnTo>
                  <a:lnTo>
                    <a:pt x="0" y="5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3" name="Freeform 325"/>
            <p:cNvSpPr>
              <a:spLocks/>
            </p:cNvSpPr>
            <p:nvPr>
              <p:custDataLst>
                <p:tags r:id="rId229"/>
              </p:custDataLst>
            </p:nvPr>
          </p:nvSpPr>
          <p:spPr bwMode="auto">
            <a:xfrm>
              <a:off x="8758675" y="4370546"/>
              <a:ext cx="30322" cy="59038"/>
            </a:xfrm>
            <a:custGeom>
              <a:avLst/>
              <a:gdLst>
                <a:gd name="T0" fmla="*/ 0 w 66"/>
                <a:gd name="T1" fmla="*/ 0 h 80"/>
                <a:gd name="T2" fmla="*/ 10 w 66"/>
                <a:gd name="T3" fmla="*/ 0 h 80"/>
                <a:gd name="T4" fmla="*/ 18 w 66"/>
                <a:gd name="T5" fmla="*/ 0 h 80"/>
                <a:gd name="T6" fmla="*/ 26 w 66"/>
                <a:gd name="T7" fmla="*/ 0 h 80"/>
                <a:gd name="T8" fmla="*/ 33 w 66"/>
                <a:gd name="T9" fmla="*/ 0 h 80"/>
                <a:gd name="T10" fmla="*/ 33 w 66"/>
                <a:gd name="T11" fmla="*/ 7 h 80"/>
                <a:gd name="T12" fmla="*/ 34 w 66"/>
                <a:gd name="T13" fmla="*/ 14 h 80"/>
                <a:gd name="T14" fmla="*/ 36 w 66"/>
                <a:gd name="T15" fmla="*/ 21 h 80"/>
                <a:gd name="T16" fmla="*/ 38 w 66"/>
                <a:gd name="T17" fmla="*/ 27 h 80"/>
                <a:gd name="T18" fmla="*/ 44 w 66"/>
                <a:gd name="T19" fmla="*/ 36 h 80"/>
                <a:gd name="T20" fmla="*/ 49 w 66"/>
                <a:gd name="T21" fmla="*/ 45 h 80"/>
                <a:gd name="T22" fmla="*/ 56 w 66"/>
                <a:gd name="T23" fmla="*/ 52 h 80"/>
                <a:gd name="T24" fmla="*/ 61 w 66"/>
                <a:gd name="T25" fmla="*/ 60 h 80"/>
                <a:gd name="T26" fmla="*/ 62 w 66"/>
                <a:gd name="T27" fmla="*/ 65 h 80"/>
                <a:gd name="T28" fmla="*/ 65 w 66"/>
                <a:gd name="T29" fmla="*/ 69 h 80"/>
                <a:gd name="T30" fmla="*/ 66 w 66"/>
                <a:gd name="T31" fmla="*/ 75 h 80"/>
                <a:gd name="T32" fmla="*/ 66 w 66"/>
                <a:gd name="T33" fmla="*/ 80 h 80"/>
                <a:gd name="T34" fmla="*/ 0 w 66"/>
                <a:gd name="T35" fmla="*/ 18 h 80"/>
                <a:gd name="T36" fmla="*/ 0 w 66"/>
                <a:gd name="T37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6" h="80">
                  <a:moveTo>
                    <a:pt x="0" y="0"/>
                  </a:moveTo>
                  <a:lnTo>
                    <a:pt x="10" y="0"/>
                  </a:lnTo>
                  <a:lnTo>
                    <a:pt x="18" y="0"/>
                  </a:lnTo>
                  <a:lnTo>
                    <a:pt x="26" y="0"/>
                  </a:lnTo>
                  <a:lnTo>
                    <a:pt x="33" y="0"/>
                  </a:lnTo>
                  <a:lnTo>
                    <a:pt x="33" y="7"/>
                  </a:lnTo>
                  <a:lnTo>
                    <a:pt x="34" y="14"/>
                  </a:lnTo>
                  <a:lnTo>
                    <a:pt x="36" y="21"/>
                  </a:lnTo>
                  <a:lnTo>
                    <a:pt x="38" y="27"/>
                  </a:lnTo>
                  <a:lnTo>
                    <a:pt x="44" y="36"/>
                  </a:lnTo>
                  <a:lnTo>
                    <a:pt x="49" y="45"/>
                  </a:lnTo>
                  <a:lnTo>
                    <a:pt x="56" y="52"/>
                  </a:lnTo>
                  <a:lnTo>
                    <a:pt x="61" y="60"/>
                  </a:lnTo>
                  <a:lnTo>
                    <a:pt x="62" y="65"/>
                  </a:lnTo>
                  <a:lnTo>
                    <a:pt x="65" y="69"/>
                  </a:lnTo>
                  <a:lnTo>
                    <a:pt x="66" y="75"/>
                  </a:lnTo>
                  <a:lnTo>
                    <a:pt x="66" y="80"/>
                  </a:lnTo>
                  <a:lnTo>
                    <a:pt x="0" y="18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4" name="Freeform 326"/>
            <p:cNvSpPr>
              <a:spLocks/>
            </p:cNvSpPr>
            <p:nvPr>
              <p:custDataLst>
                <p:tags r:id="rId230"/>
              </p:custDataLst>
            </p:nvPr>
          </p:nvSpPr>
          <p:spPr bwMode="auto">
            <a:xfrm>
              <a:off x="8594293" y="4355366"/>
              <a:ext cx="7980" cy="57351"/>
            </a:xfrm>
            <a:custGeom>
              <a:avLst/>
              <a:gdLst>
                <a:gd name="T0" fmla="*/ 20 w 20"/>
                <a:gd name="T1" fmla="*/ 48 h 48"/>
                <a:gd name="T2" fmla="*/ 20 w 20"/>
                <a:gd name="T3" fmla="*/ 39 h 48"/>
                <a:gd name="T4" fmla="*/ 19 w 20"/>
                <a:gd name="T5" fmla="*/ 32 h 48"/>
                <a:gd name="T6" fmla="*/ 16 w 20"/>
                <a:gd name="T7" fmla="*/ 25 h 48"/>
                <a:gd name="T8" fmla="*/ 14 w 20"/>
                <a:gd name="T9" fmla="*/ 19 h 48"/>
                <a:gd name="T10" fmla="*/ 12 w 20"/>
                <a:gd name="T11" fmla="*/ 14 h 48"/>
                <a:gd name="T12" fmla="*/ 9 w 20"/>
                <a:gd name="T13" fmla="*/ 9 h 48"/>
                <a:gd name="T14" fmla="*/ 4 w 20"/>
                <a:gd name="T15" fmla="*/ 4 h 48"/>
                <a:gd name="T16" fmla="*/ 0 w 20"/>
                <a:gd name="T17" fmla="*/ 0 h 48"/>
                <a:gd name="T18" fmla="*/ 0 w 20"/>
                <a:gd name="T19" fmla="*/ 8 h 48"/>
                <a:gd name="T20" fmla="*/ 2 w 20"/>
                <a:gd name="T21" fmla="*/ 17 h 48"/>
                <a:gd name="T22" fmla="*/ 4 w 20"/>
                <a:gd name="T23" fmla="*/ 24 h 48"/>
                <a:gd name="T24" fmla="*/ 8 w 20"/>
                <a:gd name="T25" fmla="*/ 31 h 48"/>
                <a:gd name="T26" fmla="*/ 14 w 20"/>
                <a:gd name="T27" fmla="*/ 41 h 48"/>
                <a:gd name="T28" fmla="*/ 20 w 20"/>
                <a:gd name="T2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" h="48">
                  <a:moveTo>
                    <a:pt x="20" y="48"/>
                  </a:moveTo>
                  <a:lnTo>
                    <a:pt x="20" y="39"/>
                  </a:lnTo>
                  <a:lnTo>
                    <a:pt x="19" y="32"/>
                  </a:lnTo>
                  <a:lnTo>
                    <a:pt x="16" y="25"/>
                  </a:lnTo>
                  <a:lnTo>
                    <a:pt x="14" y="19"/>
                  </a:lnTo>
                  <a:lnTo>
                    <a:pt x="12" y="14"/>
                  </a:lnTo>
                  <a:lnTo>
                    <a:pt x="9" y="9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8"/>
                  </a:lnTo>
                  <a:lnTo>
                    <a:pt x="2" y="17"/>
                  </a:lnTo>
                  <a:lnTo>
                    <a:pt x="4" y="24"/>
                  </a:lnTo>
                  <a:lnTo>
                    <a:pt x="8" y="31"/>
                  </a:lnTo>
                  <a:lnTo>
                    <a:pt x="14" y="41"/>
                  </a:lnTo>
                  <a:lnTo>
                    <a:pt x="20" y="4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5" name="Line 327" descr="Horizontal dunkel"/>
            <p:cNvSpPr>
              <a:spLocks noChangeShapeType="1"/>
            </p:cNvSpPr>
            <p:nvPr>
              <p:custDataLst>
                <p:tags r:id="rId231"/>
              </p:custDataLst>
            </p:nvPr>
          </p:nvSpPr>
          <p:spPr bwMode="auto">
            <a:xfrm>
              <a:off x="8619828" y="4390788"/>
              <a:ext cx="4788" cy="6747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6" name="Freeform 328"/>
            <p:cNvSpPr>
              <a:spLocks/>
            </p:cNvSpPr>
            <p:nvPr>
              <p:custDataLst>
                <p:tags r:id="rId232"/>
              </p:custDataLst>
            </p:nvPr>
          </p:nvSpPr>
          <p:spPr bwMode="auto">
            <a:xfrm>
              <a:off x="8616636" y="4390788"/>
              <a:ext cx="7980" cy="57351"/>
            </a:xfrm>
            <a:custGeom>
              <a:avLst/>
              <a:gdLst>
                <a:gd name="T0" fmla="*/ 20 w 20"/>
                <a:gd name="T1" fmla="*/ 12 h 12"/>
                <a:gd name="T2" fmla="*/ 20 w 20"/>
                <a:gd name="T3" fmla="*/ 8 h 12"/>
                <a:gd name="T4" fmla="*/ 18 w 20"/>
                <a:gd name="T5" fmla="*/ 5 h 12"/>
                <a:gd name="T6" fmla="*/ 15 w 20"/>
                <a:gd name="T7" fmla="*/ 3 h 12"/>
                <a:gd name="T8" fmla="*/ 13 w 20"/>
                <a:gd name="T9" fmla="*/ 2 h 12"/>
                <a:gd name="T10" fmla="*/ 7 w 20"/>
                <a:gd name="T11" fmla="*/ 0 h 12"/>
                <a:gd name="T12" fmla="*/ 0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20" y="8"/>
                  </a:lnTo>
                  <a:lnTo>
                    <a:pt x="18" y="5"/>
                  </a:lnTo>
                  <a:lnTo>
                    <a:pt x="15" y="3"/>
                  </a:lnTo>
                  <a:lnTo>
                    <a:pt x="13" y="2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7" name="Freeform 329"/>
            <p:cNvSpPr>
              <a:spLocks/>
            </p:cNvSpPr>
            <p:nvPr>
              <p:custDataLst>
                <p:tags r:id="rId233"/>
              </p:custDataLst>
            </p:nvPr>
          </p:nvSpPr>
          <p:spPr bwMode="auto">
            <a:xfrm>
              <a:off x="8517687" y="4235602"/>
              <a:ext cx="22343" cy="57351"/>
            </a:xfrm>
            <a:custGeom>
              <a:avLst/>
              <a:gdLst>
                <a:gd name="T0" fmla="*/ 7 w 53"/>
                <a:gd name="T1" fmla="*/ 0 h 30"/>
                <a:gd name="T2" fmla="*/ 11 w 53"/>
                <a:gd name="T3" fmla="*/ 4 h 30"/>
                <a:gd name="T4" fmla="*/ 23 w 53"/>
                <a:gd name="T5" fmla="*/ 13 h 30"/>
                <a:gd name="T6" fmla="*/ 37 w 53"/>
                <a:gd name="T7" fmla="*/ 23 h 30"/>
                <a:gd name="T8" fmla="*/ 46 w 53"/>
                <a:gd name="T9" fmla="*/ 30 h 30"/>
                <a:gd name="T10" fmla="*/ 49 w 53"/>
                <a:gd name="T11" fmla="*/ 18 h 30"/>
                <a:gd name="T12" fmla="*/ 53 w 53"/>
                <a:gd name="T13" fmla="*/ 6 h 30"/>
                <a:gd name="T14" fmla="*/ 37 w 53"/>
                <a:gd name="T15" fmla="*/ 5 h 30"/>
                <a:gd name="T16" fmla="*/ 26 w 53"/>
                <a:gd name="T17" fmla="*/ 3 h 30"/>
                <a:gd name="T18" fmla="*/ 21 w 53"/>
                <a:gd name="T19" fmla="*/ 3 h 30"/>
                <a:gd name="T20" fmla="*/ 15 w 53"/>
                <a:gd name="T21" fmla="*/ 3 h 30"/>
                <a:gd name="T22" fmla="*/ 9 w 53"/>
                <a:gd name="T23" fmla="*/ 4 h 30"/>
                <a:gd name="T24" fmla="*/ 0 w 53"/>
                <a:gd name="T25" fmla="*/ 6 h 30"/>
                <a:gd name="T26" fmla="*/ 7 w 53"/>
                <a:gd name="T27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3" h="30">
                  <a:moveTo>
                    <a:pt x="7" y="0"/>
                  </a:moveTo>
                  <a:lnTo>
                    <a:pt x="11" y="4"/>
                  </a:lnTo>
                  <a:lnTo>
                    <a:pt x="23" y="13"/>
                  </a:lnTo>
                  <a:lnTo>
                    <a:pt x="37" y="23"/>
                  </a:lnTo>
                  <a:lnTo>
                    <a:pt x="46" y="30"/>
                  </a:lnTo>
                  <a:lnTo>
                    <a:pt x="49" y="18"/>
                  </a:lnTo>
                  <a:lnTo>
                    <a:pt x="53" y="6"/>
                  </a:lnTo>
                  <a:lnTo>
                    <a:pt x="37" y="5"/>
                  </a:lnTo>
                  <a:lnTo>
                    <a:pt x="26" y="3"/>
                  </a:lnTo>
                  <a:lnTo>
                    <a:pt x="21" y="3"/>
                  </a:lnTo>
                  <a:lnTo>
                    <a:pt x="15" y="3"/>
                  </a:lnTo>
                  <a:lnTo>
                    <a:pt x="9" y="4"/>
                  </a:lnTo>
                  <a:lnTo>
                    <a:pt x="0" y="6"/>
                  </a:lnTo>
                  <a:lnTo>
                    <a:pt x="7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8" name="Freeform 330"/>
            <p:cNvSpPr>
              <a:spLocks/>
            </p:cNvSpPr>
            <p:nvPr>
              <p:custDataLst>
                <p:tags r:id="rId234"/>
              </p:custDataLst>
            </p:nvPr>
          </p:nvSpPr>
          <p:spPr bwMode="auto">
            <a:xfrm>
              <a:off x="9045945" y="4599951"/>
              <a:ext cx="11171" cy="57351"/>
            </a:xfrm>
            <a:custGeom>
              <a:avLst/>
              <a:gdLst>
                <a:gd name="T0" fmla="*/ 0 w 33"/>
                <a:gd name="T1" fmla="*/ 6 h 31"/>
                <a:gd name="T2" fmla="*/ 4 w 33"/>
                <a:gd name="T3" fmla="*/ 21 h 31"/>
                <a:gd name="T4" fmla="*/ 7 w 33"/>
                <a:gd name="T5" fmla="*/ 31 h 31"/>
                <a:gd name="T6" fmla="*/ 22 w 33"/>
                <a:gd name="T7" fmla="*/ 31 h 31"/>
                <a:gd name="T8" fmla="*/ 33 w 33"/>
                <a:gd name="T9" fmla="*/ 31 h 31"/>
                <a:gd name="T10" fmla="*/ 33 w 33"/>
                <a:gd name="T11" fmla="*/ 0 h 31"/>
                <a:gd name="T12" fmla="*/ 27 w 33"/>
                <a:gd name="T13" fmla="*/ 0 h 31"/>
                <a:gd name="T14" fmla="*/ 19 w 33"/>
                <a:gd name="T15" fmla="*/ 0 h 31"/>
                <a:gd name="T16" fmla="*/ 10 w 33"/>
                <a:gd name="T17" fmla="*/ 0 h 31"/>
                <a:gd name="T18" fmla="*/ 0 w 33"/>
                <a:gd name="T19" fmla="*/ 0 h 31"/>
                <a:gd name="T20" fmla="*/ 0 w 33"/>
                <a:gd name="T21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31">
                  <a:moveTo>
                    <a:pt x="0" y="6"/>
                  </a:moveTo>
                  <a:lnTo>
                    <a:pt x="4" y="21"/>
                  </a:lnTo>
                  <a:lnTo>
                    <a:pt x="7" y="31"/>
                  </a:lnTo>
                  <a:lnTo>
                    <a:pt x="22" y="31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0" y="6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09" name="Freeform 331"/>
            <p:cNvSpPr>
              <a:spLocks/>
            </p:cNvSpPr>
            <p:nvPr>
              <p:custDataLst>
                <p:tags r:id="rId235"/>
              </p:custDataLst>
            </p:nvPr>
          </p:nvSpPr>
          <p:spPr bwMode="auto">
            <a:xfrm>
              <a:off x="9561435" y="4556094"/>
              <a:ext cx="28727" cy="55665"/>
            </a:xfrm>
            <a:custGeom>
              <a:avLst/>
              <a:gdLst>
                <a:gd name="T0" fmla="*/ 19 w 65"/>
                <a:gd name="T1" fmla="*/ 68 h 68"/>
                <a:gd name="T2" fmla="*/ 16 w 65"/>
                <a:gd name="T3" fmla="*/ 68 h 68"/>
                <a:gd name="T4" fmla="*/ 14 w 65"/>
                <a:gd name="T5" fmla="*/ 66 h 68"/>
                <a:gd name="T6" fmla="*/ 11 w 65"/>
                <a:gd name="T7" fmla="*/ 64 h 68"/>
                <a:gd name="T8" fmla="*/ 7 w 65"/>
                <a:gd name="T9" fmla="*/ 61 h 68"/>
                <a:gd name="T10" fmla="*/ 4 w 65"/>
                <a:gd name="T11" fmla="*/ 59 h 68"/>
                <a:gd name="T12" fmla="*/ 2 w 65"/>
                <a:gd name="T13" fmla="*/ 55 h 68"/>
                <a:gd name="T14" fmla="*/ 0 w 65"/>
                <a:gd name="T15" fmla="*/ 52 h 68"/>
                <a:gd name="T16" fmla="*/ 0 w 65"/>
                <a:gd name="T17" fmla="*/ 49 h 68"/>
                <a:gd name="T18" fmla="*/ 0 w 65"/>
                <a:gd name="T19" fmla="*/ 38 h 68"/>
                <a:gd name="T20" fmla="*/ 2 w 65"/>
                <a:gd name="T21" fmla="*/ 29 h 68"/>
                <a:gd name="T22" fmla="*/ 5 w 65"/>
                <a:gd name="T23" fmla="*/ 21 h 68"/>
                <a:gd name="T24" fmla="*/ 9 w 65"/>
                <a:gd name="T25" fmla="*/ 14 h 68"/>
                <a:gd name="T26" fmla="*/ 15 w 65"/>
                <a:gd name="T27" fmla="*/ 8 h 68"/>
                <a:gd name="T28" fmla="*/ 22 w 65"/>
                <a:gd name="T29" fmla="*/ 4 h 68"/>
                <a:gd name="T30" fmla="*/ 30 w 65"/>
                <a:gd name="T31" fmla="*/ 2 h 68"/>
                <a:gd name="T32" fmla="*/ 39 w 65"/>
                <a:gd name="T33" fmla="*/ 0 h 68"/>
                <a:gd name="T34" fmla="*/ 52 w 65"/>
                <a:gd name="T35" fmla="*/ 0 h 68"/>
                <a:gd name="T36" fmla="*/ 65 w 65"/>
                <a:gd name="T37" fmla="*/ 0 h 68"/>
                <a:gd name="T38" fmla="*/ 65 w 65"/>
                <a:gd name="T39" fmla="*/ 43 h 68"/>
                <a:gd name="T40" fmla="*/ 56 w 65"/>
                <a:gd name="T41" fmla="*/ 52 h 68"/>
                <a:gd name="T42" fmla="*/ 45 w 65"/>
                <a:gd name="T43" fmla="*/ 61 h 68"/>
                <a:gd name="T44" fmla="*/ 39 w 65"/>
                <a:gd name="T45" fmla="*/ 64 h 68"/>
                <a:gd name="T46" fmla="*/ 34 w 65"/>
                <a:gd name="T47" fmla="*/ 66 h 68"/>
                <a:gd name="T48" fmla="*/ 27 w 65"/>
                <a:gd name="T49" fmla="*/ 68 h 68"/>
                <a:gd name="T50" fmla="*/ 19 w 65"/>
                <a:gd name="T51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68">
                  <a:moveTo>
                    <a:pt x="19" y="68"/>
                  </a:moveTo>
                  <a:lnTo>
                    <a:pt x="16" y="68"/>
                  </a:lnTo>
                  <a:lnTo>
                    <a:pt x="14" y="66"/>
                  </a:lnTo>
                  <a:lnTo>
                    <a:pt x="11" y="64"/>
                  </a:lnTo>
                  <a:lnTo>
                    <a:pt x="7" y="61"/>
                  </a:lnTo>
                  <a:lnTo>
                    <a:pt x="4" y="59"/>
                  </a:lnTo>
                  <a:lnTo>
                    <a:pt x="2" y="55"/>
                  </a:lnTo>
                  <a:lnTo>
                    <a:pt x="0" y="52"/>
                  </a:lnTo>
                  <a:lnTo>
                    <a:pt x="0" y="49"/>
                  </a:lnTo>
                  <a:lnTo>
                    <a:pt x="0" y="38"/>
                  </a:lnTo>
                  <a:lnTo>
                    <a:pt x="2" y="29"/>
                  </a:lnTo>
                  <a:lnTo>
                    <a:pt x="5" y="21"/>
                  </a:lnTo>
                  <a:lnTo>
                    <a:pt x="9" y="14"/>
                  </a:lnTo>
                  <a:lnTo>
                    <a:pt x="15" y="8"/>
                  </a:lnTo>
                  <a:lnTo>
                    <a:pt x="22" y="4"/>
                  </a:lnTo>
                  <a:lnTo>
                    <a:pt x="30" y="2"/>
                  </a:lnTo>
                  <a:lnTo>
                    <a:pt x="39" y="0"/>
                  </a:lnTo>
                  <a:lnTo>
                    <a:pt x="52" y="0"/>
                  </a:lnTo>
                  <a:lnTo>
                    <a:pt x="65" y="0"/>
                  </a:lnTo>
                  <a:lnTo>
                    <a:pt x="65" y="43"/>
                  </a:lnTo>
                  <a:lnTo>
                    <a:pt x="56" y="52"/>
                  </a:lnTo>
                  <a:lnTo>
                    <a:pt x="45" y="61"/>
                  </a:lnTo>
                  <a:lnTo>
                    <a:pt x="39" y="64"/>
                  </a:lnTo>
                  <a:lnTo>
                    <a:pt x="34" y="66"/>
                  </a:lnTo>
                  <a:lnTo>
                    <a:pt x="27" y="68"/>
                  </a:lnTo>
                  <a:lnTo>
                    <a:pt x="19" y="68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10" name="Freeform 332"/>
            <p:cNvSpPr>
              <a:spLocks/>
            </p:cNvSpPr>
            <p:nvPr>
              <p:custDataLst>
                <p:tags r:id="rId236"/>
              </p:custDataLst>
            </p:nvPr>
          </p:nvSpPr>
          <p:spPr bwMode="auto">
            <a:xfrm>
              <a:off x="8500132" y="4139456"/>
              <a:ext cx="274502" cy="367722"/>
            </a:xfrm>
            <a:custGeom>
              <a:avLst/>
              <a:gdLst>
                <a:gd name="T0" fmla="*/ 502 w 625"/>
                <a:gd name="T1" fmla="*/ 337 h 694"/>
                <a:gd name="T2" fmla="*/ 484 w 625"/>
                <a:gd name="T3" fmla="*/ 341 h 694"/>
                <a:gd name="T4" fmla="*/ 479 w 625"/>
                <a:gd name="T5" fmla="*/ 382 h 694"/>
                <a:gd name="T6" fmla="*/ 515 w 625"/>
                <a:gd name="T7" fmla="*/ 404 h 694"/>
                <a:gd name="T8" fmla="*/ 534 w 625"/>
                <a:gd name="T9" fmla="*/ 405 h 694"/>
                <a:gd name="T10" fmla="*/ 550 w 625"/>
                <a:gd name="T11" fmla="*/ 424 h 694"/>
                <a:gd name="T12" fmla="*/ 560 w 625"/>
                <a:gd name="T13" fmla="*/ 459 h 694"/>
                <a:gd name="T14" fmla="*/ 572 w 625"/>
                <a:gd name="T15" fmla="*/ 474 h 694"/>
                <a:gd name="T16" fmla="*/ 588 w 625"/>
                <a:gd name="T17" fmla="*/ 483 h 694"/>
                <a:gd name="T18" fmla="*/ 614 w 625"/>
                <a:gd name="T19" fmla="*/ 487 h 694"/>
                <a:gd name="T20" fmla="*/ 625 w 625"/>
                <a:gd name="T21" fmla="*/ 505 h 694"/>
                <a:gd name="T22" fmla="*/ 625 w 625"/>
                <a:gd name="T23" fmla="*/ 539 h 694"/>
                <a:gd name="T24" fmla="*/ 618 w 625"/>
                <a:gd name="T25" fmla="*/ 603 h 694"/>
                <a:gd name="T26" fmla="*/ 611 w 625"/>
                <a:gd name="T27" fmla="*/ 672 h 694"/>
                <a:gd name="T28" fmla="*/ 562 w 625"/>
                <a:gd name="T29" fmla="*/ 693 h 694"/>
                <a:gd name="T30" fmla="*/ 539 w 625"/>
                <a:gd name="T31" fmla="*/ 693 h 694"/>
                <a:gd name="T32" fmla="*/ 394 w 625"/>
                <a:gd name="T33" fmla="*/ 564 h 694"/>
                <a:gd name="T34" fmla="*/ 397 w 625"/>
                <a:gd name="T35" fmla="*/ 552 h 694"/>
                <a:gd name="T36" fmla="*/ 394 w 625"/>
                <a:gd name="T37" fmla="*/ 539 h 694"/>
                <a:gd name="T38" fmla="*/ 338 w 625"/>
                <a:gd name="T39" fmla="*/ 488 h 694"/>
                <a:gd name="T40" fmla="*/ 305 w 625"/>
                <a:gd name="T41" fmla="*/ 453 h 694"/>
                <a:gd name="T42" fmla="*/ 293 w 625"/>
                <a:gd name="T43" fmla="*/ 419 h 694"/>
                <a:gd name="T44" fmla="*/ 291 w 625"/>
                <a:gd name="T45" fmla="*/ 381 h 694"/>
                <a:gd name="T46" fmla="*/ 285 w 625"/>
                <a:gd name="T47" fmla="*/ 360 h 694"/>
                <a:gd name="T48" fmla="*/ 268 w 625"/>
                <a:gd name="T49" fmla="*/ 342 h 694"/>
                <a:gd name="T50" fmla="*/ 241 w 625"/>
                <a:gd name="T51" fmla="*/ 310 h 694"/>
                <a:gd name="T52" fmla="*/ 224 w 625"/>
                <a:gd name="T53" fmla="*/ 269 h 694"/>
                <a:gd name="T54" fmla="*/ 213 w 625"/>
                <a:gd name="T55" fmla="*/ 238 h 694"/>
                <a:gd name="T56" fmla="*/ 190 w 625"/>
                <a:gd name="T57" fmla="*/ 212 h 694"/>
                <a:gd name="T58" fmla="*/ 150 w 625"/>
                <a:gd name="T59" fmla="*/ 171 h 694"/>
                <a:gd name="T60" fmla="*/ 136 w 625"/>
                <a:gd name="T61" fmla="*/ 146 h 694"/>
                <a:gd name="T62" fmla="*/ 112 w 625"/>
                <a:gd name="T63" fmla="*/ 132 h 694"/>
                <a:gd name="T64" fmla="*/ 80 w 625"/>
                <a:gd name="T65" fmla="*/ 113 h 694"/>
                <a:gd name="T66" fmla="*/ 49 w 625"/>
                <a:gd name="T67" fmla="*/ 85 h 694"/>
                <a:gd name="T68" fmla="*/ 23 w 625"/>
                <a:gd name="T69" fmla="*/ 51 h 694"/>
                <a:gd name="T70" fmla="*/ 5 w 625"/>
                <a:gd name="T71" fmla="*/ 19 h 694"/>
                <a:gd name="T72" fmla="*/ 10 w 625"/>
                <a:gd name="T73" fmla="*/ 4 h 694"/>
                <a:gd name="T74" fmla="*/ 37 w 625"/>
                <a:gd name="T75" fmla="*/ 13 h 694"/>
                <a:gd name="T76" fmla="*/ 84 w 625"/>
                <a:gd name="T77" fmla="*/ 16 h 694"/>
                <a:gd name="T78" fmla="*/ 116 w 625"/>
                <a:gd name="T79" fmla="*/ 20 h 694"/>
                <a:gd name="T80" fmla="*/ 138 w 625"/>
                <a:gd name="T81" fmla="*/ 27 h 694"/>
                <a:gd name="T82" fmla="*/ 156 w 625"/>
                <a:gd name="T83" fmla="*/ 42 h 694"/>
                <a:gd name="T84" fmla="*/ 204 w 625"/>
                <a:gd name="T85" fmla="*/ 109 h 694"/>
                <a:gd name="T86" fmla="*/ 254 w 625"/>
                <a:gd name="T87" fmla="*/ 163 h 694"/>
                <a:gd name="T88" fmla="*/ 299 w 625"/>
                <a:gd name="T89" fmla="*/ 202 h 694"/>
                <a:gd name="T90" fmla="*/ 329 w 625"/>
                <a:gd name="T91" fmla="*/ 219 h 694"/>
                <a:gd name="T92" fmla="*/ 366 w 625"/>
                <a:gd name="T93" fmla="*/ 227 h 694"/>
                <a:gd name="T94" fmla="*/ 388 w 625"/>
                <a:gd name="T95" fmla="*/ 230 h 694"/>
                <a:gd name="T96" fmla="*/ 401 w 625"/>
                <a:gd name="T97" fmla="*/ 241 h 694"/>
                <a:gd name="T98" fmla="*/ 416 w 625"/>
                <a:gd name="T99" fmla="*/ 260 h 694"/>
                <a:gd name="T100" fmla="*/ 427 w 625"/>
                <a:gd name="T101" fmla="*/ 2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5" h="694">
                  <a:moveTo>
                    <a:pt x="433" y="265"/>
                  </a:moveTo>
                  <a:lnTo>
                    <a:pt x="512" y="333"/>
                  </a:lnTo>
                  <a:lnTo>
                    <a:pt x="502" y="337"/>
                  </a:lnTo>
                  <a:lnTo>
                    <a:pt x="493" y="341"/>
                  </a:lnTo>
                  <a:lnTo>
                    <a:pt x="489" y="341"/>
                  </a:lnTo>
                  <a:lnTo>
                    <a:pt x="484" y="341"/>
                  </a:lnTo>
                  <a:lnTo>
                    <a:pt x="481" y="341"/>
                  </a:lnTo>
                  <a:lnTo>
                    <a:pt x="479" y="339"/>
                  </a:lnTo>
                  <a:lnTo>
                    <a:pt x="479" y="382"/>
                  </a:lnTo>
                  <a:lnTo>
                    <a:pt x="493" y="392"/>
                  </a:lnTo>
                  <a:lnTo>
                    <a:pt x="507" y="402"/>
                  </a:lnTo>
                  <a:lnTo>
                    <a:pt x="515" y="404"/>
                  </a:lnTo>
                  <a:lnTo>
                    <a:pt x="524" y="406"/>
                  </a:lnTo>
                  <a:lnTo>
                    <a:pt x="528" y="405"/>
                  </a:lnTo>
                  <a:lnTo>
                    <a:pt x="534" y="405"/>
                  </a:lnTo>
                  <a:lnTo>
                    <a:pt x="539" y="403"/>
                  </a:lnTo>
                  <a:lnTo>
                    <a:pt x="545" y="402"/>
                  </a:lnTo>
                  <a:lnTo>
                    <a:pt x="550" y="424"/>
                  </a:lnTo>
                  <a:lnTo>
                    <a:pt x="554" y="443"/>
                  </a:lnTo>
                  <a:lnTo>
                    <a:pt x="558" y="451"/>
                  </a:lnTo>
                  <a:lnTo>
                    <a:pt x="560" y="459"/>
                  </a:lnTo>
                  <a:lnTo>
                    <a:pt x="563" y="465"/>
                  </a:lnTo>
                  <a:lnTo>
                    <a:pt x="568" y="470"/>
                  </a:lnTo>
                  <a:lnTo>
                    <a:pt x="572" y="474"/>
                  </a:lnTo>
                  <a:lnTo>
                    <a:pt x="576" y="478"/>
                  </a:lnTo>
                  <a:lnTo>
                    <a:pt x="582" y="481"/>
                  </a:lnTo>
                  <a:lnTo>
                    <a:pt x="588" y="483"/>
                  </a:lnTo>
                  <a:lnTo>
                    <a:pt x="596" y="485"/>
                  </a:lnTo>
                  <a:lnTo>
                    <a:pt x="605" y="486"/>
                  </a:lnTo>
                  <a:lnTo>
                    <a:pt x="614" y="487"/>
                  </a:lnTo>
                  <a:lnTo>
                    <a:pt x="625" y="487"/>
                  </a:lnTo>
                  <a:lnTo>
                    <a:pt x="625" y="496"/>
                  </a:lnTo>
                  <a:lnTo>
                    <a:pt x="625" y="505"/>
                  </a:lnTo>
                  <a:lnTo>
                    <a:pt x="625" y="515"/>
                  </a:lnTo>
                  <a:lnTo>
                    <a:pt x="625" y="525"/>
                  </a:lnTo>
                  <a:lnTo>
                    <a:pt x="625" y="539"/>
                  </a:lnTo>
                  <a:lnTo>
                    <a:pt x="622" y="557"/>
                  </a:lnTo>
                  <a:lnTo>
                    <a:pt x="620" y="579"/>
                  </a:lnTo>
                  <a:lnTo>
                    <a:pt x="618" y="603"/>
                  </a:lnTo>
                  <a:lnTo>
                    <a:pt x="616" y="628"/>
                  </a:lnTo>
                  <a:lnTo>
                    <a:pt x="614" y="651"/>
                  </a:lnTo>
                  <a:lnTo>
                    <a:pt x="611" y="672"/>
                  </a:lnTo>
                  <a:lnTo>
                    <a:pt x="611" y="691"/>
                  </a:lnTo>
                  <a:lnTo>
                    <a:pt x="582" y="692"/>
                  </a:lnTo>
                  <a:lnTo>
                    <a:pt x="562" y="693"/>
                  </a:lnTo>
                  <a:lnTo>
                    <a:pt x="553" y="694"/>
                  </a:lnTo>
                  <a:lnTo>
                    <a:pt x="546" y="693"/>
                  </a:lnTo>
                  <a:lnTo>
                    <a:pt x="539" y="693"/>
                  </a:lnTo>
                  <a:lnTo>
                    <a:pt x="531" y="691"/>
                  </a:lnTo>
                  <a:lnTo>
                    <a:pt x="392" y="567"/>
                  </a:lnTo>
                  <a:lnTo>
                    <a:pt x="394" y="564"/>
                  </a:lnTo>
                  <a:lnTo>
                    <a:pt x="396" y="560"/>
                  </a:lnTo>
                  <a:lnTo>
                    <a:pt x="397" y="556"/>
                  </a:lnTo>
                  <a:lnTo>
                    <a:pt x="397" y="552"/>
                  </a:lnTo>
                  <a:lnTo>
                    <a:pt x="397" y="547"/>
                  </a:lnTo>
                  <a:lnTo>
                    <a:pt x="396" y="543"/>
                  </a:lnTo>
                  <a:lnTo>
                    <a:pt x="394" y="539"/>
                  </a:lnTo>
                  <a:lnTo>
                    <a:pt x="392" y="537"/>
                  </a:lnTo>
                  <a:lnTo>
                    <a:pt x="366" y="513"/>
                  </a:lnTo>
                  <a:lnTo>
                    <a:pt x="338" y="488"/>
                  </a:lnTo>
                  <a:lnTo>
                    <a:pt x="326" y="476"/>
                  </a:lnTo>
                  <a:lnTo>
                    <a:pt x="315" y="465"/>
                  </a:lnTo>
                  <a:lnTo>
                    <a:pt x="305" y="453"/>
                  </a:lnTo>
                  <a:lnTo>
                    <a:pt x="300" y="444"/>
                  </a:lnTo>
                  <a:lnTo>
                    <a:pt x="295" y="432"/>
                  </a:lnTo>
                  <a:lnTo>
                    <a:pt x="293" y="419"/>
                  </a:lnTo>
                  <a:lnTo>
                    <a:pt x="292" y="407"/>
                  </a:lnTo>
                  <a:lnTo>
                    <a:pt x="292" y="393"/>
                  </a:lnTo>
                  <a:lnTo>
                    <a:pt x="291" y="381"/>
                  </a:lnTo>
                  <a:lnTo>
                    <a:pt x="289" y="370"/>
                  </a:lnTo>
                  <a:lnTo>
                    <a:pt x="288" y="365"/>
                  </a:lnTo>
                  <a:lnTo>
                    <a:pt x="285" y="360"/>
                  </a:lnTo>
                  <a:lnTo>
                    <a:pt x="282" y="356"/>
                  </a:lnTo>
                  <a:lnTo>
                    <a:pt x="279" y="352"/>
                  </a:lnTo>
                  <a:lnTo>
                    <a:pt x="268" y="342"/>
                  </a:lnTo>
                  <a:lnTo>
                    <a:pt x="258" y="332"/>
                  </a:lnTo>
                  <a:lnTo>
                    <a:pt x="249" y="321"/>
                  </a:lnTo>
                  <a:lnTo>
                    <a:pt x="241" y="310"/>
                  </a:lnTo>
                  <a:lnTo>
                    <a:pt x="235" y="297"/>
                  </a:lnTo>
                  <a:lnTo>
                    <a:pt x="229" y="283"/>
                  </a:lnTo>
                  <a:lnTo>
                    <a:pt x="224" y="269"/>
                  </a:lnTo>
                  <a:lnTo>
                    <a:pt x="220" y="253"/>
                  </a:lnTo>
                  <a:lnTo>
                    <a:pt x="216" y="246"/>
                  </a:lnTo>
                  <a:lnTo>
                    <a:pt x="213" y="238"/>
                  </a:lnTo>
                  <a:lnTo>
                    <a:pt x="207" y="231"/>
                  </a:lnTo>
                  <a:lnTo>
                    <a:pt x="202" y="224"/>
                  </a:lnTo>
                  <a:lnTo>
                    <a:pt x="190" y="212"/>
                  </a:lnTo>
                  <a:lnTo>
                    <a:pt x="177" y="199"/>
                  </a:lnTo>
                  <a:lnTo>
                    <a:pt x="162" y="187"/>
                  </a:lnTo>
                  <a:lnTo>
                    <a:pt x="150" y="171"/>
                  </a:lnTo>
                  <a:lnTo>
                    <a:pt x="145" y="164"/>
                  </a:lnTo>
                  <a:lnTo>
                    <a:pt x="140" y="155"/>
                  </a:lnTo>
                  <a:lnTo>
                    <a:pt x="136" y="146"/>
                  </a:lnTo>
                  <a:lnTo>
                    <a:pt x="133" y="136"/>
                  </a:lnTo>
                  <a:lnTo>
                    <a:pt x="123" y="135"/>
                  </a:lnTo>
                  <a:lnTo>
                    <a:pt x="112" y="132"/>
                  </a:lnTo>
                  <a:lnTo>
                    <a:pt x="102" y="128"/>
                  </a:lnTo>
                  <a:lnTo>
                    <a:pt x="91" y="121"/>
                  </a:lnTo>
                  <a:lnTo>
                    <a:pt x="80" y="113"/>
                  </a:lnTo>
                  <a:lnTo>
                    <a:pt x="69" y="104"/>
                  </a:lnTo>
                  <a:lnTo>
                    <a:pt x="59" y="95"/>
                  </a:lnTo>
                  <a:lnTo>
                    <a:pt x="49" y="85"/>
                  </a:lnTo>
                  <a:lnTo>
                    <a:pt x="39" y="74"/>
                  </a:lnTo>
                  <a:lnTo>
                    <a:pt x="31" y="62"/>
                  </a:lnTo>
                  <a:lnTo>
                    <a:pt x="23" y="51"/>
                  </a:lnTo>
                  <a:lnTo>
                    <a:pt x="16" y="40"/>
                  </a:lnTo>
                  <a:lnTo>
                    <a:pt x="10" y="29"/>
                  </a:lnTo>
                  <a:lnTo>
                    <a:pt x="5" y="19"/>
                  </a:lnTo>
                  <a:lnTo>
                    <a:pt x="2" y="9"/>
                  </a:lnTo>
                  <a:lnTo>
                    <a:pt x="0" y="0"/>
                  </a:lnTo>
                  <a:lnTo>
                    <a:pt x="10" y="4"/>
                  </a:lnTo>
                  <a:lnTo>
                    <a:pt x="20" y="7"/>
                  </a:lnTo>
                  <a:lnTo>
                    <a:pt x="28" y="10"/>
                  </a:lnTo>
                  <a:lnTo>
                    <a:pt x="37" y="13"/>
                  </a:lnTo>
                  <a:lnTo>
                    <a:pt x="54" y="15"/>
                  </a:lnTo>
                  <a:lnTo>
                    <a:pt x="69" y="16"/>
                  </a:lnTo>
                  <a:lnTo>
                    <a:pt x="84" y="16"/>
                  </a:lnTo>
                  <a:lnTo>
                    <a:pt x="100" y="17"/>
                  </a:lnTo>
                  <a:lnTo>
                    <a:pt x="108" y="19"/>
                  </a:lnTo>
                  <a:lnTo>
                    <a:pt x="116" y="20"/>
                  </a:lnTo>
                  <a:lnTo>
                    <a:pt x="124" y="22"/>
                  </a:lnTo>
                  <a:lnTo>
                    <a:pt x="133" y="25"/>
                  </a:lnTo>
                  <a:lnTo>
                    <a:pt x="138" y="27"/>
                  </a:lnTo>
                  <a:lnTo>
                    <a:pt x="144" y="31"/>
                  </a:lnTo>
                  <a:lnTo>
                    <a:pt x="149" y="36"/>
                  </a:lnTo>
                  <a:lnTo>
                    <a:pt x="156" y="42"/>
                  </a:lnTo>
                  <a:lnTo>
                    <a:pt x="169" y="57"/>
                  </a:lnTo>
                  <a:lnTo>
                    <a:pt x="181" y="76"/>
                  </a:lnTo>
                  <a:lnTo>
                    <a:pt x="204" y="109"/>
                  </a:lnTo>
                  <a:lnTo>
                    <a:pt x="220" y="130"/>
                  </a:lnTo>
                  <a:lnTo>
                    <a:pt x="237" y="147"/>
                  </a:lnTo>
                  <a:lnTo>
                    <a:pt x="254" y="163"/>
                  </a:lnTo>
                  <a:lnTo>
                    <a:pt x="271" y="181"/>
                  </a:lnTo>
                  <a:lnTo>
                    <a:pt x="289" y="196"/>
                  </a:lnTo>
                  <a:lnTo>
                    <a:pt x="299" y="202"/>
                  </a:lnTo>
                  <a:lnTo>
                    <a:pt x="308" y="209"/>
                  </a:lnTo>
                  <a:lnTo>
                    <a:pt x="318" y="214"/>
                  </a:lnTo>
                  <a:lnTo>
                    <a:pt x="329" y="219"/>
                  </a:lnTo>
                  <a:lnTo>
                    <a:pt x="341" y="223"/>
                  </a:lnTo>
                  <a:lnTo>
                    <a:pt x="353" y="226"/>
                  </a:lnTo>
                  <a:lnTo>
                    <a:pt x="366" y="227"/>
                  </a:lnTo>
                  <a:lnTo>
                    <a:pt x="379" y="228"/>
                  </a:lnTo>
                  <a:lnTo>
                    <a:pt x="383" y="229"/>
                  </a:lnTo>
                  <a:lnTo>
                    <a:pt x="388" y="230"/>
                  </a:lnTo>
                  <a:lnTo>
                    <a:pt x="392" y="231"/>
                  </a:lnTo>
                  <a:lnTo>
                    <a:pt x="395" y="235"/>
                  </a:lnTo>
                  <a:lnTo>
                    <a:pt x="401" y="241"/>
                  </a:lnTo>
                  <a:lnTo>
                    <a:pt x="405" y="247"/>
                  </a:lnTo>
                  <a:lnTo>
                    <a:pt x="411" y="254"/>
                  </a:lnTo>
                  <a:lnTo>
                    <a:pt x="416" y="260"/>
                  </a:lnTo>
                  <a:lnTo>
                    <a:pt x="419" y="262"/>
                  </a:lnTo>
                  <a:lnTo>
                    <a:pt x="423" y="264"/>
                  </a:lnTo>
                  <a:lnTo>
                    <a:pt x="427" y="265"/>
                  </a:lnTo>
                  <a:lnTo>
                    <a:pt x="433" y="265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11" name="Freeform 333"/>
            <p:cNvSpPr>
              <a:spLocks/>
            </p:cNvSpPr>
            <p:nvPr>
              <p:custDataLst>
                <p:tags r:id="rId237"/>
              </p:custDataLst>
            </p:nvPr>
          </p:nvSpPr>
          <p:spPr bwMode="auto">
            <a:xfrm>
              <a:off x="8841664" y="4188372"/>
              <a:ext cx="253755" cy="256393"/>
            </a:xfrm>
            <a:custGeom>
              <a:avLst/>
              <a:gdLst>
                <a:gd name="T0" fmla="*/ 516 w 585"/>
                <a:gd name="T1" fmla="*/ 28 h 493"/>
                <a:gd name="T2" fmla="*/ 495 w 585"/>
                <a:gd name="T3" fmla="*/ 55 h 493"/>
                <a:gd name="T4" fmla="*/ 512 w 585"/>
                <a:gd name="T5" fmla="*/ 93 h 493"/>
                <a:gd name="T6" fmla="*/ 534 w 585"/>
                <a:gd name="T7" fmla="*/ 130 h 493"/>
                <a:gd name="T8" fmla="*/ 573 w 585"/>
                <a:gd name="T9" fmla="*/ 177 h 493"/>
                <a:gd name="T10" fmla="*/ 580 w 585"/>
                <a:gd name="T11" fmla="*/ 205 h 493"/>
                <a:gd name="T12" fmla="*/ 547 w 585"/>
                <a:gd name="T13" fmla="*/ 204 h 493"/>
                <a:gd name="T14" fmla="*/ 516 w 585"/>
                <a:gd name="T15" fmla="*/ 233 h 493"/>
                <a:gd name="T16" fmla="*/ 506 w 585"/>
                <a:gd name="T17" fmla="*/ 246 h 493"/>
                <a:gd name="T18" fmla="*/ 518 w 585"/>
                <a:gd name="T19" fmla="*/ 271 h 493"/>
                <a:gd name="T20" fmla="*/ 525 w 585"/>
                <a:gd name="T21" fmla="*/ 294 h 493"/>
                <a:gd name="T22" fmla="*/ 505 w 585"/>
                <a:gd name="T23" fmla="*/ 308 h 493"/>
                <a:gd name="T24" fmla="*/ 459 w 585"/>
                <a:gd name="T25" fmla="*/ 323 h 493"/>
                <a:gd name="T26" fmla="*/ 443 w 585"/>
                <a:gd name="T27" fmla="*/ 354 h 493"/>
                <a:gd name="T28" fmla="*/ 445 w 585"/>
                <a:gd name="T29" fmla="*/ 415 h 493"/>
                <a:gd name="T30" fmla="*/ 430 w 585"/>
                <a:gd name="T31" fmla="*/ 454 h 493"/>
                <a:gd name="T32" fmla="*/ 400 w 585"/>
                <a:gd name="T33" fmla="*/ 472 h 493"/>
                <a:gd name="T34" fmla="*/ 370 w 585"/>
                <a:gd name="T35" fmla="*/ 488 h 493"/>
                <a:gd name="T36" fmla="*/ 341 w 585"/>
                <a:gd name="T37" fmla="*/ 493 h 493"/>
                <a:gd name="T38" fmla="*/ 329 w 585"/>
                <a:gd name="T39" fmla="*/ 487 h 493"/>
                <a:gd name="T40" fmla="*/ 327 w 585"/>
                <a:gd name="T41" fmla="*/ 471 h 493"/>
                <a:gd name="T42" fmla="*/ 304 w 585"/>
                <a:gd name="T43" fmla="*/ 451 h 493"/>
                <a:gd name="T44" fmla="*/ 251 w 585"/>
                <a:gd name="T45" fmla="*/ 454 h 493"/>
                <a:gd name="T46" fmla="*/ 219 w 585"/>
                <a:gd name="T47" fmla="*/ 462 h 493"/>
                <a:gd name="T48" fmla="*/ 176 w 585"/>
                <a:gd name="T49" fmla="*/ 440 h 493"/>
                <a:gd name="T50" fmla="*/ 122 w 585"/>
                <a:gd name="T51" fmla="*/ 436 h 493"/>
                <a:gd name="T52" fmla="*/ 95 w 585"/>
                <a:gd name="T53" fmla="*/ 429 h 493"/>
                <a:gd name="T54" fmla="*/ 81 w 585"/>
                <a:gd name="T55" fmla="*/ 366 h 493"/>
                <a:gd name="T56" fmla="*/ 58 w 585"/>
                <a:gd name="T57" fmla="*/ 310 h 493"/>
                <a:gd name="T58" fmla="*/ 35 w 585"/>
                <a:gd name="T59" fmla="*/ 292 h 493"/>
                <a:gd name="T60" fmla="*/ 12 w 585"/>
                <a:gd name="T61" fmla="*/ 260 h 493"/>
                <a:gd name="T62" fmla="*/ 5 w 585"/>
                <a:gd name="T63" fmla="*/ 204 h 493"/>
                <a:gd name="T64" fmla="*/ 31 w 585"/>
                <a:gd name="T65" fmla="*/ 153 h 493"/>
                <a:gd name="T66" fmla="*/ 54 w 585"/>
                <a:gd name="T67" fmla="*/ 141 h 493"/>
                <a:gd name="T68" fmla="*/ 75 w 585"/>
                <a:gd name="T69" fmla="*/ 152 h 493"/>
                <a:gd name="T70" fmla="*/ 97 w 585"/>
                <a:gd name="T71" fmla="*/ 187 h 493"/>
                <a:gd name="T72" fmla="*/ 129 w 585"/>
                <a:gd name="T73" fmla="*/ 214 h 493"/>
                <a:gd name="T74" fmla="*/ 170 w 585"/>
                <a:gd name="T75" fmla="*/ 213 h 493"/>
                <a:gd name="T76" fmla="*/ 221 w 585"/>
                <a:gd name="T77" fmla="*/ 189 h 493"/>
                <a:gd name="T78" fmla="*/ 233 w 585"/>
                <a:gd name="T79" fmla="*/ 172 h 493"/>
                <a:gd name="T80" fmla="*/ 288 w 585"/>
                <a:gd name="T81" fmla="*/ 178 h 493"/>
                <a:gd name="T82" fmla="*/ 326 w 585"/>
                <a:gd name="T83" fmla="*/ 181 h 493"/>
                <a:gd name="T84" fmla="*/ 337 w 585"/>
                <a:gd name="T85" fmla="*/ 170 h 493"/>
                <a:gd name="T86" fmla="*/ 362 w 585"/>
                <a:gd name="T87" fmla="*/ 158 h 493"/>
                <a:gd name="T88" fmla="*/ 383 w 585"/>
                <a:gd name="T89" fmla="*/ 136 h 493"/>
                <a:gd name="T90" fmla="*/ 415 w 585"/>
                <a:gd name="T91" fmla="*/ 79 h 493"/>
                <a:gd name="T92" fmla="*/ 427 w 585"/>
                <a:gd name="T93" fmla="*/ 25 h 493"/>
                <a:gd name="T94" fmla="*/ 447 w 585"/>
                <a:gd name="T95" fmla="*/ 6 h 493"/>
                <a:gd name="T96" fmla="*/ 479 w 585"/>
                <a:gd name="T97" fmla="*/ 2 h 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85" h="493">
                  <a:moveTo>
                    <a:pt x="525" y="12"/>
                  </a:moveTo>
                  <a:lnTo>
                    <a:pt x="524" y="17"/>
                  </a:lnTo>
                  <a:lnTo>
                    <a:pt x="520" y="22"/>
                  </a:lnTo>
                  <a:lnTo>
                    <a:pt x="516" y="28"/>
                  </a:lnTo>
                  <a:lnTo>
                    <a:pt x="510" y="33"/>
                  </a:lnTo>
                  <a:lnTo>
                    <a:pt x="497" y="45"/>
                  </a:lnTo>
                  <a:lnTo>
                    <a:pt x="485" y="55"/>
                  </a:lnTo>
                  <a:lnTo>
                    <a:pt x="495" y="55"/>
                  </a:lnTo>
                  <a:lnTo>
                    <a:pt x="505" y="55"/>
                  </a:lnTo>
                  <a:lnTo>
                    <a:pt x="506" y="68"/>
                  </a:lnTo>
                  <a:lnTo>
                    <a:pt x="508" y="81"/>
                  </a:lnTo>
                  <a:lnTo>
                    <a:pt x="512" y="93"/>
                  </a:lnTo>
                  <a:lnTo>
                    <a:pt x="516" y="103"/>
                  </a:lnTo>
                  <a:lnTo>
                    <a:pt x="520" y="112"/>
                  </a:lnTo>
                  <a:lnTo>
                    <a:pt x="527" y="121"/>
                  </a:lnTo>
                  <a:lnTo>
                    <a:pt x="534" y="130"/>
                  </a:lnTo>
                  <a:lnTo>
                    <a:pt x="540" y="138"/>
                  </a:lnTo>
                  <a:lnTo>
                    <a:pt x="553" y="155"/>
                  </a:lnTo>
                  <a:lnTo>
                    <a:pt x="566" y="170"/>
                  </a:lnTo>
                  <a:lnTo>
                    <a:pt x="573" y="177"/>
                  </a:lnTo>
                  <a:lnTo>
                    <a:pt x="577" y="185"/>
                  </a:lnTo>
                  <a:lnTo>
                    <a:pt x="582" y="194"/>
                  </a:lnTo>
                  <a:lnTo>
                    <a:pt x="585" y="204"/>
                  </a:lnTo>
                  <a:lnTo>
                    <a:pt x="580" y="205"/>
                  </a:lnTo>
                  <a:lnTo>
                    <a:pt x="574" y="206"/>
                  </a:lnTo>
                  <a:lnTo>
                    <a:pt x="568" y="206"/>
                  </a:lnTo>
                  <a:lnTo>
                    <a:pt x="561" y="206"/>
                  </a:lnTo>
                  <a:lnTo>
                    <a:pt x="547" y="204"/>
                  </a:lnTo>
                  <a:lnTo>
                    <a:pt x="531" y="204"/>
                  </a:lnTo>
                  <a:lnTo>
                    <a:pt x="524" y="217"/>
                  </a:lnTo>
                  <a:lnTo>
                    <a:pt x="518" y="229"/>
                  </a:lnTo>
                  <a:lnTo>
                    <a:pt x="516" y="233"/>
                  </a:lnTo>
                  <a:lnTo>
                    <a:pt x="513" y="237"/>
                  </a:lnTo>
                  <a:lnTo>
                    <a:pt x="509" y="239"/>
                  </a:lnTo>
                  <a:lnTo>
                    <a:pt x="505" y="240"/>
                  </a:lnTo>
                  <a:lnTo>
                    <a:pt x="506" y="246"/>
                  </a:lnTo>
                  <a:lnTo>
                    <a:pt x="508" y="253"/>
                  </a:lnTo>
                  <a:lnTo>
                    <a:pt x="512" y="259"/>
                  </a:lnTo>
                  <a:lnTo>
                    <a:pt x="515" y="265"/>
                  </a:lnTo>
                  <a:lnTo>
                    <a:pt x="518" y="271"/>
                  </a:lnTo>
                  <a:lnTo>
                    <a:pt x="521" y="277"/>
                  </a:lnTo>
                  <a:lnTo>
                    <a:pt x="524" y="283"/>
                  </a:lnTo>
                  <a:lnTo>
                    <a:pt x="525" y="289"/>
                  </a:lnTo>
                  <a:lnTo>
                    <a:pt x="525" y="294"/>
                  </a:lnTo>
                  <a:lnTo>
                    <a:pt x="523" y="297"/>
                  </a:lnTo>
                  <a:lnTo>
                    <a:pt x="519" y="301"/>
                  </a:lnTo>
                  <a:lnTo>
                    <a:pt x="516" y="304"/>
                  </a:lnTo>
                  <a:lnTo>
                    <a:pt x="505" y="308"/>
                  </a:lnTo>
                  <a:lnTo>
                    <a:pt x="494" y="312"/>
                  </a:lnTo>
                  <a:lnTo>
                    <a:pt x="481" y="316"/>
                  </a:lnTo>
                  <a:lnTo>
                    <a:pt x="469" y="319"/>
                  </a:lnTo>
                  <a:lnTo>
                    <a:pt x="459" y="323"/>
                  </a:lnTo>
                  <a:lnTo>
                    <a:pt x="452" y="327"/>
                  </a:lnTo>
                  <a:lnTo>
                    <a:pt x="448" y="334"/>
                  </a:lnTo>
                  <a:lnTo>
                    <a:pt x="446" y="344"/>
                  </a:lnTo>
                  <a:lnTo>
                    <a:pt x="443" y="354"/>
                  </a:lnTo>
                  <a:lnTo>
                    <a:pt x="443" y="365"/>
                  </a:lnTo>
                  <a:lnTo>
                    <a:pt x="445" y="386"/>
                  </a:lnTo>
                  <a:lnTo>
                    <a:pt x="446" y="400"/>
                  </a:lnTo>
                  <a:lnTo>
                    <a:pt x="445" y="415"/>
                  </a:lnTo>
                  <a:lnTo>
                    <a:pt x="442" y="428"/>
                  </a:lnTo>
                  <a:lnTo>
                    <a:pt x="439" y="439"/>
                  </a:lnTo>
                  <a:lnTo>
                    <a:pt x="436" y="447"/>
                  </a:lnTo>
                  <a:lnTo>
                    <a:pt x="430" y="454"/>
                  </a:lnTo>
                  <a:lnTo>
                    <a:pt x="425" y="459"/>
                  </a:lnTo>
                  <a:lnTo>
                    <a:pt x="419" y="464"/>
                  </a:lnTo>
                  <a:lnTo>
                    <a:pt x="413" y="467"/>
                  </a:lnTo>
                  <a:lnTo>
                    <a:pt x="400" y="472"/>
                  </a:lnTo>
                  <a:lnTo>
                    <a:pt x="386" y="477"/>
                  </a:lnTo>
                  <a:lnTo>
                    <a:pt x="380" y="480"/>
                  </a:lnTo>
                  <a:lnTo>
                    <a:pt x="374" y="484"/>
                  </a:lnTo>
                  <a:lnTo>
                    <a:pt x="370" y="488"/>
                  </a:lnTo>
                  <a:lnTo>
                    <a:pt x="366" y="493"/>
                  </a:lnTo>
                  <a:lnTo>
                    <a:pt x="356" y="493"/>
                  </a:lnTo>
                  <a:lnTo>
                    <a:pt x="346" y="493"/>
                  </a:lnTo>
                  <a:lnTo>
                    <a:pt x="341" y="493"/>
                  </a:lnTo>
                  <a:lnTo>
                    <a:pt x="337" y="492"/>
                  </a:lnTo>
                  <a:lnTo>
                    <a:pt x="334" y="491"/>
                  </a:lnTo>
                  <a:lnTo>
                    <a:pt x="331" y="489"/>
                  </a:lnTo>
                  <a:lnTo>
                    <a:pt x="329" y="487"/>
                  </a:lnTo>
                  <a:lnTo>
                    <a:pt x="328" y="484"/>
                  </a:lnTo>
                  <a:lnTo>
                    <a:pt x="327" y="482"/>
                  </a:lnTo>
                  <a:lnTo>
                    <a:pt x="326" y="478"/>
                  </a:lnTo>
                  <a:lnTo>
                    <a:pt x="327" y="471"/>
                  </a:lnTo>
                  <a:lnTo>
                    <a:pt x="328" y="464"/>
                  </a:lnTo>
                  <a:lnTo>
                    <a:pt x="330" y="457"/>
                  </a:lnTo>
                  <a:lnTo>
                    <a:pt x="333" y="450"/>
                  </a:lnTo>
                  <a:lnTo>
                    <a:pt x="304" y="451"/>
                  </a:lnTo>
                  <a:lnTo>
                    <a:pt x="279" y="454"/>
                  </a:lnTo>
                  <a:lnTo>
                    <a:pt x="267" y="455"/>
                  </a:lnTo>
                  <a:lnTo>
                    <a:pt x="257" y="455"/>
                  </a:lnTo>
                  <a:lnTo>
                    <a:pt x="251" y="454"/>
                  </a:lnTo>
                  <a:lnTo>
                    <a:pt x="247" y="453"/>
                  </a:lnTo>
                  <a:lnTo>
                    <a:pt x="244" y="452"/>
                  </a:lnTo>
                  <a:lnTo>
                    <a:pt x="239" y="450"/>
                  </a:lnTo>
                  <a:lnTo>
                    <a:pt x="219" y="462"/>
                  </a:lnTo>
                  <a:lnTo>
                    <a:pt x="207" y="455"/>
                  </a:lnTo>
                  <a:lnTo>
                    <a:pt x="192" y="447"/>
                  </a:lnTo>
                  <a:lnTo>
                    <a:pt x="183" y="444"/>
                  </a:lnTo>
                  <a:lnTo>
                    <a:pt x="176" y="440"/>
                  </a:lnTo>
                  <a:lnTo>
                    <a:pt x="168" y="438"/>
                  </a:lnTo>
                  <a:lnTo>
                    <a:pt x="159" y="438"/>
                  </a:lnTo>
                  <a:lnTo>
                    <a:pt x="144" y="437"/>
                  </a:lnTo>
                  <a:lnTo>
                    <a:pt x="122" y="436"/>
                  </a:lnTo>
                  <a:lnTo>
                    <a:pt x="111" y="435"/>
                  </a:lnTo>
                  <a:lnTo>
                    <a:pt x="102" y="432"/>
                  </a:lnTo>
                  <a:lnTo>
                    <a:pt x="98" y="431"/>
                  </a:lnTo>
                  <a:lnTo>
                    <a:pt x="95" y="429"/>
                  </a:lnTo>
                  <a:lnTo>
                    <a:pt x="93" y="428"/>
                  </a:lnTo>
                  <a:lnTo>
                    <a:pt x="93" y="424"/>
                  </a:lnTo>
                  <a:lnTo>
                    <a:pt x="87" y="393"/>
                  </a:lnTo>
                  <a:lnTo>
                    <a:pt x="81" y="366"/>
                  </a:lnTo>
                  <a:lnTo>
                    <a:pt x="75" y="346"/>
                  </a:lnTo>
                  <a:lnTo>
                    <a:pt x="69" y="331"/>
                  </a:lnTo>
                  <a:lnTo>
                    <a:pt x="64" y="320"/>
                  </a:lnTo>
                  <a:lnTo>
                    <a:pt x="58" y="310"/>
                  </a:lnTo>
                  <a:lnTo>
                    <a:pt x="53" y="304"/>
                  </a:lnTo>
                  <a:lnTo>
                    <a:pt x="47" y="300"/>
                  </a:lnTo>
                  <a:lnTo>
                    <a:pt x="41" y="296"/>
                  </a:lnTo>
                  <a:lnTo>
                    <a:pt x="35" y="292"/>
                  </a:lnTo>
                  <a:lnTo>
                    <a:pt x="30" y="288"/>
                  </a:lnTo>
                  <a:lnTo>
                    <a:pt x="24" y="281"/>
                  </a:lnTo>
                  <a:lnTo>
                    <a:pt x="19" y="272"/>
                  </a:lnTo>
                  <a:lnTo>
                    <a:pt x="12" y="260"/>
                  </a:lnTo>
                  <a:lnTo>
                    <a:pt x="6" y="243"/>
                  </a:lnTo>
                  <a:lnTo>
                    <a:pt x="0" y="222"/>
                  </a:lnTo>
                  <a:lnTo>
                    <a:pt x="2" y="215"/>
                  </a:lnTo>
                  <a:lnTo>
                    <a:pt x="5" y="204"/>
                  </a:lnTo>
                  <a:lnTo>
                    <a:pt x="11" y="191"/>
                  </a:lnTo>
                  <a:lnTo>
                    <a:pt x="17" y="177"/>
                  </a:lnTo>
                  <a:lnTo>
                    <a:pt x="24" y="164"/>
                  </a:lnTo>
                  <a:lnTo>
                    <a:pt x="31" y="153"/>
                  </a:lnTo>
                  <a:lnTo>
                    <a:pt x="36" y="144"/>
                  </a:lnTo>
                  <a:lnTo>
                    <a:pt x="41" y="141"/>
                  </a:lnTo>
                  <a:lnTo>
                    <a:pt x="46" y="141"/>
                  </a:lnTo>
                  <a:lnTo>
                    <a:pt x="54" y="141"/>
                  </a:lnTo>
                  <a:lnTo>
                    <a:pt x="64" y="141"/>
                  </a:lnTo>
                  <a:lnTo>
                    <a:pt x="73" y="141"/>
                  </a:lnTo>
                  <a:lnTo>
                    <a:pt x="73" y="146"/>
                  </a:lnTo>
                  <a:lnTo>
                    <a:pt x="75" y="152"/>
                  </a:lnTo>
                  <a:lnTo>
                    <a:pt x="77" y="158"/>
                  </a:lnTo>
                  <a:lnTo>
                    <a:pt x="80" y="164"/>
                  </a:lnTo>
                  <a:lnTo>
                    <a:pt x="88" y="176"/>
                  </a:lnTo>
                  <a:lnTo>
                    <a:pt x="97" y="187"/>
                  </a:lnTo>
                  <a:lnTo>
                    <a:pt x="107" y="198"/>
                  </a:lnTo>
                  <a:lnTo>
                    <a:pt x="118" y="208"/>
                  </a:lnTo>
                  <a:lnTo>
                    <a:pt x="124" y="211"/>
                  </a:lnTo>
                  <a:lnTo>
                    <a:pt x="129" y="214"/>
                  </a:lnTo>
                  <a:lnTo>
                    <a:pt x="135" y="215"/>
                  </a:lnTo>
                  <a:lnTo>
                    <a:pt x="139" y="216"/>
                  </a:lnTo>
                  <a:lnTo>
                    <a:pt x="155" y="215"/>
                  </a:lnTo>
                  <a:lnTo>
                    <a:pt x="170" y="213"/>
                  </a:lnTo>
                  <a:lnTo>
                    <a:pt x="184" y="209"/>
                  </a:lnTo>
                  <a:lnTo>
                    <a:pt x="199" y="204"/>
                  </a:lnTo>
                  <a:lnTo>
                    <a:pt x="211" y="196"/>
                  </a:lnTo>
                  <a:lnTo>
                    <a:pt x="221" y="189"/>
                  </a:lnTo>
                  <a:lnTo>
                    <a:pt x="225" y="185"/>
                  </a:lnTo>
                  <a:lnTo>
                    <a:pt x="228" y="181"/>
                  </a:lnTo>
                  <a:lnTo>
                    <a:pt x="230" y="177"/>
                  </a:lnTo>
                  <a:lnTo>
                    <a:pt x="233" y="172"/>
                  </a:lnTo>
                  <a:lnTo>
                    <a:pt x="256" y="175"/>
                  </a:lnTo>
                  <a:lnTo>
                    <a:pt x="273" y="176"/>
                  </a:lnTo>
                  <a:lnTo>
                    <a:pt x="281" y="177"/>
                  </a:lnTo>
                  <a:lnTo>
                    <a:pt x="288" y="178"/>
                  </a:lnTo>
                  <a:lnTo>
                    <a:pt x="294" y="181"/>
                  </a:lnTo>
                  <a:lnTo>
                    <a:pt x="300" y="184"/>
                  </a:lnTo>
                  <a:lnTo>
                    <a:pt x="326" y="184"/>
                  </a:lnTo>
                  <a:lnTo>
                    <a:pt x="326" y="181"/>
                  </a:lnTo>
                  <a:lnTo>
                    <a:pt x="327" y="178"/>
                  </a:lnTo>
                  <a:lnTo>
                    <a:pt x="329" y="176"/>
                  </a:lnTo>
                  <a:lnTo>
                    <a:pt x="331" y="174"/>
                  </a:lnTo>
                  <a:lnTo>
                    <a:pt x="337" y="170"/>
                  </a:lnTo>
                  <a:lnTo>
                    <a:pt x="344" y="167"/>
                  </a:lnTo>
                  <a:lnTo>
                    <a:pt x="350" y="164"/>
                  </a:lnTo>
                  <a:lnTo>
                    <a:pt x="357" y="162"/>
                  </a:lnTo>
                  <a:lnTo>
                    <a:pt x="362" y="158"/>
                  </a:lnTo>
                  <a:lnTo>
                    <a:pt x="366" y="154"/>
                  </a:lnTo>
                  <a:lnTo>
                    <a:pt x="372" y="149"/>
                  </a:lnTo>
                  <a:lnTo>
                    <a:pt x="378" y="143"/>
                  </a:lnTo>
                  <a:lnTo>
                    <a:pt x="383" y="136"/>
                  </a:lnTo>
                  <a:lnTo>
                    <a:pt x="389" y="129"/>
                  </a:lnTo>
                  <a:lnTo>
                    <a:pt x="400" y="114"/>
                  </a:lnTo>
                  <a:lnTo>
                    <a:pt x="408" y="97"/>
                  </a:lnTo>
                  <a:lnTo>
                    <a:pt x="415" y="79"/>
                  </a:lnTo>
                  <a:lnTo>
                    <a:pt x="420" y="62"/>
                  </a:lnTo>
                  <a:lnTo>
                    <a:pt x="424" y="46"/>
                  </a:lnTo>
                  <a:lnTo>
                    <a:pt x="426" y="30"/>
                  </a:lnTo>
                  <a:lnTo>
                    <a:pt x="427" y="25"/>
                  </a:lnTo>
                  <a:lnTo>
                    <a:pt x="429" y="20"/>
                  </a:lnTo>
                  <a:lnTo>
                    <a:pt x="435" y="15"/>
                  </a:lnTo>
                  <a:lnTo>
                    <a:pt x="440" y="11"/>
                  </a:lnTo>
                  <a:lnTo>
                    <a:pt x="447" y="6"/>
                  </a:lnTo>
                  <a:lnTo>
                    <a:pt x="453" y="3"/>
                  </a:lnTo>
                  <a:lnTo>
                    <a:pt x="460" y="1"/>
                  </a:lnTo>
                  <a:lnTo>
                    <a:pt x="465" y="0"/>
                  </a:lnTo>
                  <a:lnTo>
                    <a:pt x="479" y="2"/>
                  </a:lnTo>
                  <a:lnTo>
                    <a:pt x="495" y="6"/>
                  </a:lnTo>
                  <a:lnTo>
                    <a:pt x="512" y="10"/>
                  </a:lnTo>
                  <a:lnTo>
                    <a:pt x="525" y="12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12" name="Freeform 334"/>
            <p:cNvSpPr>
              <a:spLocks/>
            </p:cNvSpPr>
            <p:nvPr>
              <p:custDataLst>
                <p:tags r:id="rId238"/>
              </p:custDataLst>
            </p:nvPr>
          </p:nvSpPr>
          <p:spPr bwMode="auto">
            <a:xfrm>
              <a:off x="9197559" y="4594891"/>
              <a:ext cx="90969" cy="57351"/>
            </a:xfrm>
            <a:custGeom>
              <a:avLst/>
              <a:gdLst>
                <a:gd name="T0" fmla="*/ 0 w 212"/>
                <a:gd name="T1" fmla="*/ 105 h 105"/>
                <a:gd name="T2" fmla="*/ 16 w 212"/>
                <a:gd name="T3" fmla="*/ 85 h 105"/>
                <a:gd name="T4" fmla="*/ 35 w 212"/>
                <a:gd name="T5" fmla="*/ 68 h 105"/>
                <a:gd name="T6" fmla="*/ 44 w 212"/>
                <a:gd name="T7" fmla="*/ 60 h 105"/>
                <a:gd name="T8" fmla="*/ 54 w 212"/>
                <a:gd name="T9" fmla="*/ 53 h 105"/>
                <a:gd name="T10" fmla="*/ 64 w 212"/>
                <a:gd name="T11" fmla="*/ 46 h 105"/>
                <a:gd name="T12" fmla="*/ 73 w 212"/>
                <a:gd name="T13" fmla="*/ 38 h 105"/>
                <a:gd name="T14" fmla="*/ 83 w 212"/>
                <a:gd name="T15" fmla="*/ 32 h 105"/>
                <a:gd name="T16" fmla="*/ 94 w 212"/>
                <a:gd name="T17" fmla="*/ 27 h 105"/>
                <a:gd name="T18" fmla="*/ 106 w 212"/>
                <a:gd name="T19" fmla="*/ 21 h 105"/>
                <a:gd name="T20" fmla="*/ 118 w 212"/>
                <a:gd name="T21" fmla="*/ 16 h 105"/>
                <a:gd name="T22" fmla="*/ 144 w 212"/>
                <a:gd name="T23" fmla="*/ 8 h 105"/>
                <a:gd name="T24" fmla="*/ 172 w 212"/>
                <a:gd name="T25" fmla="*/ 0 h 105"/>
                <a:gd name="T26" fmla="*/ 212 w 212"/>
                <a:gd name="T27" fmla="*/ 0 h 105"/>
                <a:gd name="T28" fmla="*/ 202 w 212"/>
                <a:gd name="T29" fmla="*/ 9 h 105"/>
                <a:gd name="T30" fmla="*/ 190 w 212"/>
                <a:gd name="T31" fmla="*/ 18 h 105"/>
                <a:gd name="T32" fmla="*/ 178 w 212"/>
                <a:gd name="T33" fmla="*/ 27 h 105"/>
                <a:gd name="T34" fmla="*/ 165 w 212"/>
                <a:gd name="T35" fmla="*/ 35 h 105"/>
                <a:gd name="T36" fmla="*/ 137 w 212"/>
                <a:gd name="T37" fmla="*/ 52 h 105"/>
                <a:gd name="T38" fmla="*/ 109 w 212"/>
                <a:gd name="T39" fmla="*/ 66 h 105"/>
                <a:gd name="T40" fmla="*/ 79 w 212"/>
                <a:gd name="T41" fmla="*/ 79 h 105"/>
                <a:gd name="T42" fmla="*/ 50 w 212"/>
                <a:gd name="T43" fmla="*/ 90 h 105"/>
                <a:gd name="T44" fmla="*/ 23 w 212"/>
                <a:gd name="T45" fmla="*/ 99 h 105"/>
                <a:gd name="T46" fmla="*/ 0 w 212"/>
                <a:gd name="T47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2" h="105">
                  <a:moveTo>
                    <a:pt x="0" y="105"/>
                  </a:moveTo>
                  <a:lnTo>
                    <a:pt x="16" y="85"/>
                  </a:lnTo>
                  <a:lnTo>
                    <a:pt x="35" y="68"/>
                  </a:lnTo>
                  <a:lnTo>
                    <a:pt x="44" y="60"/>
                  </a:lnTo>
                  <a:lnTo>
                    <a:pt x="54" y="53"/>
                  </a:lnTo>
                  <a:lnTo>
                    <a:pt x="64" y="46"/>
                  </a:lnTo>
                  <a:lnTo>
                    <a:pt x="73" y="38"/>
                  </a:lnTo>
                  <a:lnTo>
                    <a:pt x="83" y="32"/>
                  </a:lnTo>
                  <a:lnTo>
                    <a:pt x="94" y="27"/>
                  </a:lnTo>
                  <a:lnTo>
                    <a:pt x="106" y="21"/>
                  </a:lnTo>
                  <a:lnTo>
                    <a:pt x="118" y="16"/>
                  </a:lnTo>
                  <a:lnTo>
                    <a:pt x="144" y="8"/>
                  </a:lnTo>
                  <a:lnTo>
                    <a:pt x="172" y="0"/>
                  </a:lnTo>
                  <a:lnTo>
                    <a:pt x="212" y="0"/>
                  </a:lnTo>
                  <a:lnTo>
                    <a:pt x="202" y="9"/>
                  </a:lnTo>
                  <a:lnTo>
                    <a:pt x="190" y="18"/>
                  </a:lnTo>
                  <a:lnTo>
                    <a:pt x="178" y="27"/>
                  </a:lnTo>
                  <a:lnTo>
                    <a:pt x="165" y="35"/>
                  </a:lnTo>
                  <a:lnTo>
                    <a:pt x="137" y="52"/>
                  </a:lnTo>
                  <a:lnTo>
                    <a:pt x="109" y="66"/>
                  </a:lnTo>
                  <a:lnTo>
                    <a:pt x="79" y="79"/>
                  </a:lnTo>
                  <a:lnTo>
                    <a:pt x="50" y="90"/>
                  </a:lnTo>
                  <a:lnTo>
                    <a:pt x="23" y="99"/>
                  </a:lnTo>
                  <a:lnTo>
                    <a:pt x="0" y="105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13" name="Freeform 335"/>
            <p:cNvSpPr>
              <a:spLocks/>
            </p:cNvSpPr>
            <p:nvPr>
              <p:custDataLst>
                <p:tags r:id="rId239"/>
              </p:custDataLst>
            </p:nvPr>
          </p:nvSpPr>
          <p:spPr bwMode="auto">
            <a:xfrm>
              <a:off x="9312467" y="4260905"/>
              <a:ext cx="43091" cy="89400"/>
            </a:xfrm>
            <a:custGeom>
              <a:avLst/>
              <a:gdLst>
                <a:gd name="T0" fmla="*/ 0 w 92"/>
                <a:gd name="T1" fmla="*/ 81 h 166"/>
                <a:gd name="T2" fmla="*/ 0 w 92"/>
                <a:gd name="T3" fmla="*/ 148 h 166"/>
                <a:gd name="T4" fmla="*/ 5 w 92"/>
                <a:gd name="T5" fmla="*/ 144 h 166"/>
                <a:gd name="T6" fmla="*/ 12 w 92"/>
                <a:gd name="T7" fmla="*/ 139 h 166"/>
                <a:gd name="T8" fmla="*/ 14 w 92"/>
                <a:gd name="T9" fmla="*/ 137 h 166"/>
                <a:gd name="T10" fmla="*/ 17 w 92"/>
                <a:gd name="T11" fmla="*/ 135 h 166"/>
                <a:gd name="T12" fmla="*/ 18 w 92"/>
                <a:gd name="T13" fmla="*/ 132 h 166"/>
                <a:gd name="T14" fmla="*/ 19 w 92"/>
                <a:gd name="T15" fmla="*/ 130 h 166"/>
                <a:gd name="T16" fmla="*/ 20 w 92"/>
                <a:gd name="T17" fmla="*/ 138 h 166"/>
                <a:gd name="T18" fmla="*/ 24 w 92"/>
                <a:gd name="T19" fmla="*/ 148 h 166"/>
                <a:gd name="T20" fmla="*/ 27 w 92"/>
                <a:gd name="T21" fmla="*/ 154 h 166"/>
                <a:gd name="T22" fmla="*/ 30 w 92"/>
                <a:gd name="T23" fmla="*/ 159 h 166"/>
                <a:gd name="T24" fmla="*/ 35 w 92"/>
                <a:gd name="T25" fmla="*/ 163 h 166"/>
                <a:gd name="T26" fmla="*/ 39 w 92"/>
                <a:gd name="T27" fmla="*/ 166 h 166"/>
                <a:gd name="T28" fmla="*/ 41 w 92"/>
                <a:gd name="T29" fmla="*/ 158 h 166"/>
                <a:gd name="T30" fmla="*/ 41 w 92"/>
                <a:gd name="T31" fmla="*/ 148 h 166"/>
                <a:gd name="T32" fmla="*/ 41 w 92"/>
                <a:gd name="T33" fmla="*/ 137 h 166"/>
                <a:gd name="T34" fmla="*/ 41 w 92"/>
                <a:gd name="T35" fmla="*/ 126 h 166"/>
                <a:gd name="T36" fmla="*/ 40 w 92"/>
                <a:gd name="T37" fmla="*/ 107 h 166"/>
                <a:gd name="T38" fmla="*/ 39 w 92"/>
                <a:gd name="T39" fmla="*/ 99 h 166"/>
                <a:gd name="T40" fmla="*/ 48 w 92"/>
                <a:gd name="T41" fmla="*/ 100 h 166"/>
                <a:gd name="T42" fmla="*/ 57 w 92"/>
                <a:gd name="T43" fmla="*/ 102 h 166"/>
                <a:gd name="T44" fmla="*/ 64 w 92"/>
                <a:gd name="T45" fmla="*/ 105 h 166"/>
                <a:gd name="T46" fmla="*/ 71 w 92"/>
                <a:gd name="T47" fmla="*/ 108 h 166"/>
                <a:gd name="T48" fmla="*/ 76 w 92"/>
                <a:gd name="T49" fmla="*/ 111 h 166"/>
                <a:gd name="T50" fmla="*/ 82 w 92"/>
                <a:gd name="T51" fmla="*/ 114 h 166"/>
                <a:gd name="T52" fmla="*/ 87 w 92"/>
                <a:gd name="T53" fmla="*/ 116 h 166"/>
                <a:gd name="T54" fmla="*/ 92 w 92"/>
                <a:gd name="T55" fmla="*/ 118 h 166"/>
                <a:gd name="T56" fmla="*/ 85 w 92"/>
                <a:gd name="T57" fmla="*/ 103 h 166"/>
                <a:gd name="T58" fmla="*/ 81 w 92"/>
                <a:gd name="T59" fmla="*/ 89 h 166"/>
                <a:gd name="T60" fmla="*/ 76 w 92"/>
                <a:gd name="T61" fmla="*/ 75 h 166"/>
                <a:gd name="T62" fmla="*/ 73 w 92"/>
                <a:gd name="T63" fmla="*/ 60 h 166"/>
                <a:gd name="T64" fmla="*/ 70 w 92"/>
                <a:gd name="T65" fmla="*/ 47 h 166"/>
                <a:gd name="T66" fmla="*/ 67 w 92"/>
                <a:gd name="T67" fmla="*/ 34 h 166"/>
                <a:gd name="T68" fmla="*/ 63 w 92"/>
                <a:gd name="T69" fmla="*/ 23 h 166"/>
                <a:gd name="T70" fmla="*/ 59 w 92"/>
                <a:gd name="T71" fmla="*/ 13 h 166"/>
                <a:gd name="T72" fmla="*/ 59 w 92"/>
                <a:gd name="T73" fmla="*/ 19 h 166"/>
                <a:gd name="T74" fmla="*/ 59 w 92"/>
                <a:gd name="T75" fmla="*/ 25 h 166"/>
                <a:gd name="T76" fmla="*/ 50 w 92"/>
                <a:gd name="T77" fmla="*/ 23 h 166"/>
                <a:gd name="T78" fmla="*/ 42 w 92"/>
                <a:gd name="T79" fmla="*/ 19 h 166"/>
                <a:gd name="T80" fmla="*/ 35 w 92"/>
                <a:gd name="T81" fmla="*/ 15 h 166"/>
                <a:gd name="T82" fmla="*/ 29 w 92"/>
                <a:gd name="T83" fmla="*/ 11 h 166"/>
                <a:gd name="T84" fmla="*/ 23 w 92"/>
                <a:gd name="T85" fmla="*/ 7 h 166"/>
                <a:gd name="T86" fmla="*/ 16 w 92"/>
                <a:gd name="T87" fmla="*/ 3 h 166"/>
                <a:gd name="T88" fmla="*/ 8 w 92"/>
                <a:gd name="T89" fmla="*/ 1 h 166"/>
                <a:gd name="T90" fmla="*/ 0 w 92"/>
                <a:gd name="T91" fmla="*/ 0 h 166"/>
                <a:gd name="T92" fmla="*/ 0 w 92"/>
                <a:gd name="T93" fmla="*/ 10 h 166"/>
                <a:gd name="T94" fmla="*/ 0 w 92"/>
                <a:gd name="T95" fmla="*/ 19 h 166"/>
                <a:gd name="T96" fmla="*/ 0 w 92"/>
                <a:gd name="T97" fmla="*/ 33 h 166"/>
                <a:gd name="T98" fmla="*/ 0 w 92"/>
                <a:gd name="T99" fmla="*/ 52 h 166"/>
                <a:gd name="T100" fmla="*/ 0 w 92"/>
                <a:gd name="T101" fmla="*/ 70 h 166"/>
                <a:gd name="T102" fmla="*/ 0 w 92"/>
                <a:gd name="T103" fmla="*/ 81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2" h="166">
                  <a:moveTo>
                    <a:pt x="0" y="81"/>
                  </a:moveTo>
                  <a:lnTo>
                    <a:pt x="0" y="148"/>
                  </a:lnTo>
                  <a:lnTo>
                    <a:pt x="5" y="144"/>
                  </a:lnTo>
                  <a:lnTo>
                    <a:pt x="12" y="139"/>
                  </a:lnTo>
                  <a:lnTo>
                    <a:pt x="14" y="137"/>
                  </a:lnTo>
                  <a:lnTo>
                    <a:pt x="17" y="135"/>
                  </a:lnTo>
                  <a:lnTo>
                    <a:pt x="18" y="132"/>
                  </a:lnTo>
                  <a:lnTo>
                    <a:pt x="19" y="130"/>
                  </a:lnTo>
                  <a:lnTo>
                    <a:pt x="20" y="138"/>
                  </a:lnTo>
                  <a:lnTo>
                    <a:pt x="24" y="148"/>
                  </a:lnTo>
                  <a:lnTo>
                    <a:pt x="27" y="154"/>
                  </a:lnTo>
                  <a:lnTo>
                    <a:pt x="30" y="159"/>
                  </a:lnTo>
                  <a:lnTo>
                    <a:pt x="35" y="163"/>
                  </a:lnTo>
                  <a:lnTo>
                    <a:pt x="39" y="166"/>
                  </a:lnTo>
                  <a:lnTo>
                    <a:pt x="41" y="158"/>
                  </a:lnTo>
                  <a:lnTo>
                    <a:pt x="41" y="148"/>
                  </a:lnTo>
                  <a:lnTo>
                    <a:pt x="41" y="137"/>
                  </a:lnTo>
                  <a:lnTo>
                    <a:pt x="41" y="126"/>
                  </a:lnTo>
                  <a:lnTo>
                    <a:pt x="40" y="107"/>
                  </a:lnTo>
                  <a:lnTo>
                    <a:pt x="39" y="99"/>
                  </a:lnTo>
                  <a:lnTo>
                    <a:pt x="48" y="100"/>
                  </a:lnTo>
                  <a:lnTo>
                    <a:pt x="57" y="102"/>
                  </a:lnTo>
                  <a:lnTo>
                    <a:pt x="64" y="105"/>
                  </a:lnTo>
                  <a:lnTo>
                    <a:pt x="71" y="108"/>
                  </a:lnTo>
                  <a:lnTo>
                    <a:pt x="76" y="111"/>
                  </a:lnTo>
                  <a:lnTo>
                    <a:pt x="82" y="114"/>
                  </a:lnTo>
                  <a:lnTo>
                    <a:pt x="87" y="116"/>
                  </a:lnTo>
                  <a:lnTo>
                    <a:pt x="92" y="118"/>
                  </a:lnTo>
                  <a:lnTo>
                    <a:pt x="85" y="103"/>
                  </a:lnTo>
                  <a:lnTo>
                    <a:pt x="81" y="89"/>
                  </a:lnTo>
                  <a:lnTo>
                    <a:pt x="76" y="75"/>
                  </a:lnTo>
                  <a:lnTo>
                    <a:pt x="73" y="60"/>
                  </a:lnTo>
                  <a:lnTo>
                    <a:pt x="70" y="47"/>
                  </a:lnTo>
                  <a:lnTo>
                    <a:pt x="67" y="34"/>
                  </a:lnTo>
                  <a:lnTo>
                    <a:pt x="63" y="23"/>
                  </a:lnTo>
                  <a:lnTo>
                    <a:pt x="59" y="13"/>
                  </a:lnTo>
                  <a:lnTo>
                    <a:pt x="59" y="19"/>
                  </a:lnTo>
                  <a:lnTo>
                    <a:pt x="59" y="25"/>
                  </a:lnTo>
                  <a:lnTo>
                    <a:pt x="50" y="23"/>
                  </a:lnTo>
                  <a:lnTo>
                    <a:pt x="42" y="19"/>
                  </a:lnTo>
                  <a:lnTo>
                    <a:pt x="35" y="15"/>
                  </a:lnTo>
                  <a:lnTo>
                    <a:pt x="29" y="11"/>
                  </a:lnTo>
                  <a:lnTo>
                    <a:pt x="23" y="7"/>
                  </a:lnTo>
                  <a:lnTo>
                    <a:pt x="16" y="3"/>
                  </a:lnTo>
                  <a:lnTo>
                    <a:pt x="8" y="1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9"/>
                  </a:lnTo>
                  <a:lnTo>
                    <a:pt x="0" y="33"/>
                  </a:lnTo>
                  <a:lnTo>
                    <a:pt x="0" y="52"/>
                  </a:lnTo>
                  <a:lnTo>
                    <a:pt x="0" y="70"/>
                  </a:lnTo>
                  <a:lnTo>
                    <a:pt x="0" y="81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14" name="Freeform 336"/>
            <p:cNvSpPr>
              <a:spLocks/>
            </p:cNvSpPr>
            <p:nvPr>
              <p:custDataLst>
                <p:tags r:id="rId240"/>
              </p:custDataLst>
            </p:nvPr>
          </p:nvSpPr>
          <p:spPr bwMode="auto">
            <a:xfrm>
              <a:off x="9325235" y="4405969"/>
              <a:ext cx="71818" cy="55664"/>
            </a:xfrm>
            <a:custGeom>
              <a:avLst/>
              <a:gdLst>
                <a:gd name="T0" fmla="*/ 7 w 166"/>
                <a:gd name="T1" fmla="*/ 0 h 62"/>
                <a:gd name="T2" fmla="*/ 14 w 166"/>
                <a:gd name="T3" fmla="*/ 3 h 62"/>
                <a:gd name="T4" fmla="*/ 22 w 166"/>
                <a:gd name="T5" fmla="*/ 6 h 62"/>
                <a:gd name="T6" fmla="*/ 30 w 166"/>
                <a:gd name="T7" fmla="*/ 7 h 62"/>
                <a:gd name="T8" fmla="*/ 36 w 166"/>
                <a:gd name="T9" fmla="*/ 8 h 62"/>
                <a:gd name="T10" fmla="*/ 48 w 166"/>
                <a:gd name="T11" fmla="*/ 8 h 62"/>
                <a:gd name="T12" fmla="*/ 58 w 166"/>
                <a:gd name="T13" fmla="*/ 7 h 62"/>
                <a:gd name="T14" fmla="*/ 69 w 166"/>
                <a:gd name="T15" fmla="*/ 5 h 62"/>
                <a:gd name="T16" fmla="*/ 80 w 166"/>
                <a:gd name="T17" fmla="*/ 3 h 62"/>
                <a:gd name="T18" fmla="*/ 92 w 166"/>
                <a:gd name="T19" fmla="*/ 1 h 62"/>
                <a:gd name="T20" fmla="*/ 106 w 166"/>
                <a:gd name="T21" fmla="*/ 0 h 62"/>
                <a:gd name="T22" fmla="*/ 111 w 166"/>
                <a:gd name="T23" fmla="*/ 1 h 62"/>
                <a:gd name="T24" fmla="*/ 115 w 166"/>
                <a:gd name="T25" fmla="*/ 2 h 62"/>
                <a:gd name="T26" fmla="*/ 120 w 166"/>
                <a:gd name="T27" fmla="*/ 5 h 62"/>
                <a:gd name="T28" fmla="*/ 124 w 166"/>
                <a:gd name="T29" fmla="*/ 8 h 62"/>
                <a:gd name="T30" fmla="*/ 132 w 166"/>
                <a:gd name="T31" fmla="*/ 17 h 62"/>
                <a:gd name="T32" fmla="*/ 138 w 166"/>
                <a:gd name="T33" fmla="*/ 26 h 62"/>
                <a:gd name="T34" fmla="*/ 145 w 166"/>
                <a:gd name="T35" fmla="*/ 36 h 62"/>
                <a:gd name="T36" fmla="*/ 151 w 166"/>
                <a:gd name="T37" fmla="*/ 45 h 62"/>
                <a:gd name="T38" fmla="*/ 155 w 166"/>
                <a:gd name="T39" fmla="*/ 49 h 62"/>
                <a:gd name="T40" fmla="*/ 158 w 166"/>
                <a:gd name="T41" fmla="*/ 52 h 62"/>
                <a:gd name="T42" fmla="*/ 162 w 166"/>
                <a:gd name="T43" fmla="*/ 54 h 62"/>
                <a:gd name="T44" fmla="*/ 166 w 166"/>
                <a:gd name="T45" fmla="*/ 56 h 62"/>
                <a:gd name="T46" fmla="*/ 159 w 166"/>
                <a:gd name="T47" fmla="*/ 57 h 62"/>
                <a:gd name="T48" fmla="*/ 151 w 166"/>
                <a:gd name="T49" fmla="*/ 59 h 62"/>
                <a:gd name="T50" fmla="*/ 143 w 166"/>
                <a:gd name="T51" fmla="*/ 61 h 62"/>
                <a:gd name="T52" fmla="*/ 133 w 166"/>
                <a:gd name="T53" fmla="*/ 62 h 62"/>
                <a:gd name="T54" fmla="*/ 125 w 166"/>
                <a:gd name="T55" fmla="*/ 61 h 62"/>
                <a:gd name="T56" fmla="*/ 119 w 166"/>
                <a:gd name="T57" fmla="*/ 58 h 62"/>
                <a:gd name="T58" fmla="*/ 112 w 166"/>
                <a:gd name="T59" fmla="*/ 54 h 62"/>
                <a:gd name="T60" fmla="*/ 106 w 166"/>
                <a:gd name="T61" fmla="*/ 50 h 62"/>
                <a:gd name="T62" fmla="*/ 100 w 166"/>
                <a:gd name="T63" fmla="*/ 45 h 62"/>
                <a:gd name="T64" fmla="*/ 93 w 166"/>
                <a:gd name="T65" fmla="*/ 41 h 62"/>
                <a:gd name="T66" fmla="*/ 87 w 166"/>
                <a:gd name="T67" fmla="*/ 39 h 62"/>
                <a:gd name="T68" fmla="*/ 79 w 166"/>
                <a:gd name="T69" fmla="*/ 38 h 62"/>
                <a:gd name="T70" fmla="*/ 56 w 166"/>
                <a:gd name="T71" fmla="*/ 38 h 62"/>
                <a:gd name="T72" fmla="*/ 35 w 166"/>
                <a:gd name="T73" fmla="*/ 39 h 62"/>
                <a:gd name="T74" fmla="*/ 26 w 166"/>
                <a:gd name="T75" fmla="*/ 41 h 62"/>
                <a:gd name="T76" fmla="*/ 19 w 166"/>
                <a:gd name="T77" fmla="*/ 43 h 62"/>
                <a:gd name="T78" fmla="*/ 12 w 166"/>
                <a:gd name="T79" fmla="*/ 46 h 62"/>
                <a:gd name="T80" fmla="*/ 7 w 166"/>
                <a:gd name="T81" fmla="*/ 50 h 62"/>
                <a:gd name="T82" fmla="*/ 2 w 166"/>
                <a:gd name="T83" fmla="*/ 45 h 62"/>
                <a:gd name="T84" fmla="*/ 1 w 166"/>
                <a:gd name="T85" fmla="*/ 40 h 62"/>
                <a:gd name="T86" fmla="*/ 0 w 166"/>
                <a:gd name="T87" fmla="*/ 34 h 62"/>
                <a:gd name="T88" fmla="*/ 1 w 166"/>
                <a:gd name="T89" fmla="*/ 28 h 62"/>
                <a:gd name="T90" fmla="*/ 4 w 166"/>
                <a:gd name="T91" fmla="*/ 15 h 62"/>
                <a:gd name="T92" fmla="*/ 7 w 166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62">
                  <a:moveTo>
                    <a:pt x="7" y="0"/>
                  </a:moveTo>
                  <a:lnTo>
                    <a:pt x="14" y="3"/>
                  </a:lnTo>
                  <a:lnTo>
                    <a:pt x="22" y="6"/>
                  </a:lnTo>
                  <a:lnTo>
                    <a:pt x="30" y="7"/>
                  </a:lnTo>
                  <a:lnTo>
                    <a:pt x="36" y="8"/>
                  </a:lnTo>
                  <a:lnTo>
                    <a:pt x="48" y="8"/>
                  </a:lnTo>
                  <a:lnTo>
                    <a:pt x="58" y="7"/>
                  </a:lnTo>
                  <a:lnTo>
                    <a:pt x="69" y="5"/>
                  </a:lnTo>
                  <a:lnTo>
                    <a:pt x="80" y="3"/>
                  </a:lnTo>
                  <a:lnTo>
                    <a:pt x="92" y="1"/>
                  </a:lnTo>
                  <a:lnTo>
                    <a:pt x="106" y="0"/>
                  </a:lnTo>
                  <a:lnTo>
                    <a:pt x="111" y="1"/>
                  </a:lnTo>
                  <a:lnTo>
                    <a:pt x="115" y="2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32" y="17"/>
                  </a:lnTo>
                  <a:lnTo>
                    <a:pt x="138" y="26"/>
                  </a:lnTo>
                  <a:lnTo>
                    <a:pt x="145" y="36"/>
                  </a:lnTo>
                  <a:lnTo>
                    <a:pt x="151" y="45"/>
                  </a:lnTo>
                  <a:lnTo>
                    <a:pt x="155" y="49"/>
                  </a:lnTo>
                  <a:lnTo>
                    <a:pt x="158" y="52"/>
                  </a:lnTo>
                  <a:lnTo>
                    <a:pt x="162" y="54"/>
                  </a:lnTo>
                  <a:lnTo>
                    <a:pt x="166" y="56"/>
                  </a:lnTo>
                  <a:lnTo>
                    <a:pt x="159" y="57"/>
                  </a:lnTo>
                  <a:lnTo>
                    <a:pt x="151" y="59"/>
                  </a:lnTo>
                  <a:lnTo>
                    <a:pt x="143" y="61"/>
                  </a:lnTo>
                  <a:lnTo>
                    <a:pt x="133" y="62"/>
                  </a:lnTo>
                  <a:lnTo>
                    <a:pt x="125" y="61"/>
                  </a:lnTo>
                  <a:lnTo>
                    <a:pt x="119" y="58"/>
                  </a:lnTo>
                  <a:lnTo>
                    <a:pt x="112" y="54"/>
                  </a:lnTo>
                  <a:lnTo>
                    <a:pt x="106" y="50"/>
                  </a:lnTo>
                  <a:lnTo>
                    <a:pt x="100" y="45"/>
                  </a:lnTo>
                  <a:lnTo>
                    <a:pt x="93" y="41"/>
                  </a:lnTo>
                  <a:lnTo>
                    <a:pt x="87" y="39"/>
                  </a:lnTo>
                  <a:lnTo>
                    <a:pt x="79" y="38"/>
                  </a:lnTo>
                  <a:lnTo>
                    <a:pt x="56" y="38"/>
                  </a:lnTo>
                  <a:lnTo>
                    <a:pt x="35" y="39"/>
                  </a:lnTo>
                  <a:lnTo>
                    <a:pt x="26" y="41"/>
                  </a:lnTo>
                  <a:lnTo>
                    <a:pt x="19" y="43"/>
                  </a:lnTo>
                  <a:lnTo>
                    <a:pt x="12" y="46"/>
                  </a:lnTo>
                  <a:lnTo>
                    <a:pt x="7" y="50"/>
                  </a:lnTo>
                  <a:lnTo>
                    <a:pt x="2" y="45"/>
                  </a:lnTo>
                  <a:lnTo>
                    <a:pt x="1" y="40"/>
                  </a:lnTo>
                  <a:lnTo>
                    <a:pt x="0" y="34"/>
                  </a:lnTo>
                  <a:lnTo>
                    <a:pt x="1" y="28"/>
                  </a:lnTo>
                  <a:lnTo>
                    <a:pt x="4" y="15"/>
                  </a:lnTo>
                  <a:lnTo>
                    <a:pt x="7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15" name="Freeform 337"/>
            <p:cNvSpPr>
              <a:spLocks/>
            </p:cNvSpPr>
            <p:nvPr>
              <p:custDataLst>
                <p:tags r:id="rId241"/>
              </p:custDataLst>
            </p:nvPr>
          </p:nvSpPr>
          <p:spPr bwMode="auto">
            <a:xfrm>
              <a:off x="9401840" y="4330063"/>
              <a:ext cx="86181" cy="62412"/>
            </a:xfrm>
            <a:custGeom>
              <a:avLst/>
              <a:gdLst>
                <a:gd name="T0" fmla="*/ 33 w 193"/>
                <a:gd name="T1" fmla="*/ 35 h 121"/>
                <a:gd name="T2" fmla="*/ 48 w 193"/>
                <a:gd name="T3" fmla="*/ 25 h 121"/>
                <a:gd name="T4" fmla="*/ 68 w 193"/>
                <a:gd name="T5" fmla="*/ 12 h 121"/>
                <a:gd name="T6" fmla="*/ 84 w 193"/>
                <a:gd name="T7" fmla="*/ 4 h 121"/>
                <a:gd name="T8" fmla="*/ 94 w 193"/>
                <a:gd name="T9" fmla="*/ 1 h 121"/>
                <a:gd name="T10" fmla="*/ 105 w 193"/>
                <a:gd name="T11" fmla="*/ 1 h 121"/>
                <a:gd name="T12" fmla="*/ 116 w 193"/>
                <a:gd name="T13" fmla="*/ 3 h 121"/>
                <a:gd name="T14" fmla="*/ 131 w 193"/>
                <a:gd name="T15" fmla="*/ 10 h 121"/>
                <a:gd name="T16" fmla="*/ 148 w 193"/>
                <a:gd name="T17" fmla="*/ 21 h 121"/>
                <a:gd name="T18" fmla="*/ 162 w 193"/>
                <a:gd name="T19" fmla="*/ 28 h 121"/>
                <a:gd name="T20" fmla="*/ 173 w 193"/>
                <a:gd name="T21" fmla="*/ 30 h 121"/>
                <a:gd name="T22" fmla="*/ 179 w 193"/>
                <a:gd name="T23" fmla="*/ 48 h 121"/>
                <a:gd name="T24" fmla="*/ 178 w 193"/>
                <a:gd name="T25" fmla="*/ 66 h 121"/>
                <a:gd name="T26" fmla="*/ 182 w 193"/>
                <a:gd name="T27" fmla="*/ 75 h 121"/>
                <a:gd name="T28" fmla="*/ 187 w 193"/>
                <a:gd name="T29" fmla="*/ 89 h 121"/>
                <a:gd name="T30" fmla="*/ 188 w 193"/>
                <a:gd name="T31" fmla="*/ 102 h 121"/>
                <a:gd name="T32" fmla="*/ 191 w 193"/>
                <a:gd name="T33" fmla="*/ 109 h 121"/>
                <a:gd name="T34" fmla="*/ 188 w 193"/>
                <a:gd name="T35" fmla="*/ 114 h 121"/>
                <a:gd name="T36" fmla="*/ 177 w 193"/>
                <a:gd name="T37" fmla="*/ 118 h 121"/>
                <a:gd name="T38" fmla="*/ 159 w 193"/>
                <a:gd name="T39" fmla="*/ 121 h 121"/>
                <a:gd name="T40" fmla="*/ 116 w 193"/>
                <a:gd name="T41" fmla="*/ 119 h 121"/>
                <a:gd name="T42" fmla="*/ 72 w 193"/>
                <a:gd name="T43" fmla="*/ 116 h 121"/>
                <a:gd name="T44" fmla="*/ 63 w 193"/>
                <a:gd name="T45" fmla="*/ 110 h 121"/>
                <a:gd name="T46" fmla="*/ 56 w 193"/>
                <a:gd name="T47" fmla="*/ 100 h 121"/>
                <a:gd name="T48" fmla="*/ 54 w 193"/>
                <a:gd name="T49" fmla="*/ 87 h 121"/>
                <a:gd name="T50" fmla="*/ 47 w 193"/>
                <a:gd name="T51" fmla="*/ 79 h 121"/>
                <a:gd name="T52" fmla="*/ 31 w 193"/>
                <a:gd name="T53" fmla="*/ 75 h 121"/>
                <a:gd name="T54" fmla="*/ 13 w 193"/>
                <a:gd name="T55" fmla="*/ 69 h 121"/>
                <a:gd name="T56" fmla="*/ 3 w 193"/>
                <a:gd name="T57" fmla="*/ 62 h 121"/>
                <a:gd name="T58" fmla="*/ 0 w 193"/>
                <a:gd name="T59" fmla="*/ 58 h 121"/>
                <a:gd name="T60" fmla="*/ 1 w 193"/>
                <a:gd name="T61" fmla="*/ 51 h 121"/>
                <a:gd name="T62" fmla="*/ 7 w 193"/>
                <a:gd name="T63" fmla="*/ 45 h 121"/>
                <a:gd name="T64" fmla="*/ 20 w 193"/>
                <a:gd name="T65" fmla="*/ 38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93" h="121">
                  <a:moveTo>
                    <a:pt x="26" y="36"/>
                  </a:moveTo>
                  <a:lnTo>
                    <a:pt x="33" y="35"/>
                  </a:lnTo>
                  <a:lnTo>
                    <a:pt x="39" y="31"/>
                  </a:lnTo>
                  <a:lnTo>
                    <a:pt x="48" y="25"/>
                  </a:lnTo>
                  <a:lnTo>
                    <a:pt x="58" y="18"/>
                  </a:lnTo>
                  <a:lnTo>
                    <a:pt x="68" y="12"/>
                  </a:lnTo>
                  <a:lnTo>
                    <a:pt x="79" y="6"/>
                  </a:lnTo>
                  <a:lnTo>
                    <a:pt x="84" y="4"/>
                  </a:lnTo>
                  <a:lnTo>
                    <a:pt x="90" y="2"/>
                  </a:lnTo>
                  <a:lnTo>
                    <a:pt x="94" y="1"/>
                  </a:lnTo>
                  <a:lnTo>
                    <a:pt x="100" y="0"/>
                  </a:lnTo>
                  <a:lnTo>
                    <a:pt x="105" y="1"/>
                  </a:lnTo>
                  <a:lnTo>
                    <a:pt x="111" y="1"/>
                  </a:lnTo>
                  <a:lnTo>
                    <a:pt x="116" y="3"/>
                  </a:lnTo>
                  <a:lnTo>
                    <a:pt x="122" y="5"/>
                  </a:lnTo>
                  <a:lnTo>
                    <a:pt x="131" y="10"/>
                  </a:lnTo>
                  <a:lnTo>
                    <a:pt x="139" y="15"/>
                  </a:lnTo>
                  <a:lnTo>
                    <a:pt x="148" y="21"/>
                  </a:lnTo>
                  <a:lnTo>
                    <a:pt x="158" y="26"/>
                  </a:lnTo>
                  <a:lnTo>
                    <a:pt x="162" y="28"/>
                  </a:lnTo>
                  <a:lnTo>
                    <a:pt x="168" y="29"/>
                  </a:lnTo>
                  <a:lnTo>
                    <a:pt x="173" y="30"/>
                  </a:lnTo>
                  <a:lnTo>
                    <a:pt x="179" y="30"/>
                  </a:lnTo>
                  <a:lnTo>
                    <a:pt x="179" y="48"/>
                  </a:lnTo>
                  <a:lnTo>
                    <a:pt x="178" y="60"/>
                  </a:lnTo>
                  <a:lnTo>
                    <a:pt x="178" y="66"/>
                  </a:lnTo>
                  <a:lnTo>
                    <a:pt x="179" y="71"/>
                  </a:lnTo>
                  <a:lnTo>
                    <a:pt x="182" y="75"/>
                  </a:lnTo>
                  <a:lnTo>
                    <a:pt x="187" y="80"/>
                  </a:lnTo>
                  <a:lnTo>
                    <a:pt x="187" y="89"/>
                  </a:lnTo>
                  <a:lnTo>
                    <a:pt x="187" y="97"/>
                  </a:lnTo>
                  <a:lnTo>
                    <a:pt x="188" y="102"/>
                  </a:lnTo>
                  <a:lnTo>
                    <a:pt x="189" y="106"/>
                  </a:lnTo>
                  <a:lnTo>
                    <a:pt x="191" y="109"/>
                  </a:lnTo>
                  <a:lnTo>
                    <a:pt x="193" y="111"/>
                  </a:lnTo>
                  <a:lnTo>
                    <a:pt x="188" y="114"/>
                  </a:lnTo>
                  <a:lnTo>
                    <a:pt x="182" y="117"/>
                  </a:lnTo>
                  <a:lnTo>
                    <a:pt x="177" y="118"/>
                  </a:lnTo>
                  <a:lnTo>
                    <a:pt x="171" y="120"/>
                  </a:lnTo>
                  <a:lnTo>
                    <a:pt x="159" y="121"/>
                  </a:lnTo>
                  <a:lnTo>
                    <a:pt x="146" y="121"/>
                  </a:lnTo>
                  <a:lnTo>
                    <a:pt x="116" y="119"/>
                  </a:lnTo>
                  <a:lnTo>
                    <a:pt x="80" y="117"/>
                  </a:lnTo>
                  <a:lnTo>
                    <a:pt x="72" y="116"/>
                  </a:lnTo>
                  <a:lnTo>
                    <a:pt x="67" y="114"/>
                  </a:lnTo>
                  <a:lnTo>
                    <a:pt x="63" y="110"/>
                  </a:lnTo>
                  <a:lnTo>
                    <a:pt x="59" y="106"/>
                  </a:lnTo>
                  <a:lnTo>
                    <a:pt x="56" y="100"/>
                  </a:lnTo>
                  <a:lnTo>
                    <a:pt x="55" y="93"/>
                  </a:lnTo>
                  <a:lnTo>
                    <a:pt x="54" y="87"/>
                  </a:lnTo>
                  <a:lnTo>
                    <a:pt x="54" y="80"/>
                  </a:lnTo>
                  <a:lnTo>
                    <a:pt x="47" y="79"/>
                  </a:lnTo>
                  <a:lnTo>
                    <a:pt x="39" y="78"/>
                  </a:lnTo>
                  <a:lnTo>
                    <a:pt x="31" y="75"/>
                  </a:lnTo>
                  <a:lnTo>
                    <a:pt x="22" y="72"/>
                  </a:lnTo>
                  <a:lnTo>
                    <a:pt x="13" y="69"/>
                  </a:lnTo>
                  <a:lnTo>
                    <a:pt x="7" y="65"/>
                  </a:lnTo>
                  <a:lnTo>
                    <a:pt x="3" y="62"/>
                  </a:lnTo>
                  <a:lnTo>
                    <a:pt x="2" y="60"/>
                  </a:lnTo>
                  <a:lnTo>
                    <a:pt x="0" y="58"/>
                  </a:lnTo>
                  <a:lnTo>
                    <a:pt x="0" y="56"/>
                  </a:lnTo>
                  <a:lnTo>
                    <a:pt x="1" y="51"/>
                  </a:lnTo>
                  <a:lnTo>
                    <a:pt x="3" y="48"/>
                  </a:lnTo>
                  <a:lnTo>
                    <a:pt x="7" y="45"/>
                  </a:lnTo>
                  <a:lnTo>
                    <a:pt x="11" y="41"/>
                  </a:lnTo>
                  <a:lnTo>
                    <a:pt x="20" y="38"/>
                  </a:lnTo>
                  <a:lnTo>
                    <a:pt x="26" y="36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16" name="Freeform 338"/>
            <p:cNvSpPr>
              <a:spLocks/>
            </p:cNvSpPr>
            <p:nvPr>
              <p:custDataLst>
                <p:tags r:id="rId242"/>
              </p:custDataLst>
            </p:nvPr>
          </p:nvSpPr>
          <p:spPr bwMode="auto">
            <a:xfrm>
              <a:off x="9090632" y="4267652"/>
              <a:ext cx="165978" cy="229404"/>
            </a:xfrm>
            <a:custGeom>
              <a:avLst/>
              <a:gdLst>
                <a:gd name="T0" fmla="*/ 37 w 379"/>
                <a:gd name="T1" fmla="*/ 419 h 437"/>
                <a:gd name="T2" fmla="*/ 46 w 379"/>
                <a:gd name="T3" fmla="*/ 407 h 437"/>
                <a:gd name="T4" fmla="*/ 24 w 379"/>
                <a:gd name="T5" fmla="*/ 311 h 437"/>
                <a:gd name="T6" fmla="*/ 2 w 379"/>
                <a:gd name="T7" fmla="*/ 294 h 437"/>
                <a:gd name="T8" fmla="*/ 15 w 379"/>
                <a:gd name="T9" fmla="*/ 270 h 437"/>
                <a:gd name="T10" fmla="*/ 31 w 379"/>
                <a:gd name="T11" fmla="*/ 221 h 437"/>
                <a:gd name="T12" fmla="*/ 39 w 379"/>
                <a:gd name="T13" fmla="*/ 172 h 437"/>
                <a:gd name="T14" fmla="*/ 57 w 379"/>
                <a:gd name="T15" fmla="*/ 159 h 437"/>
                <a:gd name="T16" fmla="*/ 65 w 379"/>
                <a:gd name="T17" fmla="*/ 130 h 437"/>
                <a:gd name="T18" fmla="*/ 76 w 379"/>
                <a:gd name="T19" fmla="*/ 78 h 437"/>
                <a:gd name="T20" fmla="*/ 90 w 379"/>
                <a:gd name="T21" fmla="*/ 51 h 437"/>
                <a:gd name="T22" fmla="*/ 115 w 379"/>
                <a:gd name="T23" fmla="*/ 31 h 437"/>
                <a:gd name="T24" fmla="*/ 153 w 379"/>
                <a:gd name="T25" fmla="*/ 25 h 437"/>
                <a:gd name="T26" fmla="*/ 217 w 379"/>
                <a:gd name="T27" fmla="*/ 38 h 437"/>
                <a:gd name="T28" fmla="*/ 262 w 379"/>
                <a:gd name="T29" fmla="*/ 48 h 437"/>
                <a:gd name="T30" fmla="*/ 303 w 379"/>
                <a:gd name="T31" fmla="*/ 45 h 437"/>
                <a:gd name="T32" fmla="*/ 329 w 379"/>
                <a:gd name="T33" fmla="*/ 31 h 437"/>
                <a:gd name="T34" fmla="*/ 356 w 379"/>
                <a:gd name="T35" fmla="*/ 7 h 437"/>
                <a:gd name="T36" fmla="*/ 374 w 379"/>
                <a:gd name="T37" fmla="*/ 9 h 437"/>
                <a:gd name="T38" fmla="*/ 372 w 379"/>
                <a:gd name="T39" fmla="*/ 35 h 437"/>
                <a:gd name="T40" fmla="*/ 329 w 379"/>
                <a:gd name="T41" fmla="*/ 80 h 437"/>
                <a:gd name="T42" fmla="*/ 292 w 379"/>
                <a:gd name="T43" fmla="*/ 97 h 437"/>
                <a:gd name="T44" fmla="*/ 271 w 379"/>
                <a:gd name="T45" fmla="*/ 94 h 437"/>
                <a:gd name="T46" fmla="*/ 238 w 379"/>
                <a:gd name="T47" fmla="*/ 69 h 437"/>
                <a:gd name="T48" fmla="*/ 212 w 379"/>
                <a:gd name="T49" fmla="*/ 56 h 437"/>
                <a:gd name="T50" fmla="*/ 177 w 379"/>
                <a:gd name="T51" fmla="*/ 56 h 437"/>
                <a:gd name="T52" fmla="*/ 138 w 379"/>
                <a:gd name="T53" fmla="*/ 61 h 437"/>
                <a:gd name="T54" fmla="*/ 114 w 379"/>
                <a:gd name="T55" fmla="*/ 79 h 437"/>
                <a:gd name="T56" fmla="*/ 79 w 379"/>
                <a:gd name="T57" fmla="*/ 161 h 437"/>
                <a:gd name="T58" fmla="*/ 119 w 379"/>
                <a:gd name="T59" fmla="*/ 169 h 437"/>
                <a:gd name="T60" fmla="*/ 133 w 379"/>
                <a:gd name="T61" fmla="*/ 191 h 437"/>
                <a:gd name="T62" fmla="*/ 155 w 379"/>
                <a:gd name="T63" fmla="*/ 168 h 437"/>
                <a:gd name="T64" fmla="*/ 172 w 379"/>
                <a:gd name="T65" fmla="*/ 153 h 437"/>
                <a:gd name="T66" fmla="*/ 221 w 379"/>
                <a:gd name="T67" fmla="*/ 150 h 437"/>
                <a:gd name="T68" fmla="*/ 250 w 379"/>
                <a:gd name="T69" fmla="*/ 147 h 437"/>
                <a:gd name="T70" fmla="*/ 273 w 379"/>
                <a:gd name="T71" fmla="*/ 173 h 437"/>
                <a:gd name="T72" fmla="*/ 279 w 379"/>
                <a:gd name="T73" fmla="*/ 203 h 437"/>
                <a:gd name="T74" fmla="*/ 246 w 379"/>
                <a:gd name="T75" fmla="*/ 192 h 437"/>
                <a:gd name="T76" fmla="*/ 218 w 379"/>
                <a:gd name="T77" fmla="*/ 185 h 437"/>
                <a:gd name="T78" fmla="*/ 192 w 379"/>
                <a:gd name="T79" fmla="*/ 195 h 437"/>
                <a:gd name="T80" fmla="*/ 186 w 379"/>
                <a:gd name="T81" fmla="*/ 209 h 437"/>
                <a:gd name="T82" fmla="*/ 192 w 379"/>
                <a:gd name="T83" fmla="*/ 233 h 437"/>
                <a:gd name="T84" fmla="*/ 220 w 379"/>
                <a:gd name="T85" fmla="*/ 272 h 437"/>
                <a:gd name="T86" fmla="*/ 225 w 379"/>
                <a:gd name="T87" fmla="*/ 296 h 437"/>
                <a:gd name="T88" fmla="*/ 215 w 379"/>
                <a:gd name="T89" fmla="*/ 322 h 437"/>
                <a:gd name="T90" fmla="*/ 205 w 379"/>
                <a:gd name="T91" fmla="*/ 345 h 437"/>
                <a:gd name="T92" fmla="*/ 210 w 379"/>
                <a:gd name="T93" fmla="*/ 356 h 437"/>
                <a:gd name="T94" fmla="*/ 236 w 379"/>
                <a:gd name="T95" fmla="*/ 368 h 437"/>
                <a:gd name="T96" fmla="*/ 252 w 379"/>
                <a:gd name="T97" fmla="*/ 400 h 437"/>
                <a:gd name="T98" fmla="*/ 239 w 379"/>
                <a:gd name="T99" fmla="*/ 429 h 437"/>
                <a:gd name="T100" fmla="*/ 221 w 379"/>
                <a:gd name="T101" fmla="*/ 421 h 437"/>
                <a:gd name="T102" fmla="*/ 202 w 379"/>
                <a:gd name="T103" fmla="*/ 417 h 437"/>
                <a:gd name="T104" fmla="*/ 177 w 379"/>
                <a:gd name="T105" fmla="*/ 400 h 437"/>
                <a:gd name="T106" fmla="*/ 153 w 379"/>
                <a:gd name="T107" fmla="*/ 356 h 437"/>
                <a:gd name="T108" fmla="*/ 137 w 379"/>
                <a:gd name="T109" fmla="*/ 304 h 437"/>
                <a:gd name="T110" fmla="*/ 114 w 379"/>
                <a:gd name="T111" fmla="*/ 263 h 437"/>
                <a:gd name="T112" fmla="*/ 97 w 379"/>
                <a:gd name="T113" fmla="*/ 259 h 437"/>
                <a:gd name="T114" fmla="*/ 105 w 379"/>
                <a:gd name="T115" fmla="*/ 381 h 437"/>
                <a:gd name="T116" fmla="*/ 93 w 379"/>
                <a:gd name="T117" fmla="*/ 404 h 437"/>
                <a:gd name="T118" fmla="*/ 57 w 379"/>
                <a:gd name="T119" fmla="*/ 426 h 437"/>
                <a:gd name="T120" fmla="*/ 59 w 379"/>
                <a:gd name="T121" fmla="*/ 437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9" h="437">
                  <a:moveTo>
                    <a:pt x="59" y="437"/>
                  </a:moveTo>
                  <a:lnTo>
                    <a:pt x="33" y="437"/>
                  </a:lnTo>
                  <a:lnTo>
                    <a:pt x="34" y="430"/>
                  </a:lnTo>
                  <a:lnTo>
                    <a:pt x="37" y="419"/>
                  </a:lnTo>
                  <a:lnTo>
                    <a:pt x="38" y="415"/>
                  </a:lnTo>
                  <a:lnTo>
                    <a:pt x="41" y="410"/>
                  </a:lnTo>
                  <a:lnTo>
                    <a:pt x="44" y="408"/>
                  </a:lnTo>
                  <a:lnTo>
                    <a:pt x="46" y="407"/>
                  </a:lnTo>
                  <a:lnTo>
                    <a:pt x="46" y="320"/>
                  </a:lnTo>
                  <a:lnTo>
                    <a:pt x="38" y="317"/>
                  </a:lnTo>
                  <a:lnTo>
                    <a:pt x="32" y="314"/>
                  </a:lnTo>
                  <a:lnTo>
                    <a:pt x="24" y="311"/>
                  </a:lnTo>
                  <a:lnTo>
                    <a:pt x="18" y="307"/>
                  </a:lnTo>
                  <a:lnTo>
                    <a:pt x="12" y="303"/>
                  </a:lnTo>
                  <a:lnTo>
                    <a:pt x="7" y="299"/>
                  </a:lnTo>
                  <a:lnTo>
                    <a:pt x="2" y="294"/>
                  </a:lnTo>
                  <a:lnTo>
                    <a:pt x="0" y="290"/>
                  </a:lnTo>
                  <a:lnTo>
                    <a:pt x="5" y="284"/>
                  </a:lnTo>
                  <a:lnTo>
                    <a:pt x="11" y="278"/>
                  </a:lnTo>
                  <a:lnTo>
                    <a:pt x="15" y="270"/>
                  </a:lnTo>
                  <a:lnTo>
                    <a:pt x="19" y="264"/>
                  </a:lnTo>
                  <a:lnTo>
                    <a:pt x="24" y="250"/>
                  </a:lnTo>
                  <a:lnTo>
                    <a:pt x="28" y="236"/>
                  </a:lnTo>
                  <a:lnTo>
                    <a:pt x="31" y="221"/>
                  </a:lnTo>
                  <a:lnTo>
                    <a:pt x="32" y="204"/>
                  </a:lnTo>
                  <a:lnTo>
                    <a:pt x="33" y="189"/>
                  </a:lnTo>
                  <a:lnTo>
                    <a:pt x="33" y="173"/>
                  </a:lnTo>
                  <a:lnTo>
                    <a:pt x="39" y="172"/>
                  </a:lnTo>
                  <a:lnTo>
                    <a:pt x="45" y="170"/>
                  </a:lnTo>
                  <a:lnTo>
                    <a:pt x="50" y="168"/>
                  </a:lnTo>
                  <a:lnTo>
                    <a:pt x="54" y="164"/>
                  </a:lnTo>
                  <a:lnTo>
                    <a:pt x="57" y="159"/>
                  </a:lnTo>
                  <a:lnTo>
                    <a:pt x="59" y="154"/>
                  </a:lnTo>
                  <a:lnTo>
                    <a:pt x="61" y="149"/>
                  </a:lnTo>
                  <a:lnTo>
                    <a:pt x="63" y="143"/>
                  </a:lnTo>
                  <a:lnTo>
                    <a:pt x="65" y="130"/>
                  </a:lnTo>
                  <a:lnTo>
                    <a:pt x="66" y="115"/>
                  </a:lnTo>
                  <a:lnTo>
                    <a:pt x="69" y="100"/>
                  </a:lnTo>
                  <a:lnTo>
                    <a:pt x="72" y="86"/>
                  </a:lnTo>
                  <a:lnTo>
                    <a:pt x="76" y="78"/>
                  </a:lnTo>
                  <a:lnTo>
                    <a:pt x="78" y="71"/>
                  </a:lnTo>
                  <a:lnTo>
                    <a:pt x="81" y="64"/>
                  </a:lnTo>
                  <a:lnTo>
                    <a:pt x="86" y="57"/>
                  </a:lnTo>
                  <a:lnTo>
                    <a:pt x="90" y="51"/>
                  </a:lnTo>
                  <a:lnTo>
                    <a:pt x="95" y="44"/>
                  </a:lnTo>
                  <a:lnTo>
                    <a:pt x="101" y="39"/>
                  </a:lnTo>
                  <a:lnTo>
                    <a:pt x="108" y="35"/>
                  </a:lnTo>
                  <a:lnTo>
                    <a:pt x="115" y="31"/>
                  </a:lnTo>
                  <a:lnTo>
                    <a:pt x="123" y="29"/>
                  </a:lnTo>
                  <a:lnTo>
                    <a:pt x="132" y="27"/>
                  </a:lnTo>
                  <a:lnTo>
                    <a:pt x="142" y="25"/>
                  </a:lnTo>
                  <a:lnTo>
                    <a:pt x="153" y="25"/>
                  </a:lnTo>
                  <a:lnTo>
                    <a:pt x="165" y="26"/>
                  </a:lnTo>
                  <a:lnTo>
                    <a:pt x="178" y="28"/>
                  </a:lnTo>
                  <a:lnTo>
                    <a:pt x="192" y="30"/>
                  </a:lnTo>
                  <a:lnTo>
                    <a:pt x="217" y="38"/>
                  </a:lnTo>
                  <a:lnTo>
                    <a:pt x="237" y="44"/>
                  </a:lnTo>
                  <a:lnTo>
                    <a:pt x="246" y="46"/>
                  </a:lnTo>
                  <a:lnTo>
                    <a:pt x="254" y="47"/>
                  </a:lnTo>
                  <a:lnTo>
                    <a:pt x="262" y="48"/>
                  </a:lnTo>
                  <a:lnTo>
                    <a:pt x="272" y="50"/>
                  </a:lnTo>
                  <a:lnTo>
                    <a:pt x="283" y="48"/>
                  </a:lnTo>
                  <a:lnTo>
                    <a:pt x="294" y="47"/>
                  </a:lnTo>
                  <a:lnTo>
                    <a:pt x="303" y="45"/>
                  </a:lnTo>
                  <a:lnTo>
                    <a:pt x="311" y="42"/>
                  </a:lnTo>
                  <a:lnTo>
                    <a:pt x="317" y="39"/>
                  </a:lnTo>
                  <a:lnTo>
                    <a:pt x="324" y="35"/>
                  </a:lnTo>
                  <a:lnTo>
                    <a:pt x="329" y="31"/>
                  </a:lnTo>
                  <a:lnTo>
                    <a:pt x="334" y="27"/>
                  </a:lnTo>
                  <a:lnTo>
                    <a:pt x="343" y="18"/>
                  </a:lnTo>
                  <a:lnTo>
                    <a:pt x="351" y="10"/>
                  </a:lnTo>
                  <a:lnTo>
                    <a:pt x="356" y="7"/>
                  </a:lnTo>
                  <a:lnTo>
                    <a:pt x="360" y="4"/>
                  </a:lnTo>
                  <a:lnTo>
                    <a:pt x="366" y="2"/>
                  </a:lnTo>
                  <a:lnTo>
                    <a:pt x="371" y="0"/>
                  </a:lnTo>
                  <a:lnTo>
                    <a:pt x="374" y="9"/>
                  </a:lnTo>
                  <a:lnTo>
                    <a:pt x="379" y="18"/>
                  </a:lnTo>
                  <a:lnTo>
                    <a:pt x="378" y="23"/>
                  </a:lnTo>
                  <a:lnTo>
                    <a:pt x="375" y="29"/>
                  </a:lnTo>
                  <a:lnTo>
                    <a:pt x="372" y="35"/>
                  </a:lnTo>
                  <a:lnTo>
                    <a:pt x="369" y="41"/>
                  </a:lnTo>
                  <a:lnTo>
                    <a:pt x="358" y="55"/>
                  </a:lnTo>
                  <a:lnTo>
                    <a:pt x="344" y="68"/>
                  </a:lnTo>
                  <a:lnTo>
                    <a:pt x="329" y="80"/>
                  </a:lnTo>
                  <a:lnTo>
                    <a:pt x="314" y="89"/>
                  </a:lnTo>
                  <a:lnTo>
                    <a:pt x="306" y="93"/>
                  </a:lnTo>
                  <a:lnTo>
                    <a:pt x="299" y="96"/>
                  </a:lnTo>
                  <a:lnTo>
                    <a:pt x="292" y="97"/>
                  </a:lnTo>
                  <a:lnTo>
                    <a:pt x="285" y="98"/>
                  </a:lnTo>
                  <a:lnTo>
                    <a:pt x="280" y="98"/>
                  </a:lnTo>
                  <a:lnTo>
                    <a:pt x="276" y="96"/>
                  </a:lnTo>
                  <a:lnTo>
                    <a:pt x="271" y="94"/>
                  </a:lnTo>
                  <a:lnTo>
                    <a:pt x="266" y="91"/>
                  </a:lnTo>
                  <a:lnTo>
                    <a:pt x="257" y="85"/>
                  </a:lnTo>
                  <a:lnTo>
                    <a:pt x="248" y="77"/>
                  </a:lnTo>
                  <a:lnTo>
                    <a:pt x="238" y="69"/>
                  </a:lnTo>
                  <a:lnTo>
                    <a:pt x="228" y="62"/>
                  </a:lnTo>
                  <a:lnTo>
                    <a:pt x="223" y="60"/>
                  </a:lnTo>
                  <a:lnTo>
                    <a:pt x="217" y="57"/>
                  </a:lnTo>
                  <a:lnTo>
                    <a:pt x="212" y="56"/>
                  </a:lnTo>
                  <a:lnTo>
                    <a:pt x="205" y="56"/>
                  </a:lnTo>
                  <a:lnTo>
                    <a:pt x="199" y="56"/>
                  </a:lnTo>
                  <a:lnTo>
                    <a:pt x="190" y="56"/>
                  </a:lnTo>
                  <a:lnTo>
                    <a:pt x="177" y="56"/>
                  </a:lnTo>
                  <a:lnTo>
                    <a:pt x="159" y="56"/>
                  </a:lnTo>
                  <a:lnTo>
                    <a:pt x="151" y="56"/>
                  </a:lnTo>
                  <a:lnTo>
                    <a:pt x="145" y="58"/>
                  </a:lnTo>
                  <a:lnTo>
                    <a:pt x="138" y="61"/>
                  </a:lnTo>
                  <a:lnTo>
                    <a:pt x="132" y="64"/>
                  </a:lnTo>
                  <a:lnTo>
                    <a:pt x="125" y="69"/>
                  </a:lnTo>
                  <a:lnTo>
                    <a:pt x="120" y="74"/>
                  </a:lnTo>
                  <a:lnTo>
                    <a:pt x="114" y="79"/>
                  </a:lnTo>
                  <a:lnTo>
                    <a:pt x="109" y="85"/>
                  </a:lnTo>
                  <a:lnTo>
                    <a:pt x="92" y="110"/>
                  </a:lnTo>
                  <a:lnTo>
                    <a:pt x="79" y="129"/>
                  </a:lnTo>
                  <a:lnTo>
                    <a:pt x="79" y="161"/>
                  </a:lnTo>
                  <a:lnTo>
                    <a:pt x="91" y="161"/>
                  </a:lnTo>
                  <a:lnTo>
                    <a:pt x="102" y="163"/>
                  </a:lnTo>
                  <a:lnTo>
                    <a:pt x="111" y="165"/>
                  </a:lnTo>
                  <a:lnTo>
                    <a:pt x="119" y="169"/>
                  </a:lnTo>
                  <a:lnTo>
                    <a:pt x="124" y="173"/>
                  </a:lnTo>
                  <a:lnTo>
                    <a:pt x="128" y="178"/>
                  </a:lnTo>
                  <a:lnTo>
                    <a:pt x="132" y="184"/>
                  </a:lnTo>
                  <a:lnTo>
                    <a:pt x="133" y="191"/>
                  </a:lnTo>
                  <a:lnTo>
                    <a:pt x="139" y="186"/>
                  </a:lnTo>
                  <a:lnTo>
                    <a:pt x="145" y="180"/>
                  </a:lnTo>
                  <a:lnTo>
                    <a:pt x="150" y="174"/>
                  </a:lnTo>
                  <a:lnTo>
                    <a:pt x="155" y="168"/>
                  </a:lnTo>
                  <a:lnTo>
                    <a:pt x="159" y="163"/>
                  </a:lnTo>
                  <a:lnTo>
                    <a:pt x="164" y="157"/>
                  </a:lnTo>
                  <a:lnTo>
                    <a:pt x="168" y="155"/>
                  </a:lnTo>
                  <a:lnTo>
                    <a:pt x="172" y="153"/>
                  </a:lnTo>
                  <a:lnTo>
                    <a:pt x="184" y="150"/>
                  </a:lnTo>
                  <a:lnTo>
                    <a:pt x="196" y="149"/>
                  </a:lnTo>
                  <a:lnTo>
                    <a:pt x="209" y="149"/>
                  </a:lnTo>
                  <a:lnTo>
                    <a:pt x="221" y="150"/>
                  </a:lnTo>
                  <a:lnTo>
                    <a:pt x="232" y="150"/>
                  </a:lnTo>
                  <a:lnTo>
                    <a:pt x="242" y="149"/>
                  </a:lnTo>
                  <a:lnTo>
                    <a:pt x="246" y="148"/>
                  </a:lnTo>
                  <a:lnTo>
                    <a:pt x="250" y="147"/>
                  </a:lnTo>
                  <a:lnTo>
                    <a:pt x="255" y="144"/>
                  </a:lnTo>
                  <a:lnTo>
                    <a:pt x="259" y="141"/>
                  </a:lnTo>
                  <a:lnTo>
                    <a:pt x="268" y="158"/>
                  </a:lnTo>
                  <a:lnTo>
                    <a:pt x="273" y="173"/>
                  </a:lnTo>
                  <a:lnTo>
                    <a:pt x="276" y="179"/>
                  </a:lnTo>
                  <a:lnTo>
                    <a:pt x="278" y="187"/>
                  </a:lnTo>
                  <a:lnTo>
                    <a:pt x="278" y="194"/>
                  </a:lnTo>
                  <a:lnTo>
                    <a:pt x="279" y="203"/>
                  </a:lnTo>
                  <a:lnTo>
                    <a:pt x="268" y="200"/>
                  </a:lnTo>
                  <a:lnTo>
                    <a:pt x="259" y="198"/>
                  </a:lnTo>
                  <a:lnTo>
                    <a:pt x="252" y="195"/>
                  </a:lnTo>
                  <a:lnTo>
                    <a:pt x="246" y="192"/>
                  </a:lnTo>
                  <a:lnTo>
                    <a:pt x="240" y="189"/>
                  </a:lnTo>
                  <a:lnTo>
                    <a:pt x="235" y="187"/>
                  </a:lnTo>
                  <a:lnTo>
                    <a:pt x="227" y="185"/>
                  </a:lnTo>
                  <a:lnTo>
                    <a:pt x="218" y="185"/>
                  </a:lnTo>
                  <a:lnTo>
                    <a:pt x="210" y="186"/>
                  </a:lnTo>
                  <a:lnTo>
                    <a:pt x="202" y="188"/>
                  </a:lnTo>
                  <a:lnTo>
                    <a:pt x="196" y="191"/>
                  </a:lnTo>
                  <a:lnTo>
                    <a:pt x="192" y="195"/>
                  </a:lnTo>
                  <a:lnTo>
                    <a:pt x="189" y="199"/>
                  </a:lnTo>
                  <a:lnTo>
                    <a:pt x="187" y="203"/>
                  </a:lnTo>
                  <a:lnTo>
                    <a:pt x="186" y="206"/>
                  </a:lnTo>
                  <a:lnTo>
                    <a:pt x="186" y="209"/>
                  </a:lnTo>
                  <a:lnTo>
                    <a:pt x="186" y="215"/>
                  </a:lnTo>
                  <a:lnTo>
                    <a:pt x="188" y="223"/>
                  </a:lnTo>
                  <a:lnTo>
                    <a:pt x="189" y="228"/>
                  </a:lnTo>
                  <a:lnTo>
                    <a:pt x="192" y="233"/>
                  </a:lnTo>
                  <a:lnTo>
                    <a:pt x="198" y="243"/>
                  </a:lnTo>
                  <a:lnTo>
                    <a:pt x="205" y="252"/>
                  </a:lnTo>
                  <a:lnTo>
                    <a:pt x="213" y="261"/>
                  </a:lnTo>
                  <a:lnTo>
                    <a:pt x="220" y="272"/>
                  </a:lnTo>
                  <a:lnTo>
                    <a:pt x="222" y="277"/>
                  </a:lnTo>
                  <a:lnTo>
                    <a:pt x="224" y="283"/>
                  </a:lnTo>
                  <a:lnTo>
                    <a:pt x="225" y="289"/>
                  </a:lnTo>
                  <a:lnTo>
                    <a:pt x="225" y="296"/>
                  </a:lnTo>
                  <a:lnTo>
                    <a:pt x="225" y="302"/>
                  </a:lnTo>
                  <a:lnTo>
                    <a:pt x="222" y="309"/>
                  </a:lnTo>
                  <a:lnTo>
                    <a:pt x="220" y="316"/>
                  </a:lnTo>
                  <a:lnTo>
                    <a:pt x="215" y="322"/>
                  </a:lnTo>
                  <a:lnTo>
                    <a:pt x="212" y="329"/>
                  </a:lnTo>
                  <a:lnTo>
                    <a:pt x="209" y="335"/>
                  </a:lnTo>
                  <a:lnTo>
                    <a:pt x="206" y="340"/>
                  </a:lnTo>
                  <a:lnTo>
                    <a:pt x="205" y="345"/>
                  </a:lnTo>
                  <a:lnTo>
                    <a:pt x="205" y="348"/>
                  </a:lnTo>
                  <a:lnTo>
                    <a:pt x="206" y="351"/>
                  </a:lnTo>
                  <a:lnTo>
                    <a:pt x="209" y="354"/>
                  </a:lnTo>
                  <a:lnTo>
                    <a:pt x="210" y="356"/>
                  </a:lnTo>
                  <a:lnTo>
                    <a:pt x="215" y="361"/>
                  </a:lnTo>
                  <a:lnTo>
                    <a:pt x="222" y="364"/>
                  </a:lnTo>
                  <a:lnTo>
                    <a:pt x="228" y="366"/>
                  </a:lnTo>
                  <a:lnTo>
                    <a:pt x="236" y="368"/>
                  </a:lnTo>
                  <a:lnTo>
                    <a:pt x="244" y="369"/>
                  </a:lnTo>
                  <a:lnTo>
                    <a:pt x="252" y="369"/>
                  </a:lnTo>
                  <a:lnTo>
                    <a:pt x="252" y="390"/>
                  </a:lnTo>
                  <a:lnTo>
                    <a:pt x="252" y="400"/>
                  </a:lnTo>
                  <a:lnTo>
                    <a:pt x="252" y="411"/>
                  </a:lnTo>
                  <a:lnTo>
                    <a:pt x="252" y="431"/>
                  </a:lnTo>
                  <a:lnTo>
                    <a:pt x="245" y="430"/>
                  </a:lnTo>
                  <a:lnTo>
                    <a:pt x="239" y="429"/>
                  </a:lnTo>
                  <a:lnTo>
                    <a:pt x="234" y="427"/>
                  </a:lnTo>
                  <a:lnTo>
                    <a:pt x="229" y="425"/>
                  </a:lnTo>
                  <a:lnTo>
                    <a:pt x="225" y="423"/>
                  </a:lnTo>
                  <a:lnTo>
                    <a:pt x="221" y="421"/>
                  </a:lnTo>
                  <a:lnTo>
                    <a:pt x="217" y="419"/>
                  </a:lnTo>
                  <a:lnTo>
                    <a:pt x="212" y="419"/>
                  </a:lnTo>
                  <a:lnTo>
                    <a:pt x="207" y="418"/>
                  </a:lnTo>
                  <a:lnTo>
                    <a:pt x="202" y="417"/>
                  </a:lnTo>
                  <a:lnTo>
                    <a:pt x="198" y="416"/>
                  </a:lnTo>
                  <a:lnTo>
                    <a:pt x="193" y="414"/>
                  </a:lnTo>
                  <a:lnTo>
                    <a:pt x="186" y="408"/>
                  </a:lnTo>
                  <a:lnTo>
                    <a:pt x="177" y="400"/>
                  </a:lnTo>
                  <a:lnTo>
                    <a:pt x="170" y="391"/>
                  </a:lnTo>
                  <a:lnTo>
                    <a:pt x="164" y="379"/>
                  </a:lnTo>
                  <a:lnTo>
                    <a:pt x="158" y="368"/>
                  </a:lnTo>
                  <a:lnTo>
                    <a:pt x="153" y="356"/>
                  </a:lnTo>
                  <a:lnTo>
                    <a:pt x="148" y="343"/>
                  </a:lnTo>
                  <a:lnTo>
                    <a:pt x="144" y="330"/>
                  </a:lnTo>
                  <a:lnTo>
                    <a:pt x="140" y="317"/>
                  </a:lnTo>
                  <a:lnTo>
                    <a:pt x="137" y="304"/>
                  </a:lnTo>
                  <a:lnTo>
                    <a:pt x="134" y="282"/>
                  </a:lnTo>
                  <a:lnTo>
                    <a:pt x="133" y="264"/>
                  </a:lnTo>
                  <a:lnTo>
                    <a:pt x="122" y="264"/>
                  </a:lnTo>
                  <a:lnTo>
                    <a:pt x="114" y="263"/>
                  </a:lnTo>
                  <a:lnTo>
                    <a:pt x="109" y="261"/>
                  </a:lnTo>
                  <a:lnTo>
                    <a:pt x="104" y="260"/>
                  </a:lnTo>
                  <a:lnTo>
                    <a:pt x="101" y="259"/>
                  </a:lnTo>
                  <a:lnTo>
                    <a:pt x="97" y="259"/>
                  </a:lnTo>
                  <a:lnTo>
                    <a:pt x="92" y="261"/>
                  </a:lnTo>
                  <a:lnTo>
                    <a:pt x="86" y="264"/>
                  </a:lnTo>
                  <a:lnTo>
                    <a:pt x="86" y="296"/>
                  </a:lnTo>
                  <a:lnTo>
                    <a:pt x="105" y="381"/>
                  </a:lnTo>
                  <a:lnTo>
                    <a:pt x="104" y="389"/>
                  </a:lnTo>
                  <a:lnTo>
                    <a:pt x="101" y="394"/>
                  </a:lnTo>
                  <a:lnTo>
                    <a:pt x="98" y="399"/>
                  </a:lnTo>
                  <a:lnTo>
                    <a:pt x="93" y="404"/>
                  </a:lnTo>
                  <a:lnTo>
                    <a:pt x="83" y="411"/>
                  </a:lnTo>
                  <a:lnTo>
                    <a:pt x="72" y="416"/>
                  </a:lnTo>
                  <a:lnTo>
                    <a:pt x="64" y="421"/>
                  </a:lnTo>
                  <a:lnTo>
                    <a:pt x="57" y="426"/>
                  </a:lnTo>
                  <a:lnTo>
                    <a:pt x="56" y="428"/>
                  </a:lnTo>
                  <a:lnTo>
                    <a:pt x="55" y="431"/>
                  </a:lnTo>
                  <a:lnTo>
                    <a:pt x="56" y="434"/>
                  </a:lnTo>
                  <a:lnTo>
                    <a:pt x="59" y="437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17" name="Freeform 339"/>
            <p:cNvSpPr>
              <a:spLocks/>
            </p:cNvSpPr>
            <p:nvPr>
              <p:custDataLst>
                <p:tags r:id="rId243"/>
              </p:custDataLst>
            </p:nvPr>
          </p:nvSpPr>
          <p:spPr bwMode="auto">
            <a:xfrm>
              <a:off x="8755484" y="4508864"/>
              <a:ext cx="250563" cy="96148"/>
            </a:xfrm>
            <a:custGeom>
              <a:avLst/>
              <a:gdLst>
                <a:gd name="T0" fmla="*/ 11 w 578"/>
                <a:gd name="T1" fmla="*/ 50 h 184"/>
                <a:gd name="T2" fmla="*/ 24 w 578"/>
                <a:gd name="T3" fmla="*/ 32 h 184"/>
                <a:gd name="T4" fmla="*/ 41 w 578"/>
                <a:gd name="T5" fmla="*/ 7 h 184"/>
                <a:gd name="T6" fmla="*/ 54 w 578"/>
                <a:gd name="T7" fmla="*/ 0 h 184"/>
                <a:gd name="T8" fmla="*/ 79 w 578"/>
                <a:gd name="T9" fmla="*/ 2 h 184"/>
                <a:gd name="T10" fmla="*/ 95 w 578"/>
                <a:gd name="T11" fmla="*/ 2 h 184"/>
                <a:gd name="T12" fmla="*/ 101 w 578"/>
                <a:gd name="T13" fmla="*/ 5 h 184"/>
                <a:gd name="T14" fmla="*/ 115 w 578"/>
                <a:gd name="T15" fmla="*/ 15 h 184"/>
                <a:gd name="T16" fmla="*/ 147 w 578"/>
                <a:gd name="T17" fmla="*/ 27 h 184"/>
                <a:gd name="T18" fmla="*/ 168 w 578"/>
                <a:gd name="T19" fmla="*/ 37 h 184"/>
                <a:gd name="T20" fmla="*/ 178 w 578"/>
                <a:gd name="T21" fmla="*/ 53 h 184"/>
                <a:gd name="T22" fmla="*/ 192 w 578"/>
                <a:gd name="T23" fmla="*/ 61 h 184"/>
                <a:gd name="T24" fmla="*/ 231 w 578"/>
                <a:gd name="T25" fmla="*/ 60 h 184"/>
                <a:gd name="T26" fmla="*/ 277 w 578"/>
                <a:gd name="T27" fmla="*/ 51 h 184"/>
                <a:gd name="T28" fmla="*/ 299 w 578"/>
                <a:gd name="T29" fmla="*/ 39 h 184"/>
                <a:gd name="T30" fmla="*/ 314 w 578"/>
                <a:gd name="T31" fmla="*/ 34 h 184"/>
                <a:gd name="T32" fmla="*/ 327 w 578"/>
                <a:gd name="T33" fmla="*/ 35 h 184"/>
                <a:gd name="T34" fmla="*/ 339 w 578"/>
                <a:gd name="T35" fmla="*/ 31 h 184"/>
                <a:gd name="T36" fmla="*/ 366 w 578"/>
                <a:gd name="T37" fmla="*/ 34 h 184"/>
                <a:gd name="T38" fmla="*/ 399 w 578"/>
                <a:gd name="T39" fmla="*/ 59 h 184"/>
                <a:gd name="T40" fmla="*/ 428 w 578"/>
                <a:gd name="T41" fmla="*/ 89 h 184"/>
                <a:gd name="T42" fmla="*/ 456 w 578"/>
                <a:gd name="T43" fmla="*/ 105 h 184"/>
                <a:gd name="T44" fmla="*/ 479 w 578"/>
                <a:gd name="T45" fmla="*/ 107 h 184"/>
                <a:gd name="T46" fmla="*/ 493 w 578"/>
                <a:gd name="T47" fmla="*/ 108 h 184"/>
                <a:gd name="T48" fmla="*/ 505 w 578"/>
                <a:gd name="T49" fmla="*/ 125 h 184"/>
                <a:gd name="T50" fmla="*/ 522 w 578"/>
                <a:gd name="T51" fmla="*/ 140 h 184"/>
                <a:gd name="T52" fmla="*/ 534 w 578"/>
                <a:gd name="T53" fmla="*/ 139 h 184"/>
                <a:gd name="T54" fmla="*/ 546 w 578"/>
                <a:gd name="T55" fmla="*/ 128 h 184"/>
                <a:gd name="T56" fmla="*/ 558 w 578"/>
                <a:gd name="T57" fmla="*/ 134 h 184"/>
                <a:gd name="T58" fmla="*/ 571 w 578"/>
                <a:gd name="T59" fmla="*/ 145 h 184"/>
                <a:gd name="T60" fmla="*/ 578 w 578"/>
                <a:gd name="T61" fmla="*/ 160 h 184"/>
                <a:gd name="T62" fmla="*/ 575 w 578"/>
                <a:gd name="T63" fmla="*/ 173 h 184"/>
                <a:gd name="T64" fmla="*/ 567 w 578"/>
                <a:gd name="T65" fmla="*/ 182 h 184"/>
                <a:gd name="T66" fmla="*/ 551 w 578"/>
                <a:gd name="T67" fmla="*/ 178 h 184"/>
                <a:gd name="T68" fmla="*/ 526 w 578"/>
                <a:gd name="T69" fmla="*/ 170 h 184"/>
                <a:gd name="T70" fmla="*/ 491 w 578"/>
                <a:gd name="T71" fmla="*/ 172 h 184"/>
                <a:gd name="T72" fmla="*/ 462 w 578"/>
                <a:gd name="T73" fmla="*/ 170 h 184"/>
                <a:gd name="T74" fmla="*/ 451 w 578"/>
                <a:gd name="T75" fmla="*/ 160 h 184"/>
                <a:gd name="T76" fmla="*/ 438 w 578"/>
                <a:gd name="T77" fmla="*/ 154 h 184"/>
                <a:gd name="T78" fmla="*/ 426 w 578"/>
                <a:gd name="T79" fmla="*/ 160 h 184"/>
                <a:gd name="T80" fmla="*/ 416 w 578"/>
                <a:gd name="T81" fmla="*/ 170 h 184"/>
                <a:gd name="T82" fmla="*/ 398 w 578"/>
                <a:gd name="T83" fmla="*/ 171 h 184"/>
                <a:gd name="T84" fmla="*/ 328 w 578"/>
                <a:gd name="T85" fmla="*/ 153 h 184"/>
                <a:gd name="T86" fmla="*/ 277 w 578"/>
                <a:gd name="T87" fmla="*/ 132 h 184"/>
                <a:gd name="T88" fmla="*/ 266 w 578"/>
                <a:gd name="T89" fmla="*/ 123 h 184"/>
                <a:gd name="T90" fmla="*/ 230 w 578"/>
                <a:gd name="T91" fmla="*/ 119 h 184"/>
                <a:gd name="T92" fmla="*/ 201 w 578"/>
                <a:gd name="T93" fmla="*/ 113 h 184"/>
                <a:gd name="T94" fmla="*/ 168 w 578"/>
                <a:gd name="T95" fmla="*/ 111 h 184"/>
                <a:gd name="T96" fmla="*/ 146 w 578"/>
                <a:gd name="T97" fmla="*/ 111 h 184"/>
                <a:gd name="T98" fmla="*/ 124 w 578"/>
                <a:gd name="T99" fmla="*/ 105 h 184"/>
                <a:gd name="T100" fmla="*/ 120 w 578"/>
                <a:gd name="T101" fmla="*/ 99 h 184"/>
                <a:gd name="T102" fmla="*/ 69 w 578"/>
                <a:gd name="T103" fmla="*/ 97 h 184"/>
                <a:gd name="T104" fmla="*/ 46 w 578"/>
                <a:gd name="T105" fmla="*/ 88 h 184"/>
                <a:gd name="T106" fmla="*/ 0 w 578"/>
                <a:gd name="T107" fmla="*/ 55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8" h="184">
                  <a:moveTo>
                    <a:pt x="0" y="55"/>
                  </a:moveTo>
                  <a:lnTo>
                    <a:pt x="6" y="53"/>
                  </a:lnTo>
                  <a:lnTo>
                    <a:pt x="11" y="50"/>
                  </a:lnTo>
                  <a:lnTo>
                    <a:pt x="14" y="46"/>
                  </a:lnTo>
                  <a:lnTo>
                    <a:pt x="19" y="42"/>
                  </a:lnTo>
                  <a:lnTo>
                    <a:pt x="24" y="32"/>
                  </a:lnTo>
                  <a:lnTo>
                    <a:pt x="30" y="23"/>
                  </a:lnTo>
                  <a:lnTo>
                    <a:pt x="35" y="14"/>
                  </a:lnTo>
                  <a:lnTo>
                    <a:pt x="41" y="7"/>
                  </a:lnTo>
                  <a:lnTo>
                    <a:pt x="44" y="4"/>
                  </a:lnTo>
                  <a:lnTo>
                    <a:pt x="48" y="2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9" y="1"/>
                  </a:lnTo>
                  <a:lnTo>
                    <a:pt x="79" y="2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5" y="2"/>
                  </a:lnTo>
                  <a:lnTo>
                    <a:pt x="99" y="0"/>
                  </a:lnTo>
                  <a:lnTo>
                    <a:pt x="100" y="2"/>
                  </a:lnTo>
                  <a:lnTo>
                    <a:pt x="101" y="5"/>
                  </a:lnTo>
                  <a:lnTo>
                    <a:pt x="103" y="7"/>
                  </a:lnTo>
                  <a:lnTo>
                    <a:pt x="107" y="10"/>
                  </a:lnTo>
                  <a:lnTo>
                    <a:pt x="115" y="15"/>
                  </a:lnTo>
                  <a:lnTo>
                    <a:pt x="125" y="20"/>
                  </a:lnTo>
                  <a:lnTo>
                    <a:pt x="136" y="24"/>
                  </a:lnTo>
                  <a:lnTo>
                    <a:pt x="147" y="27"/>
                  </a:lnTo>
                  <a:lnTo>
                    <a:pt x="157" y="29"/>
                  </a:lnTo>
                  <a:lnTo>
                    <a:pt x="166" y="30"/>
                  </a:lnTo>
                  <a:lnTo>
                    <a:pt x="168" y="37"/>
                  </a:lnTo>
                  <a:lnTo>
                    <a:pt x="171" y="44"/>
                  </a:lnTo>
                  <a:lnTo>
                    <a:pt x="174" y="49"/>
                  </a:lnTo>
                  <a:lnTo>
                    <a:pt x="178" y="53"/>
                  </a:lnTo>
                  <a:lnTo>
                    <a:pt x="181" y="57"/>
                  </a:lnTo>
                  <a:lnTo>
                    <a:pt x="187" y="59"/>
                  </a:lnTo>
                  <a:lnTo>
                    <a:pt x="192" y="61"/>
                  </a:lnTo>
                  <a:lnTo>
                    <a:pt x="199" y="61"/>
                  </a:lnTo>
                  <a:lnTo>
                    <a:pt x="214" y="61"/>
                  </a:lnTo>
                  <a:lnTo>
                    <a:pt x="231" y="60"/>
                  </a:lnTo>
                  <a:lnTo>
                    <a:pt x="247" y="58"/>
                  </a:lnTo>
                  <a:lnTo>
                    <a:pt x="263" y="55"/>
                  </a:lnTo>
                  <a:lnTo>
                    <a:pt x="277" y="51"/>
                  </a:lnTo>
                  <a:lnTo>
                    <a:pt x="289" y="46"/>
                  </a:lnTo>
                  <a:lnTo>
                    <a:pt x="294" y="43"/>
                  </a:lnTo>
                  <a:lnTo>
                    <a:pt x="299" y="39"/>
                  </a:lnTo>
                  <a:lnTo>
                    <a:pt x="302" y="35"/>
                  </a:lnTo>
                  <a:lnTo>
                    <a:pt x="305" y="30"/>
                  </a:lnTo>
                  <a:lnTo>
                    <a:pt x="314" y="34"/>
                  </a:lnTo>
                  <a:lnTo>
                    <a:pt x="320" y="35"/>
                  </a:lnTo>
                  <a:lnTo>
                    <a:pt x="324" y="36"/>
                  </a:lnTo>
                  <a:lnTo>
                    <a:pt x="327" y="35"/>
                  </a:lnTo>
                  <a:lnTo>
                    <a:pt x="331" y="33"/>
                  </a:lnTo>
                  <a:lnTo>
                    <a:pt x="334" y="32"/>
                  </a:lnTo>
                  <a:lnTo>
                    <a:pt x="339" y="31"/>
                  </a:lnTo>
                  <a:lnTo>
                    <a:pt x="345" y="30"/>
                  </a:lnTo>
                  <a:lnTo>
                    <a:pt x="356" y="31"/>
                  </a:lnTo>
                  <a:lnTo>
                    <a:pt x="366" y="34"/>
                  </a:lnTo>
                  <a:lnTo>
                    <a:pt x="375" y="39"/>
                  </a:lnTo>
                  <a:lnTo>
                    <a:pt x="383" y="45"/>
                  </a:lnTo>
                  <a:lnTo>
                    <a:pt x="399" y="59"/>
                  </a:lnTo>
                  <a:lnTo>
                    <a:pt x="413" y="74"/>
                  </a:lnTo>
                  <a:lnTo>
                    <a:pt x="421" y="82"/>
                  </a:lnTo>
                  <a:lnTo>
                    <a:pt x="428" y="89"/>
                  </a:lnTo>
                  <a:lnTo>
                    <a:pt x="437" y="96"/>
                  </a:lnTo>
                  <a:lnTo>
                    <a:pt x="446" y="101"/>
                  </a:lnTo>
                  <a:lnTo>
                    <a:pt x="456" y="105"/>
                  </a:lnTo>
                  <a:lnTo>
                    <a:pt x="467" y="107"/>
                  </a:lnTo>
                  <a:lnTo>
                    <a:pt x="472" y="107"/>
                  </a:lnTo>
                  <a:lnTo>
                    <a:pt x="479" y="107"/>
                  </a:lnTo>
                  <a:lnTo>
                    <a:pt x="484" y="106"/>
                  </a:lnTo>
                  <a:lnTo>
                    <a:pt x="491" y="105"/>
                  </a:lnTo>
                  <a:lnTo>
                    <a:pt x="493" y="108"/>
                  </a:lnTo>
                  <a:lnTo>
                    <a:pt x="495" y="113"/>
                  </a:lnTo>
                  <a:lnTo>
                    <a:pt x="500" y="119"/>
                  </a:lnTo>
                  <a:lnTo>
                    <a:pt x="505" y="125"/>
                  </a:lnTo>
                  <a:lnTo>
                    <a:pt x="511" y="131"/>
                  </a:lnTo>
                  <a:lnTo>
                    <a:pt x="516" y="136"/>
                  </a:lnTo>
                  <a:lnTo>
                    <a:pt x="522" y="140"/>
                  </a:lnTo>
                  <a:lnTo>
                    <a:pt x="525" y="141"/>
                  </a:lnTo>
                  <a:lnTo>
                    <a:pt x="529" y="141"/>
                  </a:lnTo>
                  <a:lnTo>
                    <a:pt x="534" y="139"/>
                  </a:lnTo>
                  <a:lnTo>
                    <a:pt x="537" y="137"/>
                  </a:lnTo>
                  <a:lnTo>
                    <a:pt x="540" y="134"/>
                  </a:lnTo>
                  <a:lnTo>
                    <a:pt x="546" y="128"/>
                  </a:lnTo>
                  <a:lnTo>
                    <a:pt x="551" y="123"/>
                  </a:lnTo>
                  <a:lnTo>
                    <a:pt x="555" y="129"/>
                  </a:lnTo>
                  <a:lnTo>
                    <a:pt x="558" y="134"/>
                  </a:lnTo>
                  <a:lnTo>
                    <a:pt x="562" y="138"/>
                  </a:lnTo>
                  <a:lnTo>
                    <a:pt x="567" y="141"/>
                  </a:lnTo>
                  <a:lnTo>
                    <a:pt x="571" y="145"/>
                  </a:lnTo>
                  <a:lnTo>
                    <a:pt x="574" y="150"/>
                  </a:lnTo>
                  <a:lnTo>
                    <a:pt x="577" y="154"/>
                  </a:lnTo>
                  <a:lnTo>
                    <a:pt x="578" y="160"/>
                  </a:lnTo>
                  <a:lnTo>
                    <a:pt x="578" y="165"/>
                  </a:lnTo>
                  <a:lnTo>
                    <a:pt x="577" y="169"/>
                  </a:lnTo>
                  <a:lnTo>
                    <a:pt x="575" y="173"/>
                  </a:lnTo>
                  <a:lnTo>
                    <a:pt x="573" y="177"/>
                  </a:lnTo>
                  <a:lnTo>
                    <a:pt x="570" y="180"/>
                  </a:lnTo>
                  <a:lnTo>
                    <a:pt x="567" y="182"/>
                  </a:lnTo>
                  <a:lnTo>
                    <a:pt x="562" y="184"/>
                  </a:lnTo>
                  <a:lnTo>
                    <a:pt x="558" y="184"/>
                  </a:lnTo>
                  <a:lnTo>
                    <a:pt x="551" y="178"/>
                  </a:lnTo>
                  <a:lnTo>
                    <a:pt x="545" y="172"/>
                  </a:lnTo>
                  <a:lnTo>
                    <a:pt x="535" y="171"/>
                  </a:lnTo>
                  <a:lnTo>
                    <a:pt x="526" y="170"/>
                  </a:lnTo>
                  <a:lnTo>
                    <a:pt x="517" y="170"/>
                  </a:lnTo>
                  <a:lnTo>
                    <a:pt x="509" y="170"/>
                  </a:lnTo>
                  <a:lnTo>
                    <a:pt x="491" y="172"/>
                  </a:lnTo>
                  <a:lnTo>
                    <a:pt x="471" y="172"/>
                  </a:lnTo>
                  <a:lnTo>
                    <a:pt x="467" y="172"/>
                  </a:lnTo>
                  <a:lnTo>
                    <a:pt x="462" y="170"/>
                  </a:lnTo>
                  <a:lnTo>
                    <a:pt x="459" y="167"/>
                  </a:lnTo>
                  <a:lnTo>
                    <a:pt x="455" y="163"/>
                  </a:lnTo>
                  <a:lnTo>
                    <a:pt x="451" y="160"/>
                  </a:lnTo>
                  <a:lnTo>
                    <a:pt x="447" y="157"/>
                  </a:lnTo>
                  <a:lnTo>
                    <a:pt x="443" y="155"/>
                  </a:lnTo>
                  <a:lnTo>
                    <a:pt x="438" y="154"/>
                  </a:lnTo>
                  <a:lnTo>
                    <a:pt x="434" y="155"/>
                  </a:lnTo>
                  <a:lnTo>
                    <a:pt x="429" y="157"/>
                  </a:lnTo>
                  <a:lnTo>
                    <a:pt x="426" y="160"/>
                  </a:lnTo>
                  <a:lnTo>
                    <a:pt x="423" y="163"/>
                  </a:lnTo>
                  <a:lnTo>
                    <a:pt x="420" y="167"/>
                  </a:lnTo>
                  <a:lnTo>
                    <a:pt x="416" y="170"/>
                  </a:lnTo>
                  <a:lnTo>
                    <a:pt x="414" y="172"/>
                  </a:lnTo>
                  <a:lnTo>
                    <a:pt x="412" y="172"/>
                  </a:lnTo>
                  <a:lnTo>
                    <a:pt x="398" y="171"/>
                  </a:lnTo>
                  <a:lnTo>
                    <a:pt x="378" y="167"/>
                  </a:lnTo>
                  <a:lnTo>
                    <a:pt x="354" y="160"/>
                  </a:lnTo>
                  <a:lnTo>
                    <a:pt x="328" y="153"/>
                  </a:lnTo>
                  <a:lnTo>
                    <a:pt x="304" y="144"/>
                  </a:lnTo>
                  <a:lnTo>
                    <a:pt x="285" y="136"/>
                  </a:lnTo>
                  <a:lnTo>
                    <a:pt x="277" y="132"/>
                  </a:lnTo>
                  <a:lnTo>
                    <a:pt x="270" y="129"/>
                  </a:lnTo>
                  <a:lnTo>
                    <a:pt x="267" y="126"/>
                  </a:lnTo>
                  <a:lnTo>
                    <a:pt x="266" y="123"/>
                  </a:lnTo>
                  <a:lnTo>
                    <a:pt x="252" y="122"/>
                  </a:lnTo>
                  <a:lnTo>
                    <a:pt x="240" y="121"/>
                  </a:lnTo>
                  <a:lnTo>
                    <a:pt x="230" y="119"/>
                  </a:lnTo>
                  <a:lnTo>
                    <a:pt x="220" y="117"/>
                  </a:lnTo>
                  <a:lnTo>
                    <a:pt x="211" y="115"/>
                  </a:lnTo>
                  <a:lnTo>
                    <a:pt x="201" y="113"/>
                  </a:lnTo>
                  <a:lnTo>
                    <a:pt x="191" y="111"/>
                  </a:lnTo>
                  <a:lnTo>
                    <a:pt x="179" y="111"/>
                  </a:lnTo>
                  <a:lnTo>
                    <a:pt x="168" y="111"/>
                  </a:lnTo>
                  <a:lnTo>
                    <a:pt x="157" y="111"/>
                  </a:lnTo>
                  <a:lnTo>
                    <a:pt x="149" y="111"/>
                  </a:lnTo>
                  <a:lnTo>
                    <a:pt x="146" y="111"/>
                  </a:lnTo>
                  <a:lnTo>
                    <a:pt x="136" y="110"/>
                  </a:lnTo>
                  <a:lnTo>
                    <a:pt x="128" y="107"/>
                  </a:lnTo>
                  <a:lnTo>
                    <a:pt x="124" y="105"/>
                  </a:lnTo>
                  <a:lnTo>
                    <a:pt x="122" y="103"/>
                  </a:lnTo>
                  <a:lnTo>
                    <a:pt x="120" y="101"/>
                  </a:lnTo>
                  <a:lnTo>
                    <a:pt x="120" y="99"/>
                  </a:lnTo>
                  <a:lnTo>
                    <a:pt x="79" y="99"/>
                  </a:lnTo>
                  <a:lnTo>
                    <a:pt x="75" y="98"/>
                  </a:lnTo>
                  <a:lnTo>
                    <a:pt x="69" y="97"/>
                  </a:lnTo>
                  <a:lnTo>
                    <a:pt x="64" y="96"/>
                  </a:lnTo>
                  <a:lnTo>
                    <a:pt x="57" y="94"/>
                  </a:lnTo>
                  <a:lnTo>
                    <a:pt x="46" y="88"/>
                  </a:lnTo>
                  <a:lnTo>
                    <a:pt x="34" y="81"/>
                  </a:lnTo>
                  <a:lnTo>
                    <a:pt x="14" y="67"/>
                  </a:lnTo>
                  <a:lnTo>
                    <a:pt x="0" y="55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18" name="Freeform 340"/>
            <p:cNvSpPr>
              <a:spLocks/>
            </p:cNvSpPr>
            <p:nvPr>
              <p:custDataLst>
                <p:tags r:id="rId244"/>
              </p:custDataLst>
            </p:nvPr>
          </p:nvSpPr>
          <p:spPr bwMode="auto">
            <a:xfrm>
              <a:off x="9436951" y="4365486"/>
              <a:ext cx="213857" cy="253020"/>
            </a:xfrm>
            <a:custGeom>
              <a:avLst/>
              <a:gdLst>
                <a:gd name="T0" fmla="*/ 482 w 491"/>
                <a:gd name="T1" fmla="*/ 479 h 481"/>
                <a:gd name="T2" fmla="*/ 457 w 491"/>
                <a:gd name="T3" fmla="*/ 465 h 481"/>
                <a:gd name="T4" fmla="*/ 422 w 491"/>
                <a:gd name="T5" fmla="*/ 434 h 481"/>
                <a:gd name="T6" fmla="*/ 412 w 491"/>
                <a:gd name="T7" fmla="*/ 417 h 481"/>
                <a:gd name="T8" fmla="*/ 376 w 491"/>
                <a:gd name="T9" fmla="*/ 410 h 481"/>
                <a:gd name="T10" fmla="*/ 360 w 491"/>
                <a:gd name="T11" fmla="*/ 406 h 481"/>
                <a:gd name="T12" fmla="*/ 350 w 491"/>
                <a:gd name="T13" fmla="*/ 396 h 481"/>
                <a:gd name="T14" fmla="*/ 346 w 491"/>
                <a:gd name="T15" fmla="*/ 374 h 481"/>
                <a:gd name="T16" fmla="*/ 342 w 491"/>
                <a:gd name="T17" fmla="*/ 332 h 481"/>
                <a:gd name="T18" fmla="*/ 327 w 491"/>
                <a:gd name="T19" fmla="*/ 303 h 481"/>
                <a:gd name="T20" fmla="*/ 319 w 491"/>
                <a:gd name="T21" fmla="*/ 277 h 481"/>
                <a:gd name="T22" fmla="*/ 314 w 491"/>
                <a:gd name="T23" fmla="*/ 244 h 481"/>
                <a:gd name="T24" fmla="*/ 292 w 491"/>
                <a:gd name="T25" fmla="*/ 223 h 481"/>
                <a:gd name="T26" fmla="*/ 260 w 491"/>
                <a:gd name="T27" fmla="*/ 205 h 481"/>
                <a:gd name="T28" fmla="*/ 221 w 491"/>
                <a:gd name="T29" fmla="*/ 190 h 481"/>
                <a:gd name="T30" fmla="*/ 178 w 491"/>
                <a:gd name="T31" fmla="*/ 181 h 481"/>
                <a:gd name="T32" fmla="*/ 133 w 491"/>
                <a:gd name="T33" fmla="*/ 178 h 481"/>
                <a:gd name="T34" fmla="*/ 133 w 491"/>
                <a:gd name="T35" fmla="*/ 156 h 481"/>
                <a:gd name="T36" fmla="*/ 110 w 491"/>
                <a:gd name="T37" fmla="*/ 145 h 481"/>
                <a:gd name="T38" fmla="*/ 85 w 491"/>
                <a:gd name="T39" fmla="*/ 130 h 481"/>
                <a:gd name="T40" fmla="*/ 66 w 491"/>
                <a:gd name="T41" fmla="*/ 111 h 481"/>
                <a:gd name="T42" fmla="*/ 73 w 491"/>
                <a:gd name="T43" fmla="*/ 133 h 481"/>
                <a:gd name="T44" fmla="*/ 54 w 491"/>
                <a:gd name="T45" fmla="*/ 147 h 481"/>
                <a:gd name="T46" fmla="*/ 40 w 491"/>
                <a:gd name="T47" fmla="*/ 178 h 481"/>
                <a:gd name="T48" fmla="*/ 24 w 491"/>
                <a:gd name="T49" fmla="*/ 220 h 481"/>
                <a:gd name="T50" fmla="*/ 13 w 491"/>
                <a:gd name="T51" fmla="*/ 265 h 481"/>
                <a:gd name="T52" fmla="*/ 14 w 491"/>
                <a:gd name="T53" fmla="*/ 237 h 481"/>
                <a:gd name="T54" fmla="*/ 23 w 491"/>
                <a:gd name="T55" fmla="*/ 209 h 481"/>
                <a:gd name="T56" fmla="*/ 32 w 491"/>
                <a:gd name="T57" fmla="*/ 181 h 481"/>
                <a:gd name="T58" fmla="*/ 30 w 491"/>
                <a:gd name="T59" fmla="*/ 143 h 481"/>
                <a:gd name="T60" fmla="*/ 17 w 491"/>
                <a:gd name="T61" fmla="*/ 111 h 481"/>
                <a:gd name="T62" fmla="*/ 0 w 491"/>
                <a:gd name="T63" fmla="*/ 73 h 481"/>
                <a:gd name="T64" fmla="*/ 34 w 491"/>
                <a:gd name="T65" fmla="*/ 59 h 481"/>
                <a:gd name="T66" fmla="*/ 59 w 491"/>
                <a:gd name="T67" fmla="*/ 55 h 481"/>
                <a:gd name="T68" fmla="*/ 84 w 491"/>
                <a:gd name="T69" fmla="*/ 58 h 481"/>
                <a:gd name="T70" fmla="*/ 102 w 491"/>
                <a:gd name="T71" fmla="*/ 66 h 481"/>
                <a:gd name="T72" fmla="*/ 121 w 491"/>
                <a:gd name="T73" fmla="*/ 82 h 481"/>
                <a:gd name="T74" fmla="*/ 140 w 491"/>
                <a:gd name="T75" fmla="*/ 111 h 481"/>
                <a:gd name="T76" fmla="*/ 183 w 491"/>
                <a:gd name="T77" fmla="*/ 103 h 481"/>
                <a:gd name="T78" fmla="*/ 196 w 491"/>
                <a:gd name="T79" fmla="*/ 96 h 481"/>
                <a:gd name="T80" fmla="*/ 200 w 491"/>
                <a:gd name="T81" fmla="*/ 90 h 481"/>
                <a:gd name="T82" fmla="*/ 207 w 491"/>
                <a:gd name="T83" fmla="*/ 73 h 481"/>
                <a:gd name="T84" fmla="*/ 232 w 491"/>
                <a:gd name="T85" fmla="*/ 54 h 481"/>
                <a:gd name="T86" fmla="*/ 254 w 491"/>
                <a:gd name="T87" fmla="*/ 49 h 481"/>
                <a:gd name="T88" fmla="*/ 263 w 491"/>
                <a:gd name="T89" fmla="*/ 30 h 481"/>
                <a:gd name="T90" fmla="*/ 280 w 491"/>
                <a:gd name="T91" fmla="*/ 9 h 481"/>
                <a:gd name="T92" fmla="*/ 300 w 491"/>
                <a:gd name="T93" fmla="*/ 1 h 481"/>
                <a:gd name="T94" fmla="*/ 323 w 491"/>
                <a:gd name="T95" fmla="*/ 0 h 481"/>
                <a:gd name="T96" fmla="*/ 351 w 491"/>
                <a:gd name="T97" fmla="*/ 8 h 481"/>
                <a:gd name="T98" fmla="*/ 399 w 491"/>
                <a:gd name="T99" fmla="*/ 38 h 481"/>
                <a:gd name="T100" fmla="*/ 428 w 491"/>
                <a:gd name="T101" fmla="*/ 53 h 481"/>
                <a:gd name="T102" fmla="*/ 459 w 491"/>
                <a:gd name="T103" fmla="*/ 60 h 481"/>
                <a:gd name="T104" fmla="*/ 491 w 491"/>
                <a:gd name="T105" fmla="*/ 67 h 481"/>
                <a:gd name="T106" fmla="*/ 491 w 491"/>
                <a:gd name="T107" fmla="*/ 326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91" h="481">
                  <a:moveTo>
                    <a:pt x="491" y="481"/>
                  </a:moveTo>
                  <a:lnTo>
                    <a:pt x="488" y="480"/>
                  </a:lnTo>
                  <a:lnTo>
                    <a:pt x="482" y="479"/>
                  </a:lnTo>
                  <a:lnTo>
                    <a:pt x="477" y="477"/>
                  </a:lnTo>
                  <a:lnTo>
                    <a:pt x="470" y="473"/>
                  </a:lnTo>
                  <a:lnTo>
                    <a:pt x="457" y="465"/>
                  </a:lnTo>
                  <a:lnTo>
                    <a:pt x="444" y="455"/>
                  </a:lnTo>
                  <a:lnTo>
                    <a:pt x="432" y="445"/>
                  </a:lnTo>
                  <a:lnTo>
                    <a:pt x="422" y="434"/>
                  </a:lnTo>
                  <a:lnTo>
                    <a:pt x="417" y="428"/>
                  </a:lnTo>
                  <a:lnTo>
                    <a:pt x="414" y="423"/>
                  </a:lnTo>
                  <a:lnTo>
                    <a:pt x="412" y="417"/>
                  </a:lnTo>
                  <a:lnTo>
                    <a:pt x="412" y="412"/>
                  </a:lnTo>
                  <a:lnTo>
                    <a:pt x="392" y="412"/>
                  </a:lnTo>
                  <a:lnTo>
                    <a:pt x="376" y="410"/>
                  </a:lnTo>
                  <a:lnTo>
                    <a:pt x="370" y="409"/>
                  </a:lnTo>
                  <a:lnTo>
                    <a:pt x="365" y="408"/>
                  </a:lnTo>
                  <a:lnTo>
                    <a:pt x="360" y="406"/>
                  </a:lnTo>
                  <a:lnTo>
                    <a:pt x="356" y="403"/>
                  </a:lnTo>
                  <a:lnTo>
                    <a:pt x="353" y="400"/>
                  </a:lnTo>
                  <a:lnTo>
                    <a:pt x="350" y="396"/>
                  </a:lnTo>
                  <a:lnTo>
                    <a:pt x="348" y="392"/>
                  </a:lnTo>
                  <a:lnTo>
                    <a:pt x="347" y="387"/>
                  </a:lnTo>
                  <a:lnTo>
                    <a:pt x="346" y="374"/>
                  </a:lnTo>
                  <a:lnTo>
                    <a:pt x="345" y="357"/>
                  </a:lnTo>
                  <a:lnTo>
                    <a:pt x="344" y="344"/>
                  </a:lnTo>
                  <a:lnTo>
                    <a:pt x="342" y="332"/>
                  </a:lnTo>
                  <a:lnTo>
                    <a:pt x="337" y="322"/>
                  </a:lnTo>
                  <a:lnTo>
                    <a:pt x="332" y="313"/>
                  </a:lnTo>
                  <a:lnTo>
                    <a:pt x="327" y="303"/>
                  </a:lnTo>
                  <a:lnTo>
                    <a:pt x="323" y="294"/>
                  </a:lnTo>
                  <a:lnTo>
                    <a:pt x="320" y="286"/>
                  </a:lnTo>
                  <a:lnTo>
                    <a:pt x="319" y="277"/>
                  </a:lnTo>
                  <a:lnTo>
                    <a:pt x="319" y="267"/>
                  </a:lnTo>
                  <a:lnTo>
                    <a:pt x="319" y="252"/>
                  </a:lnTo>
                  <a:lnTo>
                    <a:pt x="314" y="244"/>
                  </a:lnTo>
                  <a:lnTo>
                    <a:pt x="309" y="237"/>
                  </a:lnTo>
                  <a:lnTo>
                    <a:pt x="301" y="229"/>
                  </a:lnTo>
                  <a:lnTo>
                    <a:pt x="292" y="223"/>
                  </a:lnTo>
                  <a:lnTo>
                    <a:pt x="282" y="216"/>
                  </a:lnTo>
                  <a:lnTo>
                    <a:pt x="272" y="210"/>
                  </a:lnTo>
                  <a:lnTo>
                    <a:pt x="260" y="205"/>
                  </a:lnTo>
                  <a:lnTo>
                    <a:pt x="248" y="200"/>
                  </a:lnTo>
                  <a:lnTo>
                    <a:pt x="235" y="194"/>
                  </a:lnTo>
                  <a:lnTo>
                    <a:pt x="221" y="190"/>
                  </a:lnTo>
                  <a:lnTo>
                    <a:pt x="208" y="187"/>
                  </a:lnTo>
                  <a:lnTo>
                    <a:pt x="192" y="184"/>
                  </a:lnTo>
                  <a:lnTo>
                    <a:pt x="178" y="181"/>
                  </a:lnTo>
                  <a:lnTo>
                    <a:pt x="163" y="180"/>
                  </a:lnTo>
                  <a:lnTo>
                    <a:pt x="147" y="179"/>
                  </a:lnTo>
                  <a:lnTo>
                    <a:pt x="133" y="178"/>
                  </a:lnTo>
                  <a:lnTo>
                    <a:pt x="133" y="170"/>
                  </a:lnTo>
                  <a:lnTo>
                    <a:pt x="133" y="163"/>
                  </a:lnTo>
                  <a:lnTo>
                    <a:pt x="133" y="156"/>
                  </a:lnTo>
                  <a:lnTo>
                    <a:pt x="133" y="148"/>
                  </a:lnTo>
                  <a:lnTo>
                    <a:pt x="121" y="147"/>
                  </a:lnTo>
                  <a:lnTo>
                    <a:pt x="110" y="145"/>
                  </a:lnTo>
                  <a:lnTo>
                    <a:pt x="100" y="140"/>
                  </a:lnTo>
                  <a:lnTo>
                    <a:pt x="92" y="136"/>
                  </a:lnTo>
                  <a:lnTo>
                    <a:pt x="85" y="130"/>
                  </a:lnTo>
                  <a:lnTo>
                    <a:pt x="77" y="124"/>
                  </a:lnTo>
                  <a:lnTo>
                    <a:pt x="71" y="117"/>
                  </a:lnTo>
                  <a:lnTo>
                    <a:pt x="66" y="111"/>
                  </a:lnTo>
                  <a:lnTo>
                    <a:pt x="92" y="111"/>
                  </a:lnTo>
                  <a:lnTo>
                    <a:pt x="82" y="121"/>
                  </a:lnTo>
                  <a:lnTo>
                    <a:pt x="73" y="133"/>
                  </a:lnTo>
                  <a:lnTo>
                    <a:pt x="66" y="139"/>
                  </a:lnTo>
                  <a:lnTo>
                    <a:pt x="60" y="144"/>
                  </a:lnTo>
                  <a:lnTo>
                    <a:pt x="54" y="147"/>
                  </a:lnTo>
                  <a:lnTo>
                    <a:pt x="46" y="148"/>
                  </a:lnTo>
                  <a:lnTo>
                    <a:pt x="43" y="163"/>
                  </a:lnTo>
                  <a:lnTo>
                    <a:pt x="40" y="178"/>
                  </a:lnTo>
                  <a:lnTo>
                    <a:pt x="34" y="192"/>
                  </a:lnTo>
                  <a:lnTo>
                    <a:pt x="30" y="206"/>
                  </a:lnTo>
                  <a:lnTo>
                    <a:pt x="24" y="220"/>
                  </a:lnTo>
                  <a:lnTo>
                    <a:pt x="20" y="234"/>
                  </a:lnTo>
                  <a:lnTo>
                    <a:pt x="17" y="249"/>
                  </a:lnTo>
                  <a:lnTo>
                    <a:pt x="13" y="265"/>
                  </a:lnTo>
                  <a:lnTo>
                    <a:pt x="13" y="256"/>
                  </a:lnTo>
                  <a:lnTo>
                    <a:pt x="13" y="246"/>
                  </a:lnTo>
                  <a:lnTo>
                    <a:pt x="14" y="237"/>
                  </a:lnTo>
                  <a:lnTo>
                    <a:pt x="17" y="228"/>
                  </a:lnTo>
                  <a:lnTo>
                    <a:pt x="20" y="219"/>
                  </a:lnTo>
                  <a:lnTo>
                    <a:pt x="23" y="209"/>
                  </a:lnTo>
                  <a:lnTo>
                    <a:pt x="26" y="200"/>
                  </a:lnTo>
                  <a:lnTo>
                    <a:pt x="30" y="190"/>
                  </a:lnTo>
                  <a:lnTo>
                    <a:pt x="32" y="181"/>
                  </a:lnTo>
                  <a:lnTo>
                    <a:pt x="33" y="172"/>
                  </a:lnTo>
                  <a:lnTo>
                    <a:pt x="32" y="156"/>
                  </a:lnTo>
                  <a:lnTo>
                    <a:pt x="30" y="143"/>
                  </a:lnTo>
                  <a:lnTo>
                    <a:pt x="26" y="130"/>
                  </a:lnTo>
                  <a:lnTo>
                    <a:pt x="21" y="120"/>
                  </a:lnTo>
                  <a:lnTo>
                    <a:pt x="17" y="111"/>
                  </a:lnTo>
                  <a:lnTo>
                    <a:pt x="11" y="101"/>
                  </a:lnTo>
                  <a:lnTo>
                    <a:pt x="4" y="89"/>
                  </a:lnTo>
                  <a:lnTo>
                    <a:pt x="0" y="73"/>
                  </a:lnTo>
                  <a:lnTo>
                    <a:pt x="13" y="68"/>
                  </a:lnTo>
                  <a:lnTo>
                    <a:pt x="28" y="62"/>
                  </a:lnTo>
                  <a:lnTo>
                    <a:pt x="34" y="59"/>
                  </a:lnTo>
                  <a:lnTo>
                    <a:pt x="42" y="57"/>
                  </a:lnTo>
                  <a:lnTo>
                    <a:pt x="51" y="56"/>
                  </a:lnTo>
                  <a:lnTo>
                    <a:pt x="59" y="55"/>
                  </a:lnTo>
                  <a:lnTo>
                    <a:pt x="68" y="56"/>
                  </a:lnTo>
                  <a:lnTo>
                    <a:pt x="76" y="57"/>
                  </a:lnTo>
                  <a:lnTo>
                    <a:pt x="84" y="58"/>
                  </a:lnTo>
                  <a:lnTo>
                    <a:pt x="90" y="60"/>
                  </a:lnTo>
                  <a:lnTo>
                    <a:pt x="96" y="63"/>
                  </a:lnTo>
                  <a:lnTo>
                    <a:pt x="102" y="66"/>
                  </a:lnTo>
                  <a:lnTo>
                    <a:pt x="107" y="70"/>
                  </a:lnTo>
                  <a:lnTo>
                    <a:pt x="112" y="73"/>
                  </a:lnTo>
                  <a:lnTo>
                    <a:pt x="121" y="82"/>
                  </a:lnTo>
                  <a:lnTo>
                    <a:pt x="127" y="92"/>
                  </a:lnTo>
                  <a:lnTo>
                    <a:pt x="134" y="101"/>
                  </a:lnTo>
                  <a:lnTo>
                    <a:pt x="140" y="111"/>
                  </a:lnTo>
                  <a:lnTo>
                    <a:pt x="179" y="111"/>
                  </a:lnTo>
                  <a:lnTo>
                    <a:pt x="180" y="107"/>
                  </a:lnTo>
                  <a:lnTo>
                    <a:pt x="183" y="103"/>
                  </a:lnTo>
                  <a:lnTo>
                    <a:pt x="187" y="101"/>
                  </a:lnTo>
                  <a:lnTo>
                    <a:pt x="191" y="99"/>
                  </a:lnTo>
                  <a:lnTo>
                    <a:pt x="196" y="96"/>
                  </a:lnTo>
                  <a:lnTo>
                    <a:pt x="199" y="94"/>
                  </a:lnTo>
                  <a:lnTo>
                    <a:pt x="200" y="92"/>
                  </a:lnTo>
                  <a:lnTo>
                    <a:pt x="200" y="90"/>
                  </a:lnTo>
                  <a:lnTo>
                    <a:pt x="200" y="89"/>
                  </a:lnTo>
                  <a:lnTo>
                    <a:pt x="199" y="85"/>
                  </a:lnTo>
                  <a:lnTo>
                    <a:pt x="207" y="73"/>
                  </a:lnTo>
                  <a:lnTo>
                    <a:pt x="215" y="64"/>
                  </a:lnTo>
                  <a:lnTo>
                    <a:pt x="223" y="58"/>
                  </a:lnTo>
                  <a:lnTo>
                    <a:pt x="232" y="54"/>
                  </a:lnTo>
                  <a:lnTo>
                    <a:pt x="239" y="51"/>
                  </a:lnTo>
                  <a:lnTo>
                    <a:pt x="247" y="50"/>
                  </a:lnTo>
                  <a:lnTo>
                    <a:pt x="254" y="49"/>
                  </a:lnTo>
                  <a:lnTo>
                    <a:pt x="259" y="49"/>
                  </a:lnTo>
                  <a:lnTo>
                    <a:pt x="260" y="40"/>
                  </a:lnTo>
                  <a:lnTo>
                    <a:pt x="263" y="30"/>
                  </a:lnTo>
                  <a:lnTo>
                    <a:pt x="267" y="22"/>
                  </a:lnTo>
                  <a:lnTo>
                    <a:pt x="273" y="15"/>
                  </a:lnTo>
                  <a:lnTo>
                    <a:pt x="280" y="9"/>
                  </a:lnTo>
                  <a:lnTo>
                    <a:pt x="290" y="4"/>
                  </a:lnTo>
                  <a:lnTo>
                    <a:pt x="294" y="2"/>
                  </a:lnTo>
                  <a:lnTo>
                    <a:pt x="300" y="1"/>
                  </a:lnTo>
                  <a:lnTo>
                    <a:pt x="306" y="0"/>
                  </a:lnTo>
                  <a:lnTo>
                    <a:pt x="312" y="0"/>
                  </a:lnTo>
                  <a:lnTo>
                    <a:pt x="323" y="0"/>
                  </a:lnTo>
                  <a:lnTo>
                    <a:pt x="333" y="2"/>
                  </a:lnTo>
                  <a:lnTo>
                    <a:pt x="343" y="5"/>
                  </a:lnTo>
                  <a:lnTo>
                    <a:pt x="351" y="8"/>
                  </a:lnTo>
                  <a:lnTo>
                    <a:pt x="368" y="17"/>
                  </a:lnTo>
                  <a:lnTo>
                    <a:pt x="383" y="27"/>
                  </a:lnTo>
                  <a:lnTo>
                    <a:pt x="399" y="38"/>
                  </a:lnTo>
                  <a:lnTo>
                    <a:pt x="413" y="47"/>
                  </a:lnTo>
                  <a:lnTo>
                    <a:pt x="421" y="50"/>
                  </a:lnTo>
                  <a:lnTo>
                    <a:pt x="428" y="53"/>
                  </a:lnTo>
                  <a:lnTo>
                    <a:pt x="436" y="55"/>
                  </a:lnTo>
                  <a:lnTo>
                    <a:pt x="445" y="55"/>
                  </a:lnTo>
                  <a:lnTo>
                    <a:pt x="459" y="60"/>
                  </a:lnTo>
                  <a:lnTo>
                    <a:pt x="471" y="64"/>
                  </a:lnTo>
                  <a:lnTo>
                    <a:pt x="481" y="66"/>
                  </a:lnTo>
                  <a:lnTo>
                    <a:pt x="491" y="67"/>
                  </a:lnTo>
                  <a:lnTo>
                    <a:pt x="491" y="289"/>
                  </a:lnTo>
                  <a:lnTo>
                    <a:pt x="471" y="301"/>
                  </a:lnTo>
                  <a:lnTo>
                    <a:pt x="491" y="326"/>
                  </a:lnTo>
                  <a:lnTo>
                    <a:pt x="491" y="474"/>
                  </a:lnTo>
                  <a:lnTo>
                    <a:pt x="491" y="481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860" name="Freeform 341"/>
            <p:cNvSpPr>
              <a:spLocks/>
            </p:cNvSpPr>
            <p:nvPr>
              <p:custDataLst>
                <p:tags r:id="rId245"/>
              </p:custDataLst>
            </p:nvPr>
          </p:nvSpPr>
          <p:spPr bwMode="auto">
            <a:xfrm>
              <a:off x="7968294" y="3197664"/>
              <a:ext cx="53975" cy="60325"/>
            </a:xfrm>
            <a:custGeom>
              <a:avLst/>
              <a:gdLst>
                <a:gd name="T0" fmla="*/ 0 w 133"/>
                <a:gd name="T1" fmla="*/ 2147483647 h 117"/>
                <a:gd name="T2" fmla="*/ 2147483647 w 133"/>
                <a:gd name="T3" fmla="*/ 0 h 117"/>
                <a:gd name="T4" fmla="*/ 2147483647 w 133"/>
                <a:gd name="T5" fmla="*/ 2147483647 h 117"/>
                <a:gd name="T6" fmla="*/ 2147483647 w 133"/>
                <a:gd name="T7" fmla="*/ 2147483647 h 117"/>
                <a:gd name="T8" fmla="*/ 2147483647 w 133"/>
                <a:gd name="T9" fmla="*/ 2147483647 h 117"/>
                <a:gd name="T10" fmla="*/ 2147483647 w 133"/>
                <a:gd name="T11" fmla="*/ 2147483647 h 117"/>
                <a:gd name="T12" fmla="*/ 2147483647 w 133"/>
                <a:gd name="T13" fmla="*/ 2147483647 h 117"/>
                <a:gd name="T14" fmla="*/ 2147483647 w 133"/>
                <a:gd name="T15" fmla="*/ 2147483647 h 117"/>
                <a:gd name="T16" fmla="*/ 2147483647 w 133"/>
                <a:gd name="T17" fmla="*/ 2147483647 h 117"/>
                <a:gd name="T18" fmla="*/ 2147483647 w 133"/>
                <a:gd name="T19" fmla="*/ 2147483647 h 117"/>
                <a:gd name="T20" fmla="*/ 2147483647 w 133"/>
                <a:gd name="T21" fmla="*/ 2147483647 h 117"/>
                <a:gd name="T22" fmla="*/ 2147483647 w 133"/>
                <a:gd name="T23" fmla="*/ 2147483647 h 117"/>
                <a:gd name="T24" fmla="*/ 2147483647 w 133"/>
                <a:gd name="T25" fmla="*/ 2147483647 h 117"/>
                <a:gd name="T26" fmla="*/ 2147483647 w 133"/>
                <a:gd name="T27" fmla="*/ 2147483647 h 117"/>
                <a:gd name="T28" fmla="*/ 2147483647 w 133"/>
                <a:gd name="T29" fmla="*/ 2147483647 h 117"/>
                <a:gd name="T30" fmla="*/ 2147483647 w 133"/>
                <a:gd name="T31" fmla="*/ 2147483647 h 117"/>
                <a:gd name="T32" fmla="*/ 2147483647 w 133"/>
                <a:gd name="T33" fmla="*/ 2147483647 h 117"/>
                <a:gd name="T34" fmla="*/ 2147483647 w 133"/>
                <a:gd name="T35" fmla="*/ 2147483647 h 117"/>
                <a:gd name="T36" fmla="*/ 2147483647 w 133"/>
                <a:gd name="T37" fmla="*/ 2147483647 h 117"/>
                <a:gd name="T38" fmla="*/ 2147483647 w 133"/>
                <a:gd name="T39" fmla="*/ 2147483647 h 117"/>
                <a:gd name="T40" fmla="*/ 2147483647 w 133"/>
                <a:gd name="T41" fmla="*/ 2147483647 h 117"/>
                <a:gd name="T42" fmla="*/ 2147483647 w 133"/>
                <a:gd name="T43" fmla="*/ 2147483647 h 117"/>
                <a:gd name="T44" fmla="*/ 2147483647 w 133"/>
                <a:gd name="T45" fmla="*/ 2147483647 h 117"/>
                <a:gd name="T46" fmla="*/ 2147483647 w 133"/>
                <a:gd name="T47" fmla="*/ 2147483647 h 117"/>
                <a:gd name="T48" fmla="*/ 2147483647 w 133"/>
                <a:gd name="T49" fmla="*/ 2147483647 h 117"/>
                <a:gd name="T50" fmla="*/ 0 w 133"/>
                <a:gd name="T51" fmla="*/ 2147483647 h 11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33" h="117">
                  <a:moveTo>
                    <a:pt x="0" y="19"/>
                  </a:moveTo>
                  <a:lnTo>
                    <a:pt x="72" y="0"/>
                  </a:lnTo>
                  <a:lnTo>
                    <a:pt x="81" y="6"/>
                  </a:lnTo>
                  <a:lnTo>
                    <a:pt x="91" y="14"/>
                  </a:lnTo>
                  <a:lnTo>
                    <a:pt x="101" y="25"/>
                  </a:lnTo>
                  <a:lnTo>
                    <a:pt x="109" y="37"/>
                  </a:lnTo>
                  <a:lnTo>
                    <a:pt x="118" y="49"/>
                  </a:lnTo>
                  <a:lnTo>
                    <a:pt x="126" y="62"/>
                  </a:lnTo>
                  <a:lnTo>
                    <a:pt x="128" y="68"/>
                  </a:lnTo>
                  <a:lnTo>
                    <a:pt x="130" y="74"/>
                  </a:lnTo>
                  <a:lnTo>
                    <a:pt x="131" y="80"/>
                  </a:lnTo>
                  <a:lnTo>
                    <a:pt x="133" y="86"/>
                  </a:lnTo>
                  <a:lnTo>
                    <a:pt x="131" y="92"/>
                  </a:lnTo>
                  <a:lnTo>
                    <a:pt x="128" y="97"/>
                  </a:lnTo>
                  <a:lnTo>
                    <a:pt x="124" y="102"/>
                  </a:lnTo>
                  <a:lnTo>
                    <a:pt x="118" y="107"/>
                  </a:lnTo>
                  <a:lnTo>
                    <a:pt x="113" y="111"/>
                  </a:lnTo>
                  <a:lnTo>
                    <a:pt x="107" y="114"/>
                  </a:lnTo>
                  <a:lnTo>
                    <a:pt x="103" y="117"/>
                  </a:lnTo>
                  <a:lnTo>
                    <a:pt x="100" y="117"/>
                  </a:lnTo>
                  <a:lnTo>
                    <a:pt x="72" y="95"/>
                  </a:lnTo>
                  <a:lnTo>
                    <a:pt x="45" y="70"/>
                  </a:lnTo>
                  <a:lnTo>
                    <a:pt x="32" y="58"/>
                  </a:lnTo>
                  <a:lnTo>
                    <a:pt x="18" y="46"/>
                  </a:lnTo>
                  <a:lnTo>
                    <a:pt x="8" y="33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61" name="Freeform 342"/>
            <p:cNvSpPr>
              <a:spLocks/>
            </p:cNvSpPr>
            <p:nvPr>
              <p:custDataLst>
                <p:tags r:id="rId246"/>
              </p:custDataLst>
            </p:nvPr>
          </p:nvSpPr>
          <p:spPr bwMode="auto">
            <a:xfrm>
              <a:off x="6425244" y="2602352"/>
              <a:ext cx="220663" cy="177800"/>
            </a:xfrm>
            <a:custGeom>
              <a:avLst/>
              <a:gdLst>
                <a:gd name="T0" fmla="*/ 2147483647 w 505"/>
                <a:gd name="T1" fmla="*/ 2147483647 h 339"/>
                <a:gd name="T2" fmla="*/ 2147483647 w 505"/>
                <a:gd name="T3" fmla="*/ 2147483647 h 339"/>
                <a:gd name="T4" fmla="*/ 2147483647 w 505"/>
                <a:gd name="T5" fmla="*/ 2147483647 h 339"/>
                <a:gd name="T6" fmla="*/ 2147483647 w 505"/>
                <a:gd name="T7" fmla="*/ 2147483647 h 339"/>
                <a:gd name="T8" fmla="*/ 2147483647 w 505"/>
                <a:gd name="T9" fmla="*/ 2147483647 h 339"/>
                <a:gd name="T10" fmla="*/ 2147483647 w 505"/>
                <a:gd name="T11" fmla="*/ 2147483647 h 339"/>
                <a:gd name="T12" fmla="*/ 2147483647 w 505"/>
                <a:gd name="T13" fmla="*/ 2147483647 h 339"/>
                <a:gd name="T14" fmla="*/ 2147483647 w 505"/>
                <a:gd name="T15" fmla="*/ 2147483647 h 339"/>
                <a:gd name="T16" fmla="*/ 2147483647 w 505"/>
                <a:gd name="T17" fmla="*/ 2147483647 h 339"/>
                <a:gd name="T18" fmla="*/ 2147483647 w 505"/>
                <a:gd name="T19" fmla="*/ 2147483647 h 339"/>
                <a:gd name="T20" fmla="*/ 2147483647 w 505"/>
                <a:gd name="T21" fmla="*/ 2147483647 h 339"/>
                <a:gd name="T22" fmla="*/ 2147483647 w 505"/>
                <a:gd name="T23" fmla="*/ 2147483647 h 339"/>
                <a:gd name="T24" fmla="*/ 2147483647 w 505"/>
                <a:gd name="T25" fmla="*/ 2147483647 h 339"/>
                <a:gd name="T26" fmla="*/ 2147483647 w 505"/>
                <a:gd name="T27" fmla="*/ 2147483647 h 339"/>
                <a:gd name="T28" fmla="*/ 2147483647 w 505"/>
                <a:gd name="T29" fmla="*/ 2147483647 h 339"/>
                <a:gd name="T30" fmla="*/ 2147483647 w 505"/>
                <a:gd name="T31" fmla="*/ 2147483647 h 339"/>
                <a:gd name="T32" fmla="*/ 2147483647 w 505"/>
                <a:gd name="T33" fmla="*/ 2147483647 h 339"/>
                <a:gd name="T34" fmla="*/ 2147483647 w 505"/>
                <a:gd name="T35" fmla="*/ 2147483647 h 339"/>
                <a:gd name="T36" fmla="*/ 2147483647 w 505"/>
                <a:gd name="T37" fmla="*/ 2147483647 h 339"/>
                <a:gd name="T38" fmla="*/ 2147483647 w 505"/>
                <a:gd name="T39" fmla="*/ 2147483647 h 339"/>
                <a:gd name="T40" fmla="*/ 2147483647 w 505"/>
                <a:gd name="T41" fmla="*/ 2147483647 h 339"/>
                <a:gd name="T42" fmla="*/ 2147483647 w 505"/>
                <a:gd name="T43" fmla="*/ 2147483647 h 339"/>
                <a:gd name="T44" fmla="*/ 2147483647 w 505"/>
                <a:gd name="T45" fmla="*/ 2147483647 h 339"/>
                <a:gd name="T46" fmla="*/ 2147483647 w 505"/>
                <a:gd name="T47" fmla="*/ 2147483647 h 339"/>
                <a:gd name="T48" fmla="*/ 2147483647 w 505"/>
                <a:gd name="T49" fmla="*/ 2147483647 h 339"/>
                <a:gd name="T50" fmla="*/ 2147483647 w 505"/>
                <a:gd name="T51" fmla="*/ 2147483647 h 339"/>
                <a:gd name="T52" fmla="*/ 2147483647 w 505"/>
                <a:gd name="T53" fmla="*/ 2147483647 h 339"/>
                <a:gd name="T54" fmla="*/ 2147483647 w 505"/>
                <a:gd name="T55" fmla="*/ 2147483647 h 339"/>
                <a:gd name="T56" fmla="*/ 2147483647 w 505"/>
                <a:gd name="T57" fmla="*/ 2147483647 h 339"/>
                <a:gd name="T58" fmla="*/ 2147483647 w 505"/>
                <a:gd name="T59" fmla="*/ 2147483647 h 339"/>
                <a:gd name="T60" fmla="*/ 2147483647 w 505"/>
                <a:gd name="T61" fmla="*/ 2147483647 h 339"/>
                <a:gd name="T62" fmla="*/ 2147483647 w 505"/>
                <a:gd name="T63" fmla="*/ 2147483647 h 339"/>
                <a:gd name="T64" fmla="*/ 2147483647 w 505"/>
                <a:gd name="T65" fmla="*/ 2147483647 h 339"/>
                <a:gd name="T66" fmla="*/ 2147483647 w 505"/>
                <a:gd name="T67" fmla="*/ 2147483647 h 339"/>
                <a:gd name="T68" fmla="*/ 2147483647 w 505"/>
                <a:gd name="T69" fmla="*/ 2147483647 h 339"/>
                <a:gd name="T70" fmla="*/ 2147483647 w 505"/>
                <a:gd name="T71" fmla="*/ 2147483647 h 339"/>
                <a:gd name="T72" fmla="*/ 2147483647 w 505"/>
                <a:gd name="T73" fmla="*/ 2147483647 h 339"/>
                <a:gd name="T74" fmla="*/ 2147483647 w 505"/>
                <a:gd name="T75" fmla="*/ 2147483647 h 339"/>
                <a:gd name="T76" fmla="*/ 2147483647 w 505"/>
                <a:gd name="T77" fmla="*/ 2147483647 h 339"/>
                <a:gd name="T78" fmla="*/ 2147483647 w 505"/>
                <a:gd name="T79" fmla="*/ 2147483647 h 339"/>
                <a:gd name="T80" fmla="*/ 2147483647 w 505"/>
                <a:gd name="T81" fmla="*/ 2147483647 h 339"/>
                <a:gd name="T82" fmla="*/ 2147483647 w 505"/>
                <a:gd name="T83" fmla="*/ 2147483647 h 339"/>
                <a:gd name="T84" fmla="*/ 2147483647 w 505"/>
                <a:gd name="T85" fmla="*/ 2147483647 h 33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05" h="339">
                  <a:moveTo>
                    <a:pt x="259" y="24"/>
                  </a:moveTo>
                  <a:lnTo>
                    <a:pt x="272" y="36"/>
                  </a:lnTo>
                  <a:lnTo>
                    <a:pt x="444" y="48"/>
                  </a:lnTo>
                  <a:lnTo>
                    <a:pt x="484" y="86"/>
                  </a:lnTo>
                  <a:lnTo>
                    <a:pt x="482" y="97"/>
                  </a:lnTo>
                  <a:lnTo>
                    <a:pt x="478" y="109"/>
                  </a:lnTo>
                  <a:lnTo>
                    <a:pt x="474" y="120"/>
                  </a:lnTo>
                  <a:lnTo>
                    <a:pt x="471" y="129"/>
                  </a:lnTo>
                  <a:lnTo>
                    <a:pt x="465" y="138"/>
                  </a:lnTo>
                  <a:lnTo>
                    <a:pt x="461" y="145"/>
                  </a:lnTo>
                  <a:lnTo>
                    <a:pt x="456" y="150"/>
                  </a:lnTo>
                  <a:lnTo>
                    <a:pt x="451" y="153"/>
                  </a:lnTo>
                  <a:lnTo>
                    <a:pt x="455" y="169"/>
                  </a:lnTo>
                  <a:lnTo>
                    <a:pt x="461" y="184"/>
                  </a:lnTo>
                  <a:lnTo>
                    <a:pt x="470" y="200"/>
                  </a:lnTo>
                  <a:lnTo>
                    <a:pt x="477" y="215"/>
                  </a:lnTo>
                  <a:lnTo>
                    <a:pt x="494" y="242"/>
                  </a:lnTo>
                  <a:lnTo>
                    <a:pt x="505" y="258"/>
                  </a:lnTo>
                  <a:lnTo>
                    <a:pt x="499" y="264"/>
                  </a:lnTo>
                  <a:lnTo>
                    <a:pt x="493" y="271"/>
                  </a:lnTo>
                  <a:lnTo>
                    <a:pt x="486" y="281"/>
                  </a:lnTo>
                  <a:lnTo>
                    <a:pt x="479" y="292"/>
                  </a:lnTo>
                  <a:lnTo>
                    <a:pt x="474" y="303"/>
                  </a:lnTo>
                  <a:lnTo>
                    <a:pt x="468" y="314"/>
                  </a:lnTo>
                  <a:lnTo>
                    <a:pt x="465" y="326"/>
                  </a:lnTo>
                  <a:lnTo>
                    <a:pt x="464" y="339"/>
                  </a:lnTo>
                  <a:lnTo>
                    <a:pt x="457" y="339"/>
                  </a:lnTo>
                  <a:lnTo>
                    <a:pt x="443" y="338"/>
                  </a:lnTo>
                  <a:lnTo>
                    <a:pt x="428" y="337"/>
                  </a:lnTo>
                  <a:lnTo>
                    <a:pt x="414" y="335"/>
                  </a:lnTo>
                  <a:lnTo>
                    <a:pt x="399" y="333"/>
                  </a:lnTo>
                  <a:lnTo>
                    <a:pt x="385" y="331"/>
                  </a:lnTo>
                  <a:lnTo>
                    <a:pt x="371" y="328"/>
                  </a:lnTo>
                  <a:lnTo>
                    <a:pt x="358" y="326"/>
                  </a:lnTo>
                  <a:lnTo>
                    <a:pt x="344" y="326"/>
                  </a:lnTo>
                  <a:lnTo>
                    <a:pt x="304" y="325"/>
                  </a:lnTo>
                  <a:lnTo>
                    <a:pt x="275" y="323"/>
                  </a:lnTo>
                  <a:lnTo>
                    <a:pt x="264" y="321"/>
                  </a:lnTo>
                  <a:lnTo>
                    <a:pt x="255" y="319"/>
                  </a:lnTo>
                  <a:lnTo>
                    <a:pt x="248" y="317"/>
                  </a:lnTo>
                  <a:lnTo>
                    <a:pt x="242" y="315"/>
                  </a:lnTo>
                  <a:lnTo>
                    <a:pt x="232" y="310"/>
                  </a:lnTo>
                  <a:lnTo>
                    <a:pt x="224" y="305"/>
                  </a:lnTo>
                  <a:lnTo>
                    <a:pt x="213" y="300"/>
                  </a:lnTo>
                  <a:lnTo>
                    <a:pt x="198" y="295"/>
                  </a:lnTo>
                  <a:lnTo>
                    <a:pt x="180" y="289"/>
                  </a:lnTo>
                  <a:lnTo>
                    <a:pt x="162" y="282"/>
                  </a:lnTo>
                  <a:lnTo>
                    <a:pt x="146" y="273"/>
                  </a:lnTo>
                  <a:lnTo>
                    <a:pt x="130" y="266"/>
                  </a:lnTo>
                  <a:lnTo>
                    <a:pt x="98" y="249"/>
                  </a:lnTo>
                  <a:lnTo>
                    <a:pt x="65" y="228"/>
                  </a:lnTo>
                  <a:lnTo>
                    <a:pt x="62" y="206"/>
                  </a:lnTo>
                  <a:lnTo>
                    <a:pt x="57" y="187"/>
                  </a:lnTo>
                  <a:lnTo>
                    <a:pt x="52" y="169"/>
                  </a:lnTo>
                  <a:lnTo>
                    <a:pt x="47" y="152"/>
                  </a:lnTo>
                  <a:lnTo>
                    <a:pt x="36" y="124"/>
                  </a:lnTo>
                  <a:lnTo>
                    <a:pt x="25" y="100"/>
                  </a:lnTo>
                  <a:lnTo>
                    <a:pt x="15" y="83"/>
                  </a:lnTo>
                  <a:lnTo>
                    <a:pt x="7" y="71"/>
                  </a:lnTo>
                  <a:lnTo>
                    <a:pt x="2" y="64"/>
                  </a:lnTo>
                  <a:lnTo>
                    <a:pt x="0" y="62"/>
                  </a:lnTo>
                  <a:lnTo>
                    <a:pt x="5" y="61"/>
                  </a:lnTo>
                  <a:lnTo>
                    <a:pt x="8" y="59"/>
                  </a:lnTo>
                  <a:lnTo>
                    <a:pt x="11" y="56"/>
                  </a:lnTo>
                  <a:lnTo>
                    <a:pt x="11" y="51"/>
                  </a:lnTo>
                  <a:lnTo>
                    <a:pt x="11" y="48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3" y="42"/>
                  </a:lnTo>
                  <a:lnTo>
                    <a:pt x="34" y="34"/>
                  </a:lnTo>
                  <a:lnTo>
                    <a:pt x="55" y="27"/>
                  </a:lnTo>
                  <a:lnTo>
                    <a:pt x="73" y="22"/>
                  </a:lnTo>
                  <a:lnTo>
                    <a:pt x="92" y="17"/>
                  </a:lnTo>
                  <a:lnTo>
                    <a:pt x="128" y="8"/>
                  </a:lnTo>
                  <a:lnTo>
                    <a:pt x="165" y="0"/>
                  </a:lnTo>
                  <a:lnTo>
                    <a:pt x="173" y="11"/>
                  </a:lnTo>
                  <a:lnTo>
                    <a:pt x="183" y="23"/>
                  </a:lnTo>
                  <a:lnTo>
                    <a:pt x="188" y="28"/>
                  </a:lnTo>
                  <a:lnTo>
                    <a:pt x="194" y="32"/>
                  </a:lnTo>
                  <a:lnTo>
                    <a:pt x="201" y="35"/>
                  </a:lnTo>
                  <a:lnTo>
                    <a:pt x="205" y="36"/>
                  </a:lnTo>
                  <a:lnTo>
                    <a:pt x="219" y="36"/>
                  </a:lnTo>
                  <a:lnTo>
                    <a:pt x="230" y="36"/>
                  </a:lnTo>
                  <a:lnTo>
                    <a:pt x="239" y="36"/>
                  </a:lnTo>
                  <a:lnTo>
                    <a:pt x="246" y="36"/>
                  </a:lnTo>
                  <a:lnTo>
                    <a:pt x="259" y="24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21" name="Freeform 343"/>
            <p:cNvSpPr>
              <a:spLocks/>
            </p:cNvSpPr>
            <p:nvPr>
              <p:custDataLst>
                <p:tags r:id="rId247"/>
              </p:custDataLst>
            </p:nvPr>
          </p:nvSpPr>
          <p:spPr bwMode="auto">
            <a:xfrm>
              <a:off x="6489243" y="2806886"/>
              <a:ext cx="145230" cy="72532"/>
            </a:xfrm>
            <a:custGeom>
              <a:avLst/>
              <a:gdLst>
                <a:gd name="T0" fmla="*/ 312 w 338"/>
                <a:gd name="T1" fmla="*/ 0 h 141"/>
                <a:gd name="T2" fmla="*/ 186 w 338"/>
                <a:gd name="T3" fmla="*/ 0 h 141"/>
                <a:gd name="T4" fmla="*/ 168 w 338"/>
                <a:gd name="T5" fmla="*/ 8 h 141"/>
                <a:gd name="T6" fmla="*/ 144 w 338"/>
                <a:gd name="T7" fmla="*/ 21 h 141"/>
                <a:gd name="T8" fmla="*/ 132 w 338"/>
                <a:gd name="T9" fmla="*/ 27 h 141"/>
                <a:gd name="T10" fmla="*/ 119 w 338"/>
                <a:gd name="T11" fmla="*/ 32 h 141"/>
                <a:gd name="T12" fmla="*/ 112 w 338"/>
                <a:gd name="T13" fmla="*/ 34 h 141"/>
                <a:gd name="T14" fmla="*/ 105 w 338"/>
                <a:gd name="T15" fmla="*/ 35 h 141"/>
                <a:gd name="T16" fmla="*/ 99 w 338"/>
                <a:gd name="T17" fmla="*/ 36 h 141"/>
                <a:gd name="T18" fmla="*/ 93 w 338"/>
                <a:gd name="T19" fmla="*/ 37 h 141"/>
                <a:gd name="T20" fmla="*/ 88 w 338"/>
                <a:gd name="T21" fmla="*/ 36 h 141"/>
                <a:gd name="T22" fmla="*/ 84 w 338"/>
                <a:gd name="T23" fmla="*/ 35 h 141"/>
                <a:gd name="T24" fmla="*/ 78 w 338"/>
                <a:gd name="T25" fmla="*/ 32 h 141"/>
                <a:gd name="T26" fmla="*/ 74 w 338"/>
                <a:gd name="T27" fmla="*/ 30 h 141"/>
                <a:gd name="T28" fmla="*/ 66 w 338"/>
                <a:gd name="T29" fmla="*/ 24 h 141"/>
                <a:gd name="T30" fmla="*/ 59 w 338"/>
                <a:gd name="T31" fmla="*/ 18 h 141"/>
                <a:gd name="T32" fmla="*/ 49 w 338"/>
                <a:gd name="T33" fmla="*/ 34 h 141"/>
                <a:gd name="T34" fmla="*/ 37 w 338"/>
                <a:gd name="T35" fmla="*/ 51 h 141"/>
                <a:gd name="T36" fmla="*/ 30 w 338"/>
                <a:gd name="T37" fmla="*/ 60 h 141"/>
                <a:gd name="T38" fmla="*/ 21 w 338"/>
                <a:gd name="T39" fmla="*/ 68 h 141"/>
                <a:gd name="T40" fmla="*/ 11 w 338"/>
                <a:gd name="T41" fmla="*/ 75 h 141"/>
                <a:gd name="T42" fmla="*/ 0 w 338"/>
                <a:gd name="T43" fmla="*/ 80 h 141"/>
                <a:gd name="T44" fmla="*/ 12 w 338"/>
                <a:gd name="T45" fmla="*/ 90 h 141"/>
                <a:gd name="T46" fmla="*/ 23 w 338"/>
                <a:gd name="T47" fmla="*/ 100 h 141"/>
                <a:gd name="T48" fmla="*/ 33 w 338"/>
                <a:gd name="T49" fmla="*/ 108 h 141"/>
                <a:gd name="T50" fmla="*/ 44 w 338"/>
                <a:gd name="T51" fmla="*/ 116 h 141"/>
                <a:gd name="T52" fmla="*/ 55 w 338"/>
                <a:gd name="T53" fmla="*/ 122 h 141"/>
                <a:gd name="T54" fmla="*/ 66 w 338"/>
                <a:gd name="T55" fmla="*/ 129 h 141"/>
                <a:gd name="T56" fmla="*/ 79 w 338"/>
                <a:gd name="T57" fmla="*/ 135 h 141"/>
                <a:gd name="T58" fmla="*/ 93 w 338"/>
                <a:gd name="T59" fmla="*/ 141 h 141"/>
                <a:gd name="T60" fmla="*/ 259 w 338"/>
                <a:gd name="T61" fmla="*/ 141 h 141"/>
                <a:gd name="T62" fmla="*/ 269 w 338"/>
                <a:gd name="T63" fmla="*/ 124 h 141"/>
                <a:gd name="T64" fmla="*/ 281 w 338"/>
                <a:gd name="T65" fmla="*/ 107 h 141"/>
                <a:gd name="T66" fmla="*/ 292 w 338"/>
                <a:gd name="T67" fmla="*/ 92 h 141"/>
                <a:gd name="T68" fmla="*/ 304 w 338"/>
                <a:gd name="T69" fmla="*/ 78 h 141"/>
                <a:gd name="T70" fmla="*/ 315 w 338"/>
                <a:gd name="T71" fmla="*/ 64 h 141"/>
                <a:gd name="T72" fmla="*/ 324 w 338"/>
                <a:gd name="T73" fmla="*/ 48 h 141"/>
                <a:gd name="T74" fmla="*/ 333 w 338"/>
                <a:gd name="T75" fmla="*/ 34 h 141"/>
                <a:gd name="T76" fmla="*/ 338 w 338"/>
                <a:gd name="T77" fmla="*/ 18 h 141"/>
                <a:gd name="T78" fmla="*/ 312 w 338"/>
                <a:gd name="T79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38" h="141">
                  <a:moveTo>
                    <a:pt x="312" y="0"/>
                  </a:moveTo>
                  <a:lnTo>
                    <a:pt x="186" y="0"/>
                  </a:lnTo>
                  <a:lnTo>
                    <a:pt x="168" y="8"/>
                  </a:lnTo>
                  <a:lnTo>
                    <a:pt x="144" y="21"/>
                  </a:lnTo>
                  <a:lnTo>
                    <a:pt x="132" y="27"/>
                  </a:lnTo>
                  <a:lnTo>
                    <a:pt x="119" y="32"/>
                  </a:lnTo>
                  <a:lnTo>
                    <a:pt x="112" y="34"/>
                  </a:lnTo>
                  <a:lnTo>
                    <a:pt x="105" y="35"/>
                  </a:lnTo>
                  <a:lnTo>
                    <a:pt x="99" y="36"/>
                  </a:lnTo>
                  <a:lnTo>
                    <a:pt x="93" y="37"/>
                  </a:lnTo>
                  <a:lnTo>
                    <a:pt x="88" y="36"/>
                  </a:lnTo>
                  <a:lnTo>
                    <a:pt x="84" y="35"/>
                  </a:lnTo>
                  <a:lnTo>
                    <a:pt x="78" y="32"/>
                  </a:lnTo>
                  <a:lnTo>
                    <a:pt x="74" y="30"/>
                  </a:lnTo>
                  <a:lnTo>
                    <a:pt x="66" y="24"/>
                  </a:lnTo>
                  <a:lnTo>
                    <a:pt x="59" y="18"/>
                  </a:lnTo>
                  <a:lnTo>
                    <a:pt x="49" y="34"/>
                  </a:lnTo>
                  <a:lnTo>
                    <a:pt x="37" y="51"/>
                  </a:lnTo>
                  <a:lnTo>
                    <a:pt x="30" y="60"/>
                  </a:lnTo>
                  <a:lnTo>
                    <a:pt x="21" y="68"/>
                  </a:lnTo>
                  <a:lnTo>
                    <a:pt x="11" y="75"/>
                  </a:lnTo>
                  <a:lnTo>
                    <a:pt x="0" y="80"/>
                  </a:lnTo>
                  <a:lnTo>
                    <a:pt x="12" y="90"/>
                  </a:lnTo>
                  <a:lnTo>
                    <a:pt x="23" y="100"/>
                  </a:lnTo>
                  <a:lnTo>
                    <a:pt x="33" y="108"/>
                  </a:lnTo>
                  <a:lnTo>
                    <a:pt x="44" y="116"/>
                  </a:lnTo>
                  <a:lnTo>
                    <a:pt x="55" y="122"/>
                  </a:lnTo>
                  <a:lnTo>
                    <a:pt x="66" y="129"/>
                  </a:lnTo>
                  <a:lnTo>
                    <a:pt x="79" y="135"/>
                  </a:lnTo>
                  <a:lnTo>
                    <a:pt x="93" y="141"/>
                  </a:lnTo>
                  <a:lnTo>
                    <a:pt x="259" y="141"/>
                  </a:lnTo>
                  <a:lnTo>
                    <a:pt x="269" y="124"/>
                  </a:lnTo>
                  <a:lnTo>
                    <a:pt x="281" y="107"/>
                  </a:lnTo>
                  <a:lnTo>
                    <a:pt x="292" y="92"/>
                  </a:lnTo>
                  <a:lnTo>
                    <a:pt x="304" y="78"/>
                  </a:lnTo>
                  <a:lnTo>
                    <a:pt x="315" y="64"/>
                  </a:lnTo>
                  <a:lnTo>
                    <a:pt x="324" y="48"/>
                  </a:lnTo>
                  <a:lnTo>
                    <a:pt x="333" y="34"/>
                  </a:lnTo>
                  <a:lnTo>
                    <a:pt x="338" y="18"/>
                  </a:lnTo>
                  <a:lnTo>
                    <a:pt x="312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22" name="Freeform 344"/>
            <p:cNvSpPr>
              <a:spLocks/>
            </p:cNvSpPr>
            <p:nvPr>
              <p:custDataLst>
                <p:tags r:id="rId248"/>
              </p:custDataLst>
            </p:nvPr>
          </p:nvSpPr>
          <p:spPr bwMode="auto">
            <a:xfrm>
              <a:off x="6588191" y="2462779"/>
              <a:ext cx="111716" cy="65785"/>
            </a:xfrm>
            <a:custGeom>
              <a:avLst/>
              <a:gdLst>
                <a:gd name="T0" fmla="*/ 259 w 259"/>
                <a:gd name="T1" fmla="*/ 129 h 129"/>
                <a:gd name="T2" fmla="*/ 255 w 259"/>
                <a:gd name="T3" fmla="*/ 102 h 129"/>
                <a:gd name="T4" fmla="*/ 252 w 259"/>
                <a:gd name="T5" fmla="*/ 80 h 129"/>
                <a:gd name="T6" fmla="*/ 252 w 259"/>
                <a:gd name="T7" fmla="*/ 63 h 129"/>
                <a:gd name="T8" fmla="*/ 253 w 259"/>
                <a:gd name="T9" fmla="*/ 50 h 129"/>
                <a:gd name="T10" fmla="*/ 257 w 259"/>
                <a:gd name="T11" fmla="*/ 29 h 129"/>
                <a:gd name="T12" fmla="*/ 259 w 259"/>
                <a:gd name="T13" fmla="*/ 12 h 129"/>
                <a:gd name="T14" fmla="*/ 258 w 259"/>
                <a:gd name="T15" fmla="*/ 14 h 129"/>
                <a:gd name="T16" fmla="*/ 256 w 259"/>
                <a:gd name="T17" fmla="*/ 16 h 129"/>
                <a:gd name="T18" fmla="*/ 253 w 259"/>
                <a:gd name="T19" fmla="*/ 17 h 129"/>
                <a:gd name="T20" fmla="*/ 249 w 259"/>
                <a:gd name="T21" fmla="*/ 18 h 129"/>
                <a:gd name="T22" fmla="*/ 239 w 259"/>
                <a:gd name="T23" fmla="*/ 19 h 129"/>
                <a:gd name="T24" fmla="*/ 228 w 259"/>
                <a:gd name="T25" fmla="*/ 19 h 129"/>
                <a:gd name="T26" fmla="*/ 205 w 259"/>
                <a:gd name="T27" fmla="*/ 19 h 129"/>
                <a:gd name="T28" fmla="*/ 192 w 259"/>
                <a:gd name="T29" fmla="*/ 18 h 129"/>
                <a:gd name="T30" fmla="*/ 181 w 259"/>
                <a:gd name="T31" fmla="*/ 17 h 129"/>
                <a:gd name="T32" fmla="*/ 172 w 259"/>
                <a:gd name="T33" fmla="*/ 15 h 129"/>
                <a:gd name="T34" fmla="*/ 163 w 259"/>
                <a:gd name="T35" fmla="*/ 12 h 129"/>
                <a:gd name="T36" fmla="*/ 156 w 259"/>
                <a:gd name="T37" fmla="*/ 9 h 129"/>
                <a:gd name="T38" fmla="*/ 146 w 259"/>
                <a:gd name="T39" fmla="*/ 6 h 129"/>
                <a:gd name="T40" fmla="*/ 134 w 259"/>
                <a:gd name="T41" fmla="*/ 3 h 129"/>
                <a:gd name="T42" fmla="*/ 118 w 259"/>
                <a:gd name="T43" fmla="*/ 1 h 129"/>
                <a:gd name="T44" fmla="*/ 99 w 259"/>
                <a:gd name="T45" fmla="*/ 0 h 129"/>
                <a:gd name="T46" fmla="*/ 83 w 259"/>
                <a:gd name="T47" fmla="*/ 0 h 129"/>
                <a:gd name="T48" fmla="*/ 67 w 259"/>
                <a:gd name="T49" fmla="*/ 0 h 129"/>
                <a:gd name="T50" fmla="*/ 50 w 259"/>
                <a:gd name="T51" fmla="*/ 0 h 129"/>
                <a:gd name="T52" fmla="*/ 34 w 259"/>
                <a:gd name="T53" fmla="*/ 2 h 129"/>
                <a:gd name="T54" fmla="*/ 27 w 259"/>
                <a:gd name="T55" fmla="*/ 4 h 129"/>
                <a:gd name="T56" fmla="*/ 21 w 259"/>
                <a:gd name="T57" fmla="*/ 6 h 129"/>
                <a:gd name="T58" fmla="*/ 14 w 259"/>
                <a:gd name="T59" fmla="*/ 9 h 129"/>
                <a:gd name="T60" fmla="*/ 10 w 259"/>
                <a:gd name="T61" fmla="*/ 13 h 129"/>
                <a:gd name="T62" fmla="*/ 5 w 259"/>
                <a:gd name="T63" fmla="*/ 17 h 129"/>
                <a:gd name="T64" fmla="*/ 2 w 259"/>
                <a:gd name="T65" fmla="*/ 22 h 129"/>
                <a:gd name="T66" fmla="*/ 0 w 259"/>
                <a:gd name="T67" fmla="*/ 29 h 129"/>
                <a:gd name="T68" fmla="*/ 0 w 259"/>
                <a:gd name="T69" fmla="*/ 36 h 129"/>
                <a:gd name="T70" fmla="*/ 0 w 259"/>
                <a:gd name="T71" fmla="*/ 48 h 129"/>
                <a:gd name="T72" fmla="*/ 3 w 259"/>
                <a:gd name="T73" fmla="*/ 58 h 129"/>
                <a:gd name="T74" fmla="*/ 6 w 259"/>
                <a:gd name="T75" fmla="*/ 65 h 129"/>
                <a:gd name="T76" fmla="*/ 12 w 259"/>
                <a:gd name="T77" fmla="*/ 71 h 129"/>
                <a:gd name="T78" fmla="*/ 17 w 259"/>
                <a:gd name="T79" fmla="*/ 76 h 129"/>
                <a:gd name="T80" fmla="*/ 24 w 259"/>
                <a:gd name="T81" fmla="*/ 80 h 129"/>
                <a:gd name="T82" fmla="*/ 31 w 259"/>
                <a:gd name="T83" fmla="*/ 83 h 129"/>
                <a:gd name="T84" fmla="*/ 37 w 259"/>
                <a:gd name="T85" fmla="*/ 85 h 129"/>
                <a:gd name="T86" fmla="*/ 50 w 259"/>
                <a:gd name="T87" fmla="*/ 88 h 129"/>
                <a:gd name="T88" fmla="*/ 61 w 259"/>
                <a:gd name="T89" fmla="*/ 92 h 129"/>
                <a:gd name="T90" fmla="*/ 65 w 259"/>
                <a:gd name="T91" fmla="*/ 95 h 129"/>
                <a:gd name="T92" fmla="*/ 67 w 259"/>
                <a:gd name="T93" fmla="*/ 99 h 129"/>
                <a:gd name="T94" fmla="*/ 67 w 259"/>
                <a:gd name="T95" fmla="*/ 105 h 129"/>
                <a:gd name="T96" fmla="*/ 66 w 259"/>
                <a:gd name="T97" fmla="*/ 111 h 129"/>
                <a:gd name="T98" fmla="*/ 81 w 259"/>
                <a:gd name="T99" fmla="*/ 110 h 129"/>
                <a:gd name="T100" fmla="*/ 91 w 259"/>
                <a:gd name="T101" fmla="*/ 108 h 129"/>
                <a:gd name="T102" fmla="*/ 98 w 259"/>
                <a:gd name="T103" fmla="*/ 106 h 129"/>
                <a:gd name="T104" fmla="*/ 105 w 259"/>
                <a:gd name="T105" fmla="*/ 105 h 129"/>
                <a:gd name="T106" fmla="*/ 120 w 259"/>
                <a:gd name="T107" fmla="*/ 106 h 129"/>
                <a:gd name="T108" fmla="*/ 140 w 259"/>
                <a:gd name="T109" fmla="*/ 108 h 129"/>
                <a:gd name="T110" fmla="*/ 166 w 259"/>
                <a:gd name="T111" fmla="*/ 112 h 129"/>
                <a:gd name="T112" fmla="*/ 192 w 259"/>
                <a:gd name="T113" fmla="*/ 117 h 129"/>
                <a:gd name="T114" fmla="*/ 238 w 259"/>
                <a:gd name="T115" fmla="*/ 125 h 129"/>
                <a:gd name="T116" fmla="*/ 259 w 259"/>
                <a:gd name="T117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29">
                  <a:moveTo>
                    <a:pt x="259" y="129"/>
                  </a:moveTo>
                  <a:lnTo>
                    <a:pt x="255" y="102"/>
                  </a:lnTo>
                  <a:lnTo>
                    <a:pt x="252" y="80"/>
                  </a:lnTo>
                  <a:lnTo>
                    <a:pt x="252" y="63"/>
                  </a:lnTo>
                  <a:lnTo>
                    <a:pt x="253" y="50"/>
                  </a:lnTo>
                  <a:lnTo>
                    <a:pt x="257" y="29"/>
                  </a:lnTo>
                  <a:lnTo>
                    <a:pt x="259" y="12"/>
                  </a:lnTo>
                  <a:lnTo>
                    <a:pt x="258" y="14"/>
                  </a:lnTo>
                  <a:lnTo>
                    <a:pt x="256" y="16"/>
                  </a:lnTo>
                  <a:lnTo>
                    <a:pt x="253" y="17"/>
                  </a:lnTo>
                  <a:lnTo>
                    <a:pt x="249" y="18"/>
                  </a:lnTo>
                  <a:lnTo>
                    <a:pt x="239" y="19"/>
                  </a:lnTo>
                  <a:lnTo>
                    <a:pt x="228" y="19"/>
                  </a:lnTo>
                  <a:lnTo>
                    <a:pt x="205" y="19"/>
                  </a:lnTo>
                  <a:lnTo>
                    <a:pt x="192" y="18"/>
                  </a:lnTo>
                  <a:lnTo>
                    <a:pt x="181" y="17"/>
                  </a:lnTo>
                  <a:lnTo>
                    <a:pt x="172" y="15"/>
                  </a:lnTo>
                  <a:lnTo>
                    <a:pt x="163" y="12"/>
                  </a:lnTo>
                  <a:lnTo>
                    <a:pt x="156" y="9"/>
                  </a:lnTo>
                  <a:lnTo>
                    <a:pt x="146" y="6"/>
                  </a:lnTo>
                  <a:lnTo>
                    <a:pt x="134" y="3"/>
                  </a:lnTo>
                  <a:lnTo>
                    <a:pt x="118" y="1"/>
                  </a:lnTo>
                  <a:lnTo>
                    <a:pt x="99" y="0"/>
                  </a:lnTo>
                  <a:lnTo>
                    <a:pt x="83" y="0"/>
                  </a:lnTo>
                  <a:lnTo>
                    <a:pt x="67" y="0"/>
                  </a:lnTo>
                  <a:lnTo>
                    <a:pt x="50" y="0"/>
                  </a:lnTo>
                  <a:lnTo>
                    <a:pt x="34" y="2"/>
                  </a:lnTo>
                  <a:lnTo>
                    <a:pt x="27" y="4"/>
                  </a:lnTo>
                  <a:lnTo>
                    <a:pt x="21" y="6"/>
                  </a:lnTo>
                  <a:lnTo>
                    <a:pt x="14" y="9"/>
                  </a:lnTo>
                  <a:lnTo>
                    <a:pt x="10" y="13"/>
                  </a:lnTo>
                  <a:lnTo>
                    <a:pt x="5" y="17"/>
                  </a:lnTo>
                  <a:lnTo>
                    <a:pt x="2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0" y="48"/>
                  </a:lnTo>
                  <a:lnTo>
                    <a:pt x="3" y="58"/>
                  </a:lnTo>
                  <a:lnTo>
                    <a:pt x="6" y="65"/>
                  </a:lnTo>
                  <a:lnTo>
                    <a:pt x="12" y="71"/>
                  </a:lnTo>
                  <a:lnTo>
                    <a:pt x="17" y="76"/>
                  </a:lnTo>
                  <a:lnTo>
                    <a:pt x="24" y="80"/>
                  </a:lnTo>
                  <a:lnTo>
                    <a:pt x="31" y="83"/>
                  </a:lnTo>
                  <a:lnTo>
                    <a:pt x="37" y="85"/>
                  </a:lnTo>
                  <a:lnTo>
                    <a:pt x="50" y="88"/>
                  </a:lnTo>
                  <a:lnTo>
                    <a:pt x="61" y="92"/>
                  </a:lnTo>
                  <a:lnTo>
                    <a:pt x="65" y="95"/>
                  </a:lnTo>
                  <a:lnTo>
                    <a:pt x="67" y="99"/>
                  </a:lnTo>
                  <a:lnTo>
                    <a:pt x="67" y="105"/>
                  </a:lnTo>
                  <a:lnTo>
                    <a:pt x="66" y="111"/>
                  </a:lnTo>
                  <a:lnTo>
                    <a:pt x="81" y="110"/>
                  </a:lnTo>
                  <a:lnTo>
                    <a:pt x="91" y="108"/>
                  </a:lnTo>
                  <a:lnTo>
                    <a:pt x="98" y="106"/>
                  </a:lnTo>
                  <a:lnTo>
                    <a:pt x="105" y="105"/>
                  </a:lnTo>
                  <a:lnTo>
                    <a:pt x="120" y="106"/>
                  </a:lnTo>
                  <a:lnTo>
                    <a:pt x="140" y="108"/>
                  </a:lnTo>
                  <a:lnTo>
                    <a:pt x="166" y="112"/>
                  </a:lnTo>
                  <a:lnTo>
                    <a:pt x="192" y="117"/>
                  </a:lnTo>
                  <a:lnTo>
                    <a:pt x="238" y="125"/>
                  </a:lnTo>
                  <a:lnTo>
                    <a:pt x="259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23" name="Freeform 345"/>
            <p:cNvSpPr>
              <a:spLocks/>
            </p:cNvSpPr>
            <p:nvPr>
              <p:custDataLst>
                <p:tags r:id="rId249"/>
              </p:custDataLst>
            </p:nvPr>
          </p:nvSpPr>
          <p:spPr bwMode="auto">
            <a:xfrm>
              <a:off x="6600959" y="2810259"/>
              <a:ext cx="180341" cy="143377"/>
            </a:xfrm>
            <a:custGeom>
              <a:avLst/>
              <a:gdLst>
                <a:gd name="T0" fmla="*/ 418 w 425"/>
                <a:gd name="T1" fmla="*/ 170 h 272"/>
                <a:gd name="T2" fmla="*/ 398 w 425"/>
                <a:gd name="T3" fmla="*/ 188 h 272"/>
                <a:gd name="T4" fmla="*/ 383 w 425"/>
                <a:gd name="T5" fmla="*/ 206 h 272"/>
                <a:gd name="T6" fmla="*/ 384 w 425"/>
                <a:gd name="T7" fmla="*/ 221 h 272"/>
                <a:gd name="T8" fmla="*/ 389 w 425"/>
                <a:gd name="T9" fmla="*/ 237 h 272"/>
                <a:gd name="T10" fmla="*/ 375 w 425"/>
                <a:gd name="T11" fmla="*/ 244 h 272"/>
                <a:gd name="T12" fmla="*/ 347 w 425"/>
                <a:gd name="T13" fmla="*/ 238 h 272"/>
                <a:gd name="T14" fmla="*/ 324 w 425"/>
                <a:gd name="T15" fmla="*/ 235 h 272"/>
                <a:gd name="T16" fmla="*/ 295 w 425"/>
                <a:gd name="T17" fmla="*/ 235 h 272"/>
                <a:gd name="T18" fmla="*/ 263 w 425"/>
                <a:gd name="T19" fmla="*/ 243 h 272"/>
                <a:gd name="T20" fmla="*/ 232 w 425"/>
                <a:gd name="T21" fmla="*/ 254 h 272"/>
                <a:gd name="T22" fmla="*/ 197 w 425"/>
                <a:gd name="T23" fmla="*/ 267 h 272"/>
                <a:gd name="T24" fmla="*/ 100 w 425"/>
                <a:gd name="T25" fmla="*/ 240 h 272"/>
                <a:gd name="T26" fmla="*/ 85 w 425"/>
                <a:gd name="T27" fmla="*/ 226 h 272"/>
                <a:gd name="T28" fmla="*/ 70 w 425"/>
                <a:gd name="T29" fmla="*/ 214 h 272"/>
                <a:gd name="T30" fmla="*/ 37 w 425"/>
                <a:gd name="T31" fmla="*/ 192 h 272"/>
                <a:gd name="T32" fmla="*/ 22 w 425"/>
                <a:gd name="T33" fmla="*/ 180 h 272"/>
                <a:gd name="T34" fmla="*/ 11 w 425"/>
                <a:gd name="T35" fmla="*/ 167 h 272"/>
                <a:gd name="T36" fmla="*/ 2 w 425"/>
                <a:gd name="T37" fmla="*/ 150 h 272"/>
                <a:gd name="T38" fmla="*/ 0 w 425"/>
                <a:gd name="T39" fmla="*/ 129 h 272"/>
                <a:gd name="T40" fmla="*/ 50 w 425"/>
                <a:gd name="T41" fmla="*/ 66 h 272"/>
                <a:gd name="T42" fmla="*/ 71 w 425"/>
                <a:gd name="T43" fmla="*/ 36 h 272"/>
                <a:gd name="T44" fmla="*/ 80 w 425"/>
                <a:gd name="T45" fmla="*/ 22 h 272"/>
                <a:gd name="T46" fmla="*/ 85 w 425"/>
                <a:gd name="T47" fmla="*/ 6 h 272"/>
                <a:gd name="T48" fmla="*/ 123 w 425"/>
                <a:gd name="T49" fmla="*/ 10 h 272"/>
                <a:gd name="T50" fmla="*/ 153 w 425"/>
                <a:gd name="T51" fmla="*/ 18 h 272"/>
                <a:gd name="T52" fmla="*/ 180 w 425"/>
                <a:gd name="T53" fmla="*/ 27 h 272"/>
                <a:gd name="T54" fmla="*/ 205 w 425"/>
                <a:gd name="T55" fmla="*/ 31 h 272"/>
                <a:gd name="T56" fmla="*/ 214 w 425"/>
                <a:gd name="T57" fmla="*/ 29 h 272"/>
                <a:gd name="T58" fmla="*/ 221 w 425"/>
                <a:gd name="T59" fmla="*/ 26 h 272"/>
                <a:gd name="T60" fmla="*/ 232 w 425"/>
                <a:gd name="T61" fmla="*/ 15 h 272"/>
                <a:gd name="T62" fmla="*/ 242 w 425"/>
                <a:gd name="T63" fmla="*/ 5 h 272"/>
                <a:gd name="T64" fmla="*/ 250 w 425"/>
                <a:gd name="T65" fmla="*/ 2 h 272"/>
                <a:gd name="T66" fmla="*/ 259 w 425"/>
                <a:gd name="T67" fmla="*/ 0 h 272"/>
                <a:gd name="T68" fmla="*/ 275 w 425"/>
                <a:gd name="T69" fmla="*/ 2 h 272"/>
                <a:gd name="T70" fmla="*/ 289 w 425"/>
                <a:gd name="T71" fmla="*/ 7 h 272"/>
                <a:gd name="T72" fmla="*/ 302 w 425"/>
                <a:gd name="T73" fmla="*/ 15 h 272"/>
                <a:gd name="T74" fmla="*/ 310 w 425"/>
                <a:gd name="T75" fmla="*/ 26 h 272"/>
                <a:gd name="T76" fmla="*/ 325 w 425"/>
                <a:gd name="T77" fmla="*/ 53 h 272"/>
                <a:gd name="T78" fmla="*/ 337 w 425"/>
                <a:gd name="T79" fmla="*/ 82 h 272"/>
                <a:gd name="T80" fmla="*/ 349 w 425"/>
                <a:gd name="T81" fmla="*/ 113 h 272"/>
                <a:gd name="T82" fmla="*/ 356 w 425"/>
                <a:gd name="T83" fmla="*/ 126 h 272"/>
                <a:gd name="T84" fmla="*/ 365 w 425"/>
                <a:gd name="T85" fmla="*/ 138 h 272"/>
                <a:gd name="T86" fmla="*/ 376 w 425"/>
                <a:gd name="T87" fmla="*/ 147 h 272"/>
                <a:gd name="T88" fmla="*/ 389 w 425"/>
                <a:gd name="T89" fmla="*/ 156 h 272"/>
                <a:gd name="T90" fmla="*/ 405 w 425"/>
                <a:gd name="T91" fmla="*/ 160 h 272"/>
                <a:gd name="T92" fmla="*/ 425 w 425"/>
                <a:gd name="T93" fmla="*/ 161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5" h="272">
                  <a:moveTo>
                    <a:pt x="425" y="161"/>
                  </a:moveTo>
                  <a:lnTo>
                    <a:pt x="418" y="170"/>
                  </a:lnTo>
                  <a:lnTo>
                    <a:pt x="409" y="179"/>
                  </a:lnTo>
                  <a:lnTo>
                    <a:pt x="398" y="188"/>
                  </a:lnTo>
                  <a:lnTo>
                    <a:pt x="385" y="197"/>
                  </a:lnTo>
                  <a:lnTo>
                    <a:pt x="383" y="206"/>
                  </a:lnTo>
                  <a:lnTo>
                    <a:pt x="383" y="214"/>
                  </a:lnTo>
                  <a:lnTo>
                    <a:pt x="384" y="221"/>
                  </a:lnTo>
                  <a:lnTo>
                    <a:pt x="385" y="227"/>
                  </a:lnTo>
                  <a:lnTo>
                    <a:pt x="389" y="237"/>
                  </a:lnTo>
                  <a:lnTo>
                    <a:pt x="392" y="246"/>
                  </a:lnTo>
                  <a:lnTo>
                    <a:pt x="375" y="244"/>
                  </a:lnTo>
                  <a:lnTo>
                    <a:pt x="356" y="240"/>
                  </a:lnTo>
                  <a:lnTo>
                    <a:pt x="347" y="238"/>
                  </a:lnTo>
                  <a:lnTo>
                    <a:pt x="336" y="236"/>
                  </a:lnTo>
                  <a:lnTo>
                    <a:pt x="324" y="235"/>
                  </a:lnTo>
                  <a:lnTo>
                    <a:pt x="311" y="234"/>
                  </a:lnTo>
                  <a:lnTo>
                    <a:pt x="295" y="235"/>
                  </a:lnTo>
                  <a:lnTo>
                    <a:pt x="278" y="238"/>
                  </a:lnTo>
                  <a:lnTo>
                    <a:pt x="263" y="243"/>
                  </a:lnTo>
                  <a:lnTo>
                    <a:pt x="248" y="248"/>
                  </a:lnTo>
                  <a:lnTo>
                    <a:pt x="232" y="254"/>
                  </a:lnTo>
                  <a:lnTo>
                    <a:pt x="215" y="260"/>
                  </a:lnTo>
                  <a:lnTo>
                    <a:pt x="197" y="267"/>
                  </a:lnTo>
                  <a:lnTo>
                    <a:pt x="179" y="272"/>
                  </a:lnTo>
                  <a:lnTo>
                    <a:pt x="100" y="240"/>
                  </a:lnTo>
                  <a:lnTo>
                    <a:pt x="92" y="233"/>
                  </a:lnTo>
                  <a:lnTo>
                    <a:pt x="85" y="226"/>
                  </a:lnTo>
                  <a:lnTo>
                    <a:pt x="78" y="220"/>
                  </a:lnTo>
                  <a:lnTo>
                    <a:pt x="70" y="214"/>
                  </a:lnTo>
                  <a:lnTo>
                    <a:pt x="52" y="202"/>
                  </a:lnTo>
                  <a:lnTo>
                    <a:pt x="37" y="192"/>
                  </a:lnTo>
                  <a:lnTo>
                    <a:pt x="29" y="186"/>
                  </a:lnTo>
                  <a:lnTo>
                    <a:pt x="22" y="180"/>
                  </a:lnTo>
                  <a:lnTo>
                    <a:pt x="16" y="174"/>
                  </a:lnTo>
                  <a:lnTo>
                    <a:pt x="11" y="167"/>
                  </a:lnTo>
                  <a:lnTo>
                    <a:pt x="6" y="159"/>
                  </a:lnTo>
                  <a:lnTo>
                    <a:pt x="2" y="150"/>
                  </a:lnTo>
                  <a:lnTo>
                    <a:pt x="0" y="140"/>
                  </a:lnTo>
                  <a:lnTo>
                    <a:pt x="0" y="129"/>
                  </a:lnTo>
                  <a:lnTo>
                    <a:pt x="25" y="95"/>
                  </a:lnTo>
                  <a:lnTo>
                    <a:pt x="50" y="66"/>
                  </a:lnTo>
                  <a:lnTo>
                    <a:pt x="61" y="52"/>
                  </a:lnTo>
                  <a:lnTo>
                    <a:pt x="71" y="36"/>
                  </a:lnTo>
                  <a:lnTo>
                    <a:pt x="75" y="29"/>
                  </a:lnTo>
                  <a:lnTo>
                    <a:pt x="80" y="22"/>
                  </a:lnTo>
                  <a:lnTo>
                    <a:pt x="83" y="14"/>
                  </a:lnTo>
                  <a:lnTo>
                    <a:pt x="85" y="6"/>
                  </a:lnTo>
                  <a:lnTo>
                    <a:pt x="105" y="7"/>
                  </a:lnTo>
                  <a:lnTo>
                    <a:pt x="123" y="10"/>
                  </a:lnTo>
                  <a:lnTo>
                    <a:pt x="138" y="14"/>
                  </a:lnTo>
                  <a:lnTo>
                    <a:pt x="153" y="18"/>
                  </a:lnTo>
                  <a:lnTo>
                    <a:pt x="166" y="23"/>
                  </a:lnTo>
                  <a:lnTo>
                    <a:pt x="180" y="27"/>
                  </a:lnTo>
                  <a:lnTo>
                    <a:pt x="193" y="30"/>
                  </a:lnTo>
                  <a:lnTo>
                    <a:pt x="205" y="31"/>
                  </a:lnTo>
                  <a:lnTo>
                    <a:pt x="210" y="30"/>
                  </a:lnTo>
                  <a:lnTo>
                    <a:pt x="214" y="29"/>
                  </a:lnTo>
                  <a:lnTo>
                    <a:pt x="218" y="28"/>
                  </a:lnTo>
                  <a:lnTo>
                    <a:pt x="221" y="26"/>
                  </a:lnTo>
                  <a:lnTo>
                    <a:pt x="227" y="21"/>
                  </a:lnTo>
                  <a:lnTo>
                    <a:pt x="232" y="15"/>
                  </a:lnTo>
                  <a:lnTo>
                    <a:pt x="237" y="10"/>
                  </a:lnTo>
                  <a:lnTo>
                    <a:pt x="242" y="5"/>
                  </a:lnTo>
                  <a:lnTo>
                    <a:pt x="246" y="3"/>
                  </a:lnTo>
                  <a:lnTo>
                    <a:pt x="250" y="2"/>
                  </a:lnTo>
                  <a:lnTo>
                    <a:pt x="253" y="1"/>
                  </a:lnTo>
                  <a:lnTo>
                    <a:pt x="259" y="0"/>
                  </a:lnTo>
                  <a:lnTo>
                    <a:pt x="268" y="1"/>
                  </a:lnTo>
                  <a:lnTo>
                    <a:pt x="275" y="2"/>
                  </a:lnTo>
                  <a:lnTo>
                    <a:pt x="283" y="4"/>
                  </a:lnTo>
                  <a:lnTo>
                    <a:pt x="289" y="7"/>
                  </a:lnTo>
                  <a:lnTo>
                    <a:pt x="296" y="11"/>
                  </a:lnTo>
                  <a:lnTo>
                    <a:pt x="302" y="15"/>
                  </a:lnTo>
                  <a:lnTo>
                    <a:pt x="306" y="20"/>
                  </a:lnTo>
                  <a:lnTo>
                    <a:pt x="310" y="26"/>
                  </a:lnTo>
                  <a:lnTo>
                    <a:pt x="318" y="38"/>
                  </a:lnTo>
                  <a:lnTo>
                    <a:pt x="325" y="53"/>
                  </a:lnTo>
                  <a:lnTo>
                    <a:pt x="331" y="67"/>
                  </a:lnTo>
                  <a:lnTo>
                    <a:pt x="337" y="82"/>
                  </a:lnTo>
                  <a:lnTo>
                    <a:pt x="342" y="98"/>
                  </a:lnTo>
                  <a:lnTo>
                    <a:pt x="349" y="113"/>
                  </a:lnTo>
                  <a:lnTo>
                    <a:pt x="352" y="119"/>
                  </a:lnTo>
                  <a:lnTo>
                    <a:pt x="356" y="126"/>
                  </a:lnTo>
                  <a:lnTo>
                    <a:pt x="360" y="132"/>
                  </a:lnTo>
                  <a:lnTo>
                    <a:pt x="365" y="138"/>
                  </a:lnTo>
                  <a:lnTo>
                    <a:pt x="370" y="143"/>
                  </a:lnTo>
                  <a:lnTo>
                    <a:pt x="376" y="147"/>
                  </a:lnTo>
                  <a:lnTo>
                    <a:pt x="382" y="151"/>
                  </a:lnTo>
                  <a:lnTo>
                    <a:pt x="389" y="156"/>
                  </a:lnTo>
                  <a:lnTo>
                    <a:pt x="397" y="158"/>
                  </a:lnTo>
                  <a:lnTo>
                    <a:pt x="405" y="160"/>
                  </a:lnTo>
                  <a:lnTo>
                    <a:pt x="415" y="161"/>
                  </a:lnTo>
                  <a:lnTo>
                    <a:pt x="425" y="1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865" name="Freeform 346"/>
            <p:cNvSpPr>
              <a:spLocks/>
            </p:cNvSpPr>
            <p:nvPr>
              <p:custDataLst>
                <p:tags r:id="rId250"/>
              </p:custDataLst>
            </p:nvPr>
          </p:nvSpPr>
          <p:spPr bwMode="auto">
            <a:xfrm>
              <a:off x="4601207" y="3848539"/>
              <a:ext cx="14287" cy="55563"/>
            </a:xfrm>
            <a:custGeom>
              <a:avLst/>
              <a:gdLst>
                <a:gd name="T0" fmla="*/ 2147483647 w 33"/>
                <a:gd name="T1" fmla="*/ 2147483647 h 31"/>
                <a:gd name="T2" fmla="*/ 0 w 33"/>
                <a:gd name="T3" fmla="*/ 2147483647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2147483647 w 33"/>
                <a:gd name="T17" fmla="*/ 0 h 31"/>
                <a:gd name="T18" fmla="*/ 2147483647 w 33"/>
                <a:gd name="T19" fmla="*/ 0 h 31"/>
                <a:gd name="T20" fmla="*/ 2147483647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13" y="6"/>
                  </a:moveTo>
                  <a:lnTo>
                    <a:pt x="0" y="19"/>
                  </a:lnTo>
                  <a:lnTo>
                    <a:pt x="5" y="21"/>
                  </a:lnTo>
                  <a:lnTo>
                    <a:pt x="14" y="25"/>
                  </a:lnTo>
                  <a:lnTo>
                    <a:pt x="19" y="27"/>
                  </a:lnTo>
                  <a:lnTo>
                    <a:pt x="23" y="29"/>
                  </a:lnTo>
                  <a:lnTo>
                    <a:pt x="27" y="30"/>
                  </a:lnTo>
                  <a:lnTo>
                    <a:pt x="33" y="31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25" name="Freeform 347"/>
            <p:cNvSpPr>
              <a:spLocks/>
            </p:cNvSpPr>
            <p:nvPr>
              <p:custDataLst>
                <p:tags r:id="rId251"/>
              </p:custDataLst>
            </p:nvPr>
          </p:nvSpPr>
          <p:spPr bwMode="auto">
            <a:xfrm>
              <a:off x="6706291" y="2801825"/>
              <a:ext cx="86181" cy="79280"/>
            </a:xfrm>
            <a:custGeom>
              <a:avLst/>
              <a:gdLst>
                <a:gd name="T0" fmla="*/ 6 w 192"/>
                <a:gd name="T1" fmla="*/ 19 h 154"/>
                <a:gd name="T2" fmla="*/ 52 w 192"/>
                <a:gd name="T3" fmla="*/ 0 h 154"/>
                <a:gd name="T4" fmla="*/ 92 w 192"/>
                <a:gd name="T5" fmla="*/ 19 h 154"/>
                <a:gd name="T6" fmla="*/ 119 w 192"/>
                <a:gd name="T7" fmla="*/ 31 h 154"/>
                <a:gd name="T8" fmla="*/ 146 w 192"/>
                <a:gd name="T9" fmla="*/ 63 h 154"/>
                <a:gd name="T10" fmla="*/ 166 w 192"/>
                <a:gd name="T11" fmla="*/ 93 h 154"/>
                <a:gd name="T12" fmla="*/ 192 w 192"/>
                <a:gd name="T13" fmla="*/ 118 h 154"/>
                <a:gd name="T14" fmla="*/ 152 w 192"/>
                <a:gd name="T15" fmla="*/ 124 h 154"/>
                <a:gd name="T16" fmla="*/ 126 w 192"/>
                <a:gd name="T17" fmla="*/ 130 h 154"/>
                <a:gd name="T18" fmla="*/ 126 w 192"/>
                <a:gd name="T19" fmla="*/ 154 h 154"/>
                <a:gd name="T20" fmla="*/ 106 w 192"/>
                <a:gd name="T21" fmla="*/ 154 h 154"/>
                <a:gd name="T22" fmla="*/ 99 w 192"/>
                <a:gd name="T23" fmla="*/ 146 h 154"/>
                <a:gd name="T24" fmla="*/ 93 w 192"/>
                <a:gd name="T25" fmla="*/ 137 h 154"/>
                <a:gd name="T26" fmla="*/ 88 w 192"/>
                <a:gd name="T27" fmla="*/ 126 h 154"/>
                <a:gd name="T28" fmla="*/ 82 w 192"/>
                <a:gd name="T29" fmla="*/ 115 h 154"/>
                <a:gd name="T30" fmla="*/ 74 w 192"/>
                <a:gd name="T31" fmla="*/ 93 h 154"/>
                <a:gd name="T32" fmla="*/ 65 w 192"/>
                <a:gd name="T33" fmla="*/ 71 h 154"/>
                <a:gd name="T34" fmla="*/ 60 w 192"/>
                <a:gd name="T35" fmla="*/ 61 h 154"/>
                <a:gd name="T36" fmla="*/ 55 w 192"/>
                <a:gd name="T37" fmla="*/ 50 h 154"/>
                <a:gd name="T38" fmla="*/ 48 w 192"/>
                <a:gd name="T39" fmla="*/ 42 h 154"/>
                <a:gd name="T40" fmla="*/ 41 w 192"/>
                <a:gd name="T41" fmla="*/ 34 h 154"/>
                <a:gd name="T42" fmla="*/ 33 w 192"/>
                <a:gd name="T43" fmla="*/ 28 h 154"/>
                <a:gd name="T44" fmla="*/ 24 w 192"/>
                <a:gd name="T45" fmla="*/ 23 h 154"/>
                <a:gd name="T46" fmla="*/ 18 w 192"/>
                <a:gd name="T47" fmla="*/ 22 h 154"/>
                <a:gd name="T48" fmla="*/ 12 w 192"/>
                <a:gd name="T49" fmla="*/ 20 h 154"/>
                <a:gd name="T50" fmla="*/ 6 w 192"/>
                <a:gd name="T51" fmla="*/ 20 h 154"/>
                <a:gd name="T52" fmla="*/ 0 w 192"/>
                <a:gd name="T53" fmla="*/ 19 h 154"/>
                <a:gd name="T54" fmla="*/ 6 w 192"/>
                <a:gd name="T55" fmla="*/ 19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92" h="154">
                  <a:moveTo>
                    <a:pt x="6" y="19"/>
                  </a:moveTo>
                  <a:lnTo>
                    <a:pt x="52" y="0"/>
                  </a:lnTo>
                  <a:lnTo>
                    <a:pt x="92" y="19"/>
                  </a:lnTo>
                  <a:lnTo>
                    <a:pt x="119" y="31"/>
                  </a:lnTo>
                  <a:lnTo>
                    <a:pt x="146" y="63"/>
                  </a:lnTo>
                  <a:lnTo>
                    <a:pt x="166" y="93"/>
                  </a:lnTo>
                  <a:lnTo>
                    <a:pt x="192" y="118"/>
                  </a:lnTo>
                  <a:lnTo>
                    <a:pt x="152" y="124"/>
                  </a:lnTo>
                  <a:lnTo>
                    <a:pt x="126" y="130"/>
                  </a:lnTo>
                  <a:lnTo>
                    <a:pt x="126" y="154"/>
                  </a:lnTo>
                  <a:lnTo>
                    <a:pt x="106" y="154"/>
                  </a:lnTo>
                  <a:lnTo>
                    <a:pt x="99" y="146"/>
                  </a:lnTo>
                  <a:lnTo>
                    <a:pt x="93" y="137"/>
                  </a:lnTo>
                  <a:lnTo>
                    <a:pt x="88" y="126"/>
                  </a:lnTo>
                  <a:lnTo>
                    <a:pt x="82" y="115"/>
                  </a:lnTo>
                  <a:lnTo>
                    <a:pt x="74" y="93"/>
                  </a:lnTo>
                  <a:lnTo>
                    <a:pt x="65" y="71"/>
                  </a:lnTo>
                  <a:lnTo>
                    <a:pt x="60" y="61"/>
                  </a:lnTo>
                  <a:lnTo>
                    <a:pt x="55" y="50"/>
                  </a:lnTo>
                  <a:lnTo>
                    <a:pt x="48" y="42"/>
                  </a:lnTo>
                  <a:lnTo>
                    <a:pt x="41" y="34"/>
                  </a:lnTo>
                  <a:lnTo>
                    <a:pt x="33" y="28"/>
                  </a:lnTo>
                  <a:lnTo>
                    <a:pt x="24" y="23"/>
                  </a:lnTo>
                  <a:lnTo>
                    <a:pt x="18" y="22"/>
                  </a:lnTo>
                  <a:lnTo>
                    <a:pt x="12" y="20"/>
                  </a:lnTo>
                  <a:lnTo>
                    <a:pt x="6" y="20"/>
                  </a:lnTo>
                  <a:lnTo>
                    <a:pt x="0" y="19"/>
                  </a:lnTo>
                  <a:lnTo>
                    <a:pt x="6" y="19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26" name="Freeform 348"/>
            <p:cNvSpPr>
              <a:spLocks/>
            </p:cNvSpPr>
            <p:nvPr>
              <p:custDataLst>
                <p:tags r:id="rId252"/>
              </p:custDataLst>
            </p:nvPr>
          </p:nvSpPr>
          <p:spPr bwMode="auto">
            <a:xfrm>
              <a:off x="6623302" y="2685436"/>
              <a:ext cx="381430" cy="247959"/>
            </a:xfrm>
            <a:custGeom>
              <a:avLst/>
              <a:gdLst>
                <a:gd name="T0" fmla="*/ 392 w 877"/>
                <a:gd name="T1" fmla="*/ 340 h 469"/>
                <a:gd name="T2" fmla="*/ 319 w 877"/>
                <a:gd name="T3" fmla="*/ 253 h 469"/>
                <a:gd name="T4" fmla="*/ 206 w 877"/>
                <a:gd name="T5" fmla="*/ 241 h 469"/>
                <a:gd name="T6" fmla="*/ 191 w 877"/>
                <a:gd name="T7" fmla="*/ 243 h 469"/>
                <a:gd name="T8" fmla="*/ 178 w 877"/>
                <a:gd name="T9" fmla="*/ 251 h 469"/>
                <a:gd name="T10" fmla="*/ 162 w 877"/>
                <a:gd name="T11" fmla="*/ 267 h 469"/>
                <a:gd name="T12" fmla="*/ 151 w 877"/>
                <a:gd name="T13" fmla="*/ 271 h 469"/>
                <a:gd name="T14" fmla="*/ 121 w 877"/>
                <a:gd name="T15" fmla="*/ 268 h 469"/>
                <a:gd name="T16" fmla="*/ 79 w 877"/>
                <a:gd name="T17" fmla="*/ 255 h 469"/>
                <a:gd name="T18" fmla="*/ 26 w 877"/>
                <a:gd name="T19" fmla="*/ 247 h 469"/>
                <a:gd name="T20" fmla="*/ 8 w 877"/>
                <a:gd name="T21" fmla="*/ 212 h 469"/>
                <a:gd name="T22" fmla="*/ 13 w 877"/>
                <a:gd name="T23" fmla="*/ 187 h 469"/>
                <a:gd name="T24" fmla="*/ 13 w 877"/>
                <a:gd name="T25" fmla="*/ 180 h 469"/>
                <a:gd name="T26" fmla="*/ 23 w 877"/>
                <a:gd name="T27" fmla="*/ 144 h 469"/>
                <a:gd name="T28" fmla="*/ 44 w 877"/>
                <a:gd name="T29" fmla="*/ 112 h 469"/>
                <a:gd name="T30" fmla="*/ 54 w 877"/>
                <a:gd name="T31" fmla="*/ 92 h 469"/>
                <a:gd name="T32" fmla="*/ 26 w 877"/>
                <a:gd name="T33" fmla="*/ 50 h 469"/>
                <a:gd name="T34" fmla="*/ 173 w 877"/>
                <a:gd name="T35" fmla="*/ 26 h 469"/>
                <a:gd name="T36" fmla="*/ 339 w 877"/>
                <a:gd name="T37" fmla="*/ 50 h 469"/>
                <a:gd name="T38" fmla="*/ 392 w 877"/>
                <a:gd name="T39" fmla="*/ 13 h 469"/>
                <a:gd name="T40" fmla="*/ 485 w 877"/>
                <a:gd name="T41" fmla="*/ 0 h 469"/>
                <a:gd name="T42" fmla="*/ 579 w 877"/>
                <a:gd name="T43" fmla="*/ 38 h 469"/>
                <a:gd name="T44" fmla="*/ 638 w 877"/>
                <a:gd name="T45" fmla="*/ 111 h 469"/>
                <a:gd name="T46" fmla="*/ 725 w 877"/>
                <a:gd name="T47" fmla="*/ 111 h 469"/>
                <a:gd name="T48" fmla="*/ 838 w 877"/>
                <a:gd name="T49" fmla="*/ 155 h 469"/>
                <a:gd name="T50" fmla="*/ 864 w 877"/>
                <a:gd name="T51" fmla="*/ 235 h 469"/>
                <a:gd name="T52" fmla="*/ 804 w 877"/>
                <a:gd name="T53" fmla="*/ 272 h 469"/>
                <a:gd name="T54" fmla="*/ 754 w 877"/>
                <a:gd name="T55" fmla="*/ 313 h 469"/>
                <a:gd name="T56" fmla="*/ 688 w 877"/>
                <a:gd name="T57" fmla="*/ 330 h 469"/>
                <a:gd name="T58" fmla="*/ 663 w 877"/>
                <a:gd name="T59" fmla="*/ 343 h 469"/>
                <a:gd name="T60" fmla="*/ 648 w 877"/>
                <a:gd name="T61" fmla="*/ 358 h 469"/>
                <a:gd name="T62" fmla="*/ 646 w 877"/>
                <a:gd name="T63" fmla="*/ 375 h 469"/>
                <a:gd name="T64" fmla="*/ 653 w 877"/>
                <a:gd name="T65" fmla="*/ 390 h 469"/>
                <a:gd name="T66" fmla="*/ 666 w 877"/>
                <a:gd name="T67" fmla="*/ 401 h 469"/>
                <a:gd name="T68" fmla="*/ 711 w 877"/>
                <a:gd name="T69" fmla="*/ 396 h 469"/>
                <a:gd name="T70" fmla="*/ 741 w 877"/>
                <a:gd name="T71" fmla="*/ 394 h 469"/>
                <a:gd name="T72" fmla="*/ 734 w 877"/>
                <a:gd name="T73" fmla="*/ 403 h 469"/>
                <a:gd name="T74" fmla="*/ 716 w 877"/>
                <a:gd name="T75" fmla="*/ 421 h 469"/>
                <a:gd name="T76" fmla="*/ 698 w 877"/>
                <a:gd name="T77" fmla="*/ 438 h 469"/>
                <a:gd name="T78" fmla="*/ 689 w 877"/>
                <a:gd name="T79" fmla="*/ 419 h 469"/>
                <a:gd name="T80" fmla="*/ 671 w 877"/>
                <a:gd name="T81" fmla="*/ 408 h 469"/>
                <a:gd name="T82" fmla="*/ 666 w 877"/>
                <a:gd name="T83" fmla="*/ 423 h 469"/>
                <a:gd name="T84" fmla="*/ 643 w 877"/>
                <a:gd name="T85" fmla="*/ 442 h 469"/>
                <a:gd name="T86" fmla="*/ 619 w 877"/>
                <a:gd name="T87" fmla="*/ 460 h 469"/>
                <a:gd name="T88" fmla="*/ 611 w 877"/>
                <a:gd name="T89" fmla="*/ 469 h 469"/>
                <a:gd name="T90" fmla="*/ 595 w 877"/>
                <a:gd name="T91" fmla="*/ 464 h 469"/>
                <a:gd name="T92" fmla="*/ 584 w 877"/>
                <a:gd name="T93" fmla="*/ 455 h 469"/>
                <a:gd name="T94" fmla="*/ 575 w 877"/>
                <a:gd name="T95" fmla="*/ 439 h 469"/>
                <a:gd name="T96" fmla="*/ 572 w 877"/>
                <a:gd name="T97" fmla="*/ 408 h 469"/>
                <a:gd name="T98" fmla="*/ 548 w 877"/>
                <a:gd name="T99" fmla="*/ 404 h 469"/>
                <a:gd name="T100" fmla="*/ 518 w 877"/>
                <a:gd name="T101" fmla="*/ 389 h 469"/>
                <a:gd name="T102" fmla="*/ 559 w 877"/>
                <a:gd name="T103" fmla="*/ 379 h 469"/>
                <a:gd name="T104" fmla="*/ 625 w 877"/>
                <a:gd name="T105" fmla="*/ 370 h 469"/>
                <a:gd name="T106" fmla="*/ 493 w 877"/>
                <a:gd name="T107" fmla="*/ 354 h 469"/>
                <a:gd name="T108" fmla="*/ 445 w 877"/>
                <a:gd name="T109" fmla="*/ 333 h 469"/>
                <a:gd name="T110" fmla="*/ 398 w 877"/>
                <a:gd name="T111" fmla="*/ 369 h 469"/>
                <a:gd name="T112" fmla="*/ 380 w 877"/>
                <a:gd name="T113" fmla="*/ 395 h 469"/>
                <a:gd name="T114" fmla="*/ 353 w 877"/>
                <a:gd name="T115" fmla="*/ 400 h 469"/>
                <a:gd name="T116" fmla="*/ 328 w 877"/>
                <a:gd name="T117" fmla="*/ 392 h 469"/>
                <a:gd name="T118" fmla="*/ 306 w 877"/>
                <a:gd name="T119" fmla="*/ 376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77" h="469">
                  <a:moveTo>
                    <a:pt x="326" y="352"/>
                  </a:moveTo>
                  <a:lnTo>
                    <a:pt x="352" y="346"/>
                  </a:lnTo>
                  <a:lnTo>
                    <a:pt x="392" y="340"/>
                  </a:lnTo>
                  <a:lnTo>
                    <a:pt x="366" y="315"/>
                  </a:lnTo>
                  <a:lnTo>
                    <a:pt x="346" y="285"/>
                  </a:lnTo>
                  <a:lnTo>
                    <a:pt x="319" y="253"/>
                  </a:lnTo>
                  <a:lnTo>
                    <a:pt x="292" y="241"/>
                  </a:lnTo>
                  <a:lnTo>
                    <a:pt x="252" y="222"/>
                  </a:lnTo>
                  <a:lnTo>
                    <a:pt x="206" y="241"/>
                  </a:lnTo>
                  <a:lnTo>
                    <a:pt x="200" y="241"/>
                  </a:lnTo>
                  <a:lnTo>
                    <a:pt x="194" y="242"/>
                  </a:lnTo>
                  <a:lnTo>
                    <a:pt x="191" y="243"/>
                  </a:lnTo>
                  <a:lnTo>
                    <a:pt x="187" y="244"/>
                  </a:lnTo>
                  <a:lnTo>
                    <a:pt x="183" y="246"/>
                  </a:lnTo>
                  <a:lnTo>
                    <a:pt x="178" y="251"/>
                  </a:lnTo>
                  <a:lnTo>
                    <a:pt x="173" y="256"/>
                  </a:lnTo>
                  <a:lnTo>
                    <a:pt x="168" y="262"/>
                  </a:lnTo>
                  <a:lnTo>
                    <a:pt x="162" y="267"/>
                  </a:lnTo>
                  <a:lnTo>
                    <a:pt x="159" y="269"/>
                  </a:lnTo>
                  <a:lnTo>
                    <a:pt x="155" y="270"/>
                  </a:lnTo>
                  <a:lnTo>
                    <a:pt x="151" y="271"/>
                  </a:lnTo>
                  <a:lnTo>
                    <a:pt x="146" y="272"/>
                  </a:lnTo>
                  <a:lnTo>
                    <a:pt x="134" y="271"/>
                  </a:lnTo>
                  <a:lnTo>
                    <a:pt x="121" y="268"/>
                  </a:lnTo>
                  <a:lnTo>
                    <a:pt x="107" y="264"/>
                  </a:lnTo>
                  <a:lnTo>
                    <a:pt x="94" y="259"/>
                  </a:lnTo>
                  <a:lnTo>
                    <a:pt x="79" y="255"/>
                  </a:lnTo>
                  <a:lnTo>
                    <a:pt x="64" y="251"/>
                  </a:lnTo>
                  <a:lnTo>
                    <a:pt x="46" y="248"/>
                  </a:lnTo>
                  <a:lnTo>
                    <a:pt x="26" y="247"/>
                  </a:lnTo>
                  <a:lnTo>
                    <a:pt x="0" y="222"/>
                  </a:lnTo>
                  <a:lnTo>
                    <a:pt x="4" y="217"/>
                  </a:lnTo>
                  <a:lnTo>
                    <a:pt x="8" y="212"/>
                  </a:lnTo>
                  <a:lnTo>
                    <a:pt x="10" y="206"/>
                  </a:lnTo>
                  <a:lnTo>
                    <a:pt x="12" y="200"/>
                  </a:lnTo>
                  <a:lnTo>
                    <a:pt x="13" y="187"/>
                  </a:lnTo>
                  <a:lnTo>
                    <a:pt x="13" y="174"/>
                  </a:lnTo>
                  <a:lnTo>
                    <a:pt x="6" y="174"/>
                  </a:lnTo>
                  <a:lnTo>
                    <a:pt x="13" y="180"/>
                  </a:lnTo>
                  <a:lnTo>
                    <a:pt x="14" y="167"/>
                  </a:lnTo>
                  <a:lnTo>
                    <a:pt x="17" y="155"/>
                  </a:lnTo>
                  <a:lnTo>
                    <a:pt x="23" y="144"/>
                  </a:lnTo>
                  <a:lnTo>
                    <a:pt x="30" y="133"/>
                  </a:lnTo>
                  <a:lnTo>
                    <a:pt x="36" y="122"/>
                  </a:lnTo>
                  <a:lnTo>
                    <a:pt x="44" y="112"/>
                  </a:lnTo>
                  <a:lnTo>
                    <a:pt x="53" y="105"/>
                  </a:lnTo>
                  <a:lnTo>
                    <a:pt x="60" y="99"/>
                  </a:lnTo>
                  <a:lnTo>
                    <a:pt x="54" y="92"/>
                  </a:lnTo>
                  <a:lnTo>
                    <a:pt x="46" y="82"/>
                  </a:lnTo>
                  <a:lnTo>
                    <a:pt x="36" y="68"/>
                  </a:lnTo>
                  <a:lnTo>
                    <a:pt x="26" y="50"/>
                  </a:lnTo>
                  <a:lnTo>
                    <a:pt x="60" y="38"/>
                  </a:lnTo>
                  <a:lnTo>
                    <a:pt x="113" y="26"/>
                  </a:lnTo>
                  <a:lnTo>
                    <a:pt x="173" y="26"/>
                  </a:lnTo>
                  <a:lnTo>
                    <a:pt x="239" y="44"/>
                  </a:lnTo>
                  <a:lnTo>
                    <a:pt x="285" y="38"/>
                  </a:lnTo>
                  <a:lnTo>
                    <a:pt x="339" y="50"/>
                  </a:lnTo>
                  <a:lnTo>
                    <a:pt x="385" y="63"/>
                  </a:lnTo>
                  <a:lnTo>
                    <a:pt x="385" y="38"/>
                  </a:lnTo>
                  <a:lnTo>
                    <a:pt x="392" y="13"/>
                  </a:lnTo>
                  <a:lnTo>
                    <a:pt x="433" y="13"/>
                  </a:lnTo>
                  <a:lnTo>
                    <a:pt x="465" y="13"/>
                  </a:lnTo>
                  <a:lnTo>
                    <a:pt x="485" y="0"/>
                  </a:lnTo>
                  <a:lnTo>
                    <a:pt x="531" y="0"/>
                  </a:lnTo>
                  <a:lnTo>
                    <a:pt x="551" y="13"/>
                  </a:lnTo>
                  <a:lnTo>
                    <a:pt x="579" y="38"/>
                  </a:lnTo>
                  <a:lnTo>
                    <a:pt x="565" y="63"/>
                  </a:lnTo>
                  <a:lnTo>
                    <a:pt x="618" y="63"/>
                  </a:lnTo>
                  <a:lnTo>
                    <a:pt x="638" y="111"/>
                  </a:lnTo>
                  <a:lnTo>
                    <a:pt x="664" y="105"/>
                  </a:lnTo>
                  <a:lnTo>
                    <a:pt x="692" y="124"/>
                  </a:lnTo>
                  <a:lnTo>
                    <a:pt x="725" y="111"/>
                  </a:lnTo>
                  <a:lnTo>
                    <a:pt x="758" y="136"/>
                  </a:lnTo>
                  <a:lnTo>
                    <a:pt x="797" y="136"/>
                  </a:lnTo>
                  <a:lnTo>
                    <a:pt x="838" y="155"/>
                  </a:lnTo>
                  <a:lnTo>
                    <a:pt x="877" y="167"/>
                  </a:lnTo>
                  <a:lnTo>
                    <a:pt x="871" y="198"/>
                  </a:lnTo>
                  <a:lnTo>
                    <a:pt x="864" y="235"/>
                  </a:lnTo>
                  <a:lnTo>
                    <a:pt x="877" y="259"/>
                  </a:lnTo>
                  <a:lnTo>
                    <a:pt x="844" y="259"/>
                  </a:lnTo>
                  <a:lnTo>
                    <a:pt x="804" y="272"/>
                  </a:lnTo>
                  <a:lnTo>
                    <a:pt x="797" y="303"/>
                  </a:lnTo>
                  <a:lnTo>
                    <a:pt x="777" y="309"/>
                  </a:lnTo>
                  <a:lnTo>
                    <a:pt x="754" y="313"/>
                  </a:lnTo>
                  <a:lnTo>
                    <a:pt x="731" y="318"/>
                  </a:lnTo>
                  <a:lnTo>
                    <a:pt x="709" y="324"/>
                  </a:lnTo>
                  <a:lnTo>
                    <a:pt x="688" y="330"/>
                  </a:lnTo>
                  <a:lnTo>
                    <a:pt x="680" y="334"/>
                  </a:lnTo>
                  <a:lnTo>
                    <a:pt x="671" y="337"/>
                  </a:lnTo>
                  <a:lnTo>
                    <a:pt x="663" y="343"/>
                  </a:lnTo>
                  <a:lnTo>
                    <a:pt x="656" y="347"/>
                  </a:lnTo>
                  <a:lnTo>
                    <a:pt x="652" y="352"/>
                  </a:lnTo>
                  <a:lnTo>
                    <a:pt x="648" y="358"/>
                  </a:lnTo>
                  <a:lnTo>
                    <a:pt x="646" y="364"/>
                  </a:lnTo>
                  <a:lnTo>
                    <a:pt x="644" y="370"/>
                  </a:lnTo>
                  <a:lnTo>
                    <a:pt x="646" y="375"/>
                  </a:lnTo>
                  <a:lnTo>
                    <a:pt x="647" y="380"/>
                  </a:lnTo>
                  <a:lnTo>
                    <a:pt x="650" y="385"/>
                  </a:lnTo>
                  <a:lnTo>
                    <a:pt x="653" y="390"/>
                  </a:lnTo>
                  <a:lnTo>
                    <a:pt x="656" y="395"/>
                  </a:lnTo>
                  <a:lnTo>
                    <a:pt x="661" y="399"/>
                  </a:lnTo>
                  <a:lnTo>
                    <a:pt x="666" y="401"/>
                  </a:lnTo>
                  <a:lnTo>
                    <a:pt x="671" y="402"/>
                  </a:lnTo>
                  <a:lnTo>
                    <a:pt x="692" y="400"/>
                  </a:lnTo>
                  <a:lnTo>
                    <a:pt x="711" y="396"/>
                  </a:lnTo>
                  <a:lnTo>
                    <a:pt x="721" y="395"/>
                  </a:lnTo>
                  <a:lnTo>
                    <a:pt x="731" y="394"/>
                  </a:lnTo>
                  <a:lnTo>
                    <a:pt x="741" y="394"/>
                  </a:lnTo>
                  <a:lnTo>
                    <a:pt x="751" y="396"/>
                  </a:lnTo>
                  <a:lnTo>
                    <a:pt x="742" y="399"/>
                  </a:lnTo>
                  <a:lnTo>
                    <a:pt x="734" y="403"/>
                  </a:lnTo>
                  <a:lnTo>
                    <a:pt x="728" y="408"/>
                  </a:lnTo>
                  <a:lnTo>
                    <a:pt x="721" y="414"/>
                  </a:lnTo>
                  <a:lnTo>
                    <a:pt x="716" y="421"/>
                  </a:lnTo>
                  <a:lnTo>
                    <a:pt x="710" y="427"/>
                  </a:lnTo>
                  <a:lnTo>
                    <a:pt x="705" y="433"/>
                  </a:lnTo>
                  <a:lnTo>
                    <a:pt x="698" y="438"/>
                  </a:lnTo>
                  <a:lnTo>
                    <a:pt x="695" y="430"/>
                  </a:lnTo>
                  <a:lnTo>
                    <a:pt x="693" y="424"/>
                  </a:lnTo>
                  <a:lnTo>
                    <a:pt x="689" y="419"/>
                  </a:lnTo>
                  <a:lnTo>
                    <a:pt x="687" y="416"/>
                  </a:lnTo>
                  <a:lnTo>
                    <a:pt x="680" y="412"/>
                  </a:lnTo>
                  <a:lnTo>
                    <a:pt x="671" y="408"/>
                  </a:lnTo>
                  <a:lnTo>
                    <a:pt x="671" y="413"/>
                  </a:lnTo>
                  <a:lnTo>
                    <a:pt x="669" y="418"/>
                  </a:lnTo>
                  <a:lnTo>
                    <a:pt x="666" y="423"/>
                  </a:lnTo>
                  <a:lnTo>
                    <a:pt x="663" y="427"/>
                  </a:lnTo>
                  <a:lnTo>
                    <a:pt x="654" y="435"/>
                  </a:lnTo>
                  <a:lnTo>
                    <a:pt x="643" y="442"/>
                  </a:lnTo>
                  <a:lnTo>
                    <a:pt x="633" y="450"/>
                  </a:lnTo>
                  <a:lnTo>
                    <a:pt x="624" y="456"/>
                  </a:lnTo>
                  <a:lnTo>
                    <a:pt x="619" y="460"/>
                  </a:lnTo>
                  <a:lnTo>
                    <a:pt x="616" y="463"/>
                  </a:lnTo>
                  <a:lnTo>
                    <a:pt x="613" y="466"/>
                  </a:lnTo>
                  <a:lnTo>
                    <a:pt x="611" y="469"/>
                  </a:lnTo>
                  <a:lnTo>
                    <a:pt x="605" y="468"/>
                  </a:lnTo>
                  <a:lnTo>
                    <a:pt x="600" y="466"/>
                  </a:lnTo>
                  <a:lnTo>
                    <a:pt x="595" y="464"/>
                  </a:lnTo>
                  <a:lnTo>
                    <a:pt x="591" y="461"/>
                  </a:lnTo>
                  <a:lnTo>
                    <a:pt x="587" y="459"/>
                  </a:lnTo>
                  <a:lnTo>
                    <a:pt x="584" y="455"/>
                  </a:lnTo>
                  <a:lnTo>
                    <a:pt x="582" y="452"/>
                  </a:lnTo>
                  <a:lnTo>
                    <a:pt x="579" y="447"/>
                  </a:lnTo>
                  <a:lnTo>
                    <a:pt x="575" y="439"/>
                  </a:lnTo>
                  <a:lnTo>
                    <a:pt x="573" y="429"/>
                  </a:lnTo>
                  <a:lnTo>
                    <a:pt x="572" y="419"/>
                  </a:lnTo>
                  <a:lnTo>
                    <a:pt x="572" y="408"/>
                  </a:lnTo>
                  <a:lnTo>
                    <a:pt x="563" y="407"/>
                  </a:lnTo>
                  <a:lnTo>
                    <a:pt x="555" y="406"/>
                  </a:lnTo>
                  <a:lnTo>
                    <a:pt x="548" y="404"/>
                  </a:lnTo>
                  <a:lnTo>
                    <a:pt x="540" y="401"/>
                  </a:lnTo>
                  <a:lnTo>
                    <a:pt x="527" y="395"/>
                  </a:lnTo>
                  <a:lnTo>
                    <a:pt x="518" y="389"/>
                  </a:lnTo>
                  <a:lnTo>
                    <a:pt x="532" y="385"/>
                  </a:lnTo>
                  <a:lnTo>
                    <a:pt x="547" y="381"/>
                  </a:lnTo>
                  <a:lnTo>
                    <a:pt x="559" y="379"/>
                  </a:lnTo>
                  <a:lnTo>
                    <a:pt x="572" y="377"/>
                  </a:lnTo>
                  <a:lnTo>
                    <a:pt x="597" y="374"/>
                  </a:lnTo>
                  <a:lnTo>
                    <a:pt x="625" y="370"/>
                  </a:lnTo>
                  <a:lnTo>
                    <a:pt x="512" y="370"/>
                  </a:lnTo>
                  <a:lnTo>
                    <a:pt x="503" y="362"/>
                  </a:lnTo>
                  <a:lnTo>
                    <a:pt x="493" y="354"/>
                  </a:lnTo>
                  <a:lnTo>
                    <a:pt x="481" y="348"/>
                  </a:lnTo>
                  <a:lnTo>
                    <a:pt x="469" y="342"/>
                  </a:lnTo>
                  <a:lnTo>
                    <a:pt x="445" y="333"/>
                  </a:lnTo>
                  <a:lnTo>
                    <a:pt x="425" y="327"/>
                  </a:lnTo>
                  <a:lnTo>
                    <a:pt x="412" y="350"/>
                  </a:lnTo>
                  <a:lnTo>
                    <a:pt x="398" y="369"/>
                  </a:lnTo>
                  <a:lnTo>
                    <a:pt x="393" y="378"/>
                  </a:lnTo>
                  <a:lnTo>
                    <a:pt x="386" y="386"/>
                  </a:lnTo>
                  <a:lnTo>
                    <a:pt x="380" y="395"/>
                  </a:lnTo>
                  <a:lnTo>
                    <a:pt x="372" y="402"/>
                  </a:lnTo>
                  <a:lnTo>
                    <a:pt x="362" y="401"/>
                  </a:lnTo>
                  <a:lnTo>
                    <a:pt x="353" y="400"/>
                  </a:lnTo>
                  <a:lnTo>
                    <a:pt x="345" y="399"/>
                  </a:lnTo>
                  <a:lnTo>
                    <a:pt x="337" y="396"/>
                  </a:lnTo>
                  <a:lnTo>
                    <a:pt x="328" y="392"/>
                  </a:lnTo>
                  <a:lnTo>
                    <a:pt x="321" y="388"/>
                  </a:lnTo>
                  <a:lnTo>
                    <a:pt x="313" y="383"/>
                  </a:lnTo>
                  <a:lnTo>
                    <a:pt x="306" y="376"/>
                  </a:lnTo>
                  <a:lnTo>
                    <a:pt x="326" y="35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868" name="Freeform 349"/>
            <p:cNvSpPr>
              <a:spLocks/>
            </p:cNvSpPr>
            <p:nvPr>
              <p:custDataLst>
                <p:tags r:id="rId253"/>
              </p:custDataLst>
            </p:nvPr>
          </p:nvSpPr>
          <p:spPr bwMode="auto">
            <a:xfrm>
              <a:off x="7134857" y="3027802"/>
              <a:ext cx="47625" cy="63500"/>
            </a:xfrm>
            <a:custGeom>
              <a:avLst/>
              <a:gdLst>
                <a:gd name="T0" fmla="*/ 2147483647 w 107"/>
                <a:gd name="T1" fmla="*/ 0 h 123"/>
                <a:gd name="T2" fmla="*/ 2147483647 w 107"/>
                <a:gd name="T3" fmla="*/ 2147483647 h 123"/>
                <a:gd name="T4" fmla="*/ 2147483647 w 107"/>
                <a:gd name="T5" fmla="*/ 2147483647 h 123"/>
                <a:gd name="T6" fmla="*/ 2147483647 w 107"/>
                <a:gd name="T7" fmla="*/ 2147483647 h 123"/>
                <a:gd name="T8" fmla="*/ 2147483647 w 107"/>
                <a:gd name="T9" fmla="*/ 2147483647 h 123"/>
                <a:gd name="T10" fmla="*/ 2147483647 w 107"/>
                <a:gd name="T11" fmla="*/ 2147483647 h 123"/>
                <a:gd name="T12" fmla="*/ 2147483647 w 107"/>
                <a:gd name="T13" fmla="*/ 2147483647 h 123"/>
                <a:gd name="T14" fmla="*/ 2147483647 w 107"/>
                <a:gd name="T15" fmla="*/ 2147483647 h 123"/>
                <a:gd name="T16" fmla="*/ 2147483647 w 107"/>
                <a:gd name="T17" fmla="*/ 2147483647 h 123"/>
                <a:gd name="T18" fmla="*/ 2147483647 w 107"/>
                <a:gd name="T19" fmla="*/ 2147483647 h 123"/>
                <a:gd name="T20" fmla="*/ 2147483647 w 107"/>
                <a:gd name="T21" fmla="*/ 2147483647 h 123"/>
                <a:gd name="T22" fmla="*/ 2147483647 w 107"/>
                <a:gd name="T23" fmla="*/ 2147483647 h 123"/>
                <a:gd name="T24" fmla="*/ 2147483647 w 107"/>
                <a:gd name="T25" fmla="*/ 2147483647 h 123"/>
                <a:gd name="T26" fmla="*/ 2147483647 w 107"/>
                <a:gd name="T27" fmla="*/ 2147483647 h 123"/>
                <a:gd name="T28" fmla="*/ 2147483647 w 107"/>
                <a:gd name="T29" fmla="*/ 2147483647 h 123"/>
                <a:gd name="T30" fmla="*/ 2147483647 w 107"/>
                <a:gd name="T31" fmla="*/ 2147483647 h 123"/>
                <a:gd name="T32" fmla="*/ 2147483647 w 107"/>
                <a:gd name="T33" fmla="*/ 2147483647 h 123"/>
                <a:gd name="T34" fmla="*/ 2147483647 w 107"/>
                <a:gd name="T35" fmla="*/ 2147483647 h 123"/>
                <a:gd name="T36" fmla="*/ 2147483647 w 107"/>
                <a:gd name="T37" fmla="*/ 2147483647 h 123"/>
                <a:gd name="T38" fmla="*/ 2147483647 w 107"/>
                <a:gd name="T39" fmla="*/ 2147483647 h 123"/>
                <a:gd name="T40" fmla="*/ 2147483647 w 107"/>
                <a:gd name="T41" fmla="*/ 2147483647 h 123"/>
                <a:gd name="T42" fmla="*/ 0 w 107"/>
                <a:gd name="T43" fmla="*/ 2147483647 h 123"/>
                <a:gd name="T44" fmla="*/ 2147483647 w 107"/>
                <a:gd name="T45" fmla="*/ 0 h 123"/>
                <a:gd name="T46" fmla="*/ 2147483647 w 107"/>
                <a:gd name="T47" fmla="*/ 0 h 123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107" h="123">
                  <a:moveTo>
                    <a:pt x="48" y="0"/>
                  </a:moveTo>
                  <a:lnTo>
                    <a:pt x="81" y="31"/>
                  </a:lnTo>
                  <a:lnTo>
                    <a:pt x="94" y="67"/>
                  </a:lnTo>
                  <a:lnTo>
                    <a:pt x="107" y="86"/>
                  </a:lnTo>
                  <a:lnTo>
                    <a:pt x="107" y="117"/>
                  </a:lnTo>
                  <a:lnTo>
                    <a:pt x="107" y="123"/>
                  </a:lnTo>
                  <a:lnTo>
                    <a:pt x="88" y="114"/>
                  </a:lnTo>
                  <a:lnTo>
                    <a:pt x="73" y="105"/>
                  </a:lnTo>
                  <a:lnTo>
                    <a:pt x="61" y="98"/>
                  </a:lnTo>
                  <a:lnTo>
                    <a:pt x="54" y="92"/>
                  </a:lnTo>
                  <a:lnTo>
                    <a:pt x="51" y="83"/>
                  </a:lnTo>
                  <a:lnTo>
                    <a:pt x="48" y="73"/>
                  </a:lnTo>
                  <a:lnTo>
                    <a:pt x="39" y="74"/>
                  </a:lnTo>
                  <a:lnTo>
                    <a:pt x="32" y="73"/>
                  </a:lnTo>
                  <a:lnTo>
                    <a:pt x="26" y="72"/>
                  </a:lnTo>
                  <a:lnTo>
                    <a:pt x="21" y="70"/>
                  </a:lnTo>
                  <a:lnTo>
                    <a:pt x="17" y="67"/>
                  </a:lnTo>
                  <a:lnTo>
                    <a:pt x="14" y="63"/>
                  </a:lnTo>
                  <a:lnTo>
                    <a:pt x="11" y="59"/>
                  </a:lnTo>
                  <a:lnTo>
                    <a:pt x="9" y="54"/>
                  </a:lnTo>
                  <a:lnTo>
                    <a:pt x="4" y="31"/>
                  </a:lnTo>
                  <a:lnTo>
                    <a:pt x="0" y="6"/>
                  </a:lnTo>
                  <a:lnTo>
                    <a:pt x="34" y="0"/>
                  </a:lnTo>
                  <a:lnTo>
                    <a:pt x="4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69" name="Freeform 350"/>
            <p:cNvSpPr>
              <a:spLocks/>
            </p:cNvSpPr>
            <p:nvPr>
              <p:custDataLst>
                <p:tags r:id="rId254"/>
              </p:custDataLst>
            </p:nvPr>
          </p:nvSpPr>
          <p:spPr bwMode="auto">
            <a:xfrm>
              <a:off x="7677782" y="3042089"/>
              <a:ext cx="207962" cy="122238"/>
            </a:xfrm>
            <a:custGeom>
              <a:avLst/>
              <a:gdLst>
                <a:gd name="T0" fmla="*/ 2147483647 w 471"/>
                <a:gd name="T1" fmla="*/ 2147483647 h 234"/>
                <a:gd name="T2" fmla="*/ 2147483647 w 471"/>
                <a:gd name="T3" fmla="*/ 2147483647 h 234"/>
                <a:gd name="T4" fmla="*/ 2147483647 w 471"/>
                <a:gd name="T5" fmla="*/ 2147483647 h 234"/>
                <a:gd name="T6" fmla="*/ 2147483647 w 471"/>
                <a:gd name="T7" fmla="*/ 2147483647 h 234"/>
                <a:gd name="T8" fmla="*/ 2147483647 w 471"/>
                <a:gd name="T9" fmla="*/ 2147483647 h 234"/>
                <a:gd name="T10" fmla="*/ 2147483647 w 471"/>
                <a:gd name="T11" fmla="*/ 2147483647 h 234"/>
                <a:gd name="T12" fmla="*/ 2147483647 w 471"/>
                <a:gd name="T13" fmla="*/ 2147483647 h 234"/>
                <a:gd name="T14" fmla="*/ 2147483647 w 471"/>
                <a:gd name="T15" fmla="*/ 2147483647 h 234"/>
                <a:gd name="T16" fmla="*/ 2147483647 w 471"/>
                <a:gd name="T17" fmla="*/ 2147483647 h 234"/>
                <a:gd name="T18" fmla="*/ 2147483647 w 471"/>
                <a:gd name="T19" fmla="*/ 2147483647 h 234"/>
                <a:gd name="T20" fmla="*/ 2147483647 w 471"/>
                <a:gd name="T21" fmla="*/ 2147483647 h 234"/>
                <a:gd name="T22" fmla="*/ 2147483647 w 471"/>
                <a:gd name="T23" fmla="*/ 2147483647 h 234"/>
                <a:gd name="T24" fmla="*/ 2147483647 w 471"/>
                <a:gd name="T25" fmla="*/ 2147483647 h 234"/>
                <a:gd name="T26" fmla="*/ 2147483647 w 471"/>
                <a:gd name="T27" fmla="*/ 2147483647 h 234"/>
                <a:gd name="T28" fmla="*/ 2147483647 w 471"/>
                <a:gd name="T29" fmla="*/ 2147483647 h 234"/>
                <a:gd name="T30" fmla="*/ 2147483647 w 471"/>
                <a:gd name="T31" fmla="*/ 2147483647 h 234"/>
                <a:gd name="T32" fmla="*/ 2147483647 w 471"/>
                <a:gd name="T33" fmla="*/ 2147483647 h 234"/>
                <a:gd name="T34" fmla="*/ 2147483647 w 471"/>
                <a:gd name="T35" fmla="*/ 2147483647 h 234"/>
                <a:gd name="T36" fmla="*/ 2147483647 w 471"/>
                <a:gd name="T37" fmla="*/ 2147483647 h 234"/>
                <a:gd name="T38" fmla="*/ 2147483647 w 471"/>
                <a:gd name="T39" fmla="*/ 2147483647 h 234"/>
                <a:gd name="T40" fmla="*/ 2147483647 w 471"/>
                <a:gd name="T41" fmla="*/ 2147483647 h 234"/>
                <a:gd name="T42" fmla="*/ 2147483647 w 471"/>
                <a:gd name="T43" fmla="*/ 2147483647 h 234"/>
                <a:gd name="T44" fmla="*/ 2147483647 w 471"/>
                <a:gd name="T45" fmla="*/ 2147483647 h 234"/>
                <a:gd name="T46" fmla="*/ 2147483647 w 471"/>
                <a:gd name="T47" fmla="*/ 2147483647 h 234"/>
                <a:gd name="T48" fmla="*/ 2147483647 w 471"/>
                <a:gd name="T49" fmla="*/ 2147483647 h 234"/>
                <a:gd name="T50" fmla="*/ 2147483647 w 471"/>
                <a:gd name="T51" fmla="*/ 2147483647 h 234"/>
                <a:gd name="T52" fmla="*/ 2147483647 w 471"/>
                <a:gd name="T53" fmla="*/ 2147483647 h 234"/>
                <a:gd name="T54" fmla="*/ 2147483647 w 471"/>
                <a:gd name="T55" fmla="*/ 2147483647 h 234"/>
                <a:gd name="T56" fmla="*/ 2147483647 w 471"/>
                <a:gd name="T57" fmla="*/ 2147483647 h 234"/>
                <a:gd name="T58" fmla="*/ 2147483647 w 471"/>
                <a:gd name="T59" fmla="*/ 2147483647 h 234"/>
                <a:gd name="T60" fmla="*/ 2147483647 w 471"/>
                <a:gd name="T61" fmla="*/ 2147483647 h 234"/>
                <a:gd name="T62" fmla="*/ 2147483647 w 471"/>
                <a:gd name="T63" fmla="*/ 2147483647 h 234"/>
                <a:gd name="T64" fmla="*/ 2147483647 w 471"/>
                <a:gd name="T65" fmla="*/ 2147483647 h 234"/>
                <a:gd name="T66" fmla="*/ 2147483647 w 471"/>
                <a:gd name="T67" fmla="*/ 2147483647 h 234"/>
                <a:gd name="T68" fmla="*/ 2147483647 w 471"/>
                <a:gd name="T69" fmla="*/ 2147483647 h 234"/>
                <a:gd name="T70" fmla="*/ 2147483647 w 471"/>
                <a:gd name="T71" fmla="*/ 2147483647 h 234"/>
                <a:gd name="T72" fmla="*/ 2147483647 w 471"/>
                <a:gd name="T73" fmla="*/ 2147483647 h 234"/>
                <a:gd name="T74" fmla="*/ 2147483647 w 471"/>
                <a:gd name="T75" fmla="*/ 2147483647 h 234"/>
                <a:gd name="T76" fmla="*/ 2147483647 w 471"/>
                <a:gd name="T77" fmla="*/ 2147483647 h 234"/>
                <a:gd name="T78" fmla="*/ 0 w 471"/>
                <a:gd name="T79" fmla="*/ 2147483647 h 234"/>
                <a:gd name="T80" fmla="*/ 2147483647 w 471"/>
                <a:gd name="T81" fmla="*/ 2147483647 h 234"/>
                <a:gd name="T82" fmla="*/ 2147483647 w 471"/>
                <a:gd name="T83" fmla="*/ 2147483647 h 234"/>
                <a:gd name="T84" fmla="*/ 2147483647 w 471"/>
                <a:gd name="T85" fmla="*/ 0 h 234"/>
                <a:gd name="T86" fmla="*/ 2147483647 w 471"/>
                <a:gd name="T87" fmla="*/ 2147483647 h 2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471" h="234">
                  <a:moveTo>
                    <a:pt x="159" y="30"/>
                  </a:moveTo>
                  <a:lnTo>
                    <a:pt x="106" y="67"/>
                  </a:lnTo>
                  <a:lnTo>
                    <a:pt x="126" y="86"/>
                  </a:lnTo>
                  <a:lnTo>
                    <a:pt x="166" y="86"/>
                  </a:lnTo>
                  <a:lnTo>
                    <a:pt x="218" y="98"/>
                  </a:lnTo>
                  <a:lnTo>
                    <a:pt x="272" y="105"/>
                  </a:lnTo>
                  <a:lnTo>
                    <a:pt x="325" y="92"/>
                  </a:lnTo>
                  <a:lnTo>
                    <a:pt x="372" y="86"/>
                  </a:lnTo>
                  <a:lnTo>
                    <a:pt x="379" y="86"/>
                  </a:lnTo>
                  <a:lnTo>
                    <a:pt x="383" y="95"/>
                  </a:lnTo>
                  <a:lnTo>
                    <a:pt x="388" y="105"/>
                  </a:lnTo>
                  <a:lnTo>
                    <a:pt x="391" y="114"/>
                  </a:lnTo>
                  <a:lnTo>
                    <a:pt x="392" y="123"/>
                  </a:lnTo>
                  <a:lnTo>
                    <a:pt x="406" y="124"/>
                  </a:lnTo>
                  <a:lnTo>
                    <a:pt x="418" y="126"/>
                  </a:lnTo>
                  <a:lnTo>
                    <a:pt x="424" y="129"/>
                  </a:lnTo>
                  <a:lnTo>
                    <a:pt x="428" y="131"/>
                  </a:lnTo>
                  <a:lnTo>
                    <a:pt x="433" y="134"/>
                  </a:lnTo>
                  <a:lnTo>
                    <a:pt x="437" y="137"/>
                  </a:lnTo>
                  <a:lnTo>
                    <a:pt x="441" y="141"/>
                  </a:lnTo>
                  <a:lnTo>
                    <a:pt x="445" y="146"/>
                  </a:lnTo>
                  <a:lnTo>
                    <a:pt x="448" y="151"/>
                  </a:lnTo>
                  <a:lnTo>
                    <a:pt x="450" y="156"/>
                  </a:lnTo>
                  <a:lnTo>
                    <a:pt x="455" y="170"/>
                  </a:lnTo>
                  <a:lnTo>
                    <a:pt x="458" y="184"/>
                  </a:lnTo>
                  <a:lnTo>
                    <a:pt x="471" y="190"/>
                  </a:lnTo>
                  <a:lnTo>
                    <a:pt x="359" y="190"/>
                  </a:lnTo>
                  <a:lnTo>
                    <a:pt x="350" y="202"/>
                  </a:lnTo>
                  <a:lnTo>
                    <a:pt x="338" y="217"/>
                  </a:lnTo>
                  <a:lnTo>
                    <a:pt x="330" y="224"/>
                  </a:lnTo>
                  <a:lnTo>
                    <a:pt x="324" y="229"/>
                  </a:lnTo>
                  <a:lnTo>
                    <a:pt x="317" y="233"/>
                  </a:lnTo>
                  <a:lnTo>
                    <a:pt x="312" y="234"/>
                  </a:lnTo>
                  <a:lnTo>
                    <a:pt x="306" y="233"/>
                  </a:lnTo>
                  <a:lnTo>
                    <a:pt x="302" y="232"/>
                  </a:lnTo>
                  <a:lnTo>
                    <a:pt x="298" y="230"/>
                  </a:lnTo>
                  <a:lnTo>
                    <a:pt x="294" y="228"/>
                  </a:lnTo>
                  <a:lnTo>
                    <a:pt x="292" y="224"/>
                  </a:lnTo>
                  <a:lnTo>
                    <a:pt x="290" y="220"/>
                  </a:lnTo>
                  <a:lnTo>
                    <a:pt x="289" y="216"/>
                  </a:lnTo>
                  <a:lnTo>
                    <a:pt x="287" y="210"/>
                  </a:lnTo>
                  <a:lnTo>
                    <a:pt x="284" y="199"/>
                  </a:lnTo>
                  <a:lnTo>
                    <a:pt x="282" y="187"/>
                  </a:lnTo>
                  <a:lnTo>
                    <a:pt x="278" y="174"/>
                  </a:lnTo>
                  <a:lnTo>
                    <a:pt x="272" y="160"/>
                  </a:lnTo>
                  <a:lnTo>
                    <a:pt x="269" y="155"/>
                  </a:lnTo>
                  <a:lnTo>
                    <a:pt x="265" y="151"/>
                  </a:lnTo>
                  <a:lnTo>
                    <a:pt x="258" y="148"/>
                  </a:lnTo>
                  <a:lnTo>
                    <a:pt x="253" y="144"/>
                  </a:lnTo>
                  <a:lnTo>
                    <a:pt x="246" y="141"/>
                  </a:lnTo>
                  <a:lnTo>
                    <a:pt x="240" y="137"/>
                  </a:lnTo>
                  <a:lnTo>
                    <a:pt x="236" y="133"/>
                  </a:lnTo>
                  <a:lnTo>
                    <a:pt x="233" y="129"/>
                  </a:lnTo>
                  <a:lnTo>
                    <a:pt x="224" y="140"/>
                  </a:lnTo>
                  <a:lnTo>
                    <a:pt x="213" y="154"/>
                  </a:lnTo>
                  <a:lnTo>
                    <a:pt x="207" y="162"/>
                  </a:lnTo>
                  <a:lnTo>
                    <a:pt x="203" y="170"/>
                  </a:lnTo>
                  <a:lnTo>
                    <a:pt x="200" y="177"/>
                  </a:lnTo>
                  <a:lnTo>
                    <a:pt x="199" y="184"/>
                  </a:lnTo>
                  <a:lnTo>
                    <a:pt x="188" y="190"/>
                  </a:lnTo>
                  <a:lnTo>
                    <a:pt x="177" y="195"/>
                  </a:lnTo>
                  <a:lnTo>
                    <a:pt x="167" y="201"/>
                  </a:lnTo>
                  <a:lnTo>
                    <a:pt x="157" y="207"/>
                  </a:lnTo>
                  <a:lnTo>
                    <a:pt x="147" y="213"/>
                  </a:lnTo>
                  <a:lnTo>
                    <a:pt x="135" y="218"/>
                  </a:lnTo>
                  <a:lnTo>
                    <a:pt x="130" y="219"/>
                  </a:lnTo>
                  <a:lnTo>
                    <a:pt x="122" y="221"/>
                  </a:lnTo>
                  <a:lnTo>
                    <a:pt x="114" y="222"/>
                  </a:lnTo>
                  <a:lnTo>
                    <a:pt x="106" y="222"/>
                  </a:lnTo>
                  <a:lnTo>
                    <a:pt x="97" y="221"/>
                  </a:lnTo>
                  <a:lnTo>
                    <a:pt x="89" y="220"/>
                  </a:lnTo>
                  <a:lnTo>
                    <a:pt x="82" y="217"/>
                  </a:lnTo>
                  <a:lnTo>
                    <a:pt x="76" y="213"/>
                  </a:lnTo>
                  <a:lnTo>
                    <a:pt x="63" y="205"/>
                  </a:lnTo>
                  <a:lnTo>
                    <a:pt x="46" y="197"/>
                  </a:lnTo>
                  <a:lnTo>
                    <a:pt x="59" y="197"/>
                  </a:lnTo>
                  <a:lnTo>
                    <a:pt x="72" y="166"/>
                  </a:lnTo>
                  <a:lnTo>
                    <a:pt x="59" y="135"/>
                  </a:lnTo>
                  <a:lnTo>
                    <a:pt x="39" y="117"/>
                  </a:lnTo>
                  <a:lnTo>
                    <a:pt x="0" y="98"/>
                  </a:lnTo>
                  <a:lnTo>
                    <a:pt x="13" y="86"/>
                  </a:lnTo>
                  <a:lnTo>
                    <a:pt x="53" y="80"/>
                  </a:lnTo>
                  <a:lnTo>
                    <a:pt x="66" y="49"/>
                  </a:lnTo>
                  <a:lnTo>
                    <a:pt x="86" y="30"/>
                  </a:lnTo>
                  <a:lnTo>
                    <a:pt x="93" y="6"/>
                  </a:lnTo>
                  <a:lnTo>
                    <a:pt x="133" y="0"/>
                  </a:lnTo>
                  <a:lnTo>
                    <a:pt x="153" y="12"/>
                  </a:lnTo>
                  <a:lnTo>
                    <a:pt x="166" y="42"/>
                  </a:lnTo>
                  <a:lnTo>
                    <a:pt x="159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70" name="Freeform 351"/>
            <p:cNvSpPr>
              <a:spLocks/>
            </p:cNvSpPr>
            <p:nvPr>
              <p:custDataLst>
                <p:tags r:id="rId255"/>
              </p:custDataLst>
            </p:nvPr>
          </p:nvSpPr>
          <p:spPr bwMode="auto">
            <a:xfrm>
              <a:off x="7726994" y="2970652"/>
              <a:ext cx="225425" cy="125412"/>
            </a:xfrm>
            <a:custGeom>
              <a:avLst/>
              <a:gdLst>
                <a:gd name="T0" fmla="*/ 2147483647 w 525"/>
                <a:gd name="T1" fmla="*/ 2147483647 h 241"/>
                <a:gd name="T2" fmla="*/ 2147483647 w 525"/>
                <a:gd name="T3" fmla="*/ 2147483647 h 241"/>
                <a:gd name="T4" fmla="*/ 2147483647 w 525"/>
                <a:gd name="T5" fmla="*/ 2147483647 h 241"/>
                <a:gd name="T6" fmla="*/ 2147483647 w 525"/>
                <a:gd name="T7" fmla="*/ 2147483647 h 241"/>
                <a:gd name="T8" fmla="*/ 2147483647 w 525"/>
                <a:gd name="T9" fmla="*/ 2147483647 h 241"/>
                <a:gd name="T10" fmla="*/ 2147483647 w 525"/>
                <a:gd name="T11" fmla="*/ 2147483647 h 241"/>
                <a:gd name="T12" fmla="*/ 2147483647 w 525"/>
                <a:gd name="T13" fmla="*/ 2147483647 h 241"/>
                <a:gd name="T14" fmla="*/ 2147483647 w 525"/>
                <a:gd name="T15" fmla="*/ 0 h 241"/>
                <a:gd name="T16" fmla="*/ 2147483647 w 525"/>
                <a:gd name="T17" fmla="*/ 2147483647 h 241"/>
                <a:gd name="T18" fmla="*/ 2147483647 w 525"/>
                <a:gd name="T19" fmla="*/ 2147483647 h 241"/>
                <a:gd name="T20" fmla="*/ 2147483647 w 525"/>
                <a:gd name="T21" fmla="*/ 2147483647 h 241"/>
                <a:gd name="T22" fmla="*/ 2147483647 w 525"/>
                <a:gd name="T23" fmla="*/ 2147483647 h 241"/>
                <a:gd name="T24" fmla="*/ 2147483647 w 525"/>
                <a:gd name="T25" fmla="*/ 2147483647 h 241"/>
                <a:gd name="T26" fmla="*/ 2147483647 w 525"/>
                <a:gd name="T27" fmla="*/ 2147483647 h 241"/>
                <a:gd name="T28" fmla="*/ 2147483647 w 525"/>
                <a:gd name="T29" fmla="*/ 2147483647 h 241"/>
                <a:gd name="T30" fmla="*/ 2147483647 w 525"/>
                <a:gd name="T31" fmla="*/ 2147483647 h 241"/>
                <a:gd name="T32" fmla="*/ 2147483647 w 525"/>
                <a:gd name="T33" fmla="*/ 2147483647 h 241"/>
                <a:gd name="T34" fmla="*/ 2147483647 w 525"/>
                <a:gd name="T35" fmla="*/ 2147483647 h 241"/>
                <a:gd name="T36" fmla="*/ 2147483647 w 525"/>
                <a:gd name="T37" fmla="*/ 2147483647 h 241"/>
                <a:gd name="T38" fmla="*/ 2147483647 w 525"/>
                <a:gd name="T39" fmla="*/ 2147483647 h 241"/>
                <a:gd name="T40" fmla="*/ 2147483647 w 525"/>
                <a:gd name="T41" fmla="*/ 2147483647 h 241"/>
                <a:gd name="T42" fmla="*/ 2147483647 w 525"/>
                <a:gd name="T43" fmla="*/ 2147483647 h 241"/>
                <a:gd name="T44" fmla="*/ 2147483647 w 525"/>
                <a:gd name="T45" fmla="*/ 2147483647 h 241"/>
                <a:gd name="T46" fmla="*/ 2147483647 w 525"/>
                <a:gd name="T47" fmla="*/ 2147483647 h 241"/>
                <a:gd name="T48" fmla="*/ 2147483647 w 525"/>
                <a:gd name="T49" fmla="*/ 2147483647 h 241"/>
                <a:gd name="T50" fmla="*/ 2147483647 w 525"/>
                <a:gd name="T51" fmla="*/ 2147483647 h 241"/>
                <a:gd name="T52" fmla="*/ 2147483647 w 525"/>
                <a:gd name="T53" fmla="*/ 2147483647 h 241"/>
                <a:gd name="T54" fmla="*/ 2147483647 w 525"/>
                <a:gd name="T55" fmla="*/ 2147483647 h 241"/>
                <a:gd name="T56" fmla="*/ 2147483647 w 525"/>
                <a:gd name="T57" fmla="*/ 2147483647 h 241"/>
                <a:gd name="T58" fmla="*/ 2147483647 w 525"/>
                <a:gd name="T59" fmla="*/ 2147483647 h 241"/>
                <a:gd name="T60" fmla="*/ 2147483647 w 525"/>
                <a:gd name="T61" fmla="*/ 2147483647 h 241"/>
                <a:gd name="T62" fmla="*/ 2147483647 w 525"/>
                <a:gd name="T63" fmla="*/ 2147483647 h 24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525" h="241">
                  <a:moveTo>
                    <a:pt x="60" y="178"/>
                  </a:moveTo>
                  <a:lnTo>
                    <a:pt x="106" y="185"/>
                  </a:lnTo>
                  <a:lnTo>
                    <a:pt x="140" y="178"/>
                  </a:lnTo>
                  <a:lnTo>
                    <a:pt x="173" y="148"/>
                  </a:lnTo>
                  <a:lnTo>
                    <a:pt x="133" y="123"/>
                  </a:lnTo>
                  <a:lnTo>
                    <a:pt x="93" y="105"/>
                  </a:lnTo>
                  <a:lnTo>
                    <a:pt x="73" y="123"/>
                  </a:lnTo>
                  <a:lnTo>
                    <a:pt x="47" y="117"/>
                  </a:lnTo>
                  <a:lnTo>
                    <a:pt x="33" y="93"/>
                  </a:lnTo>
                  <a:lnTo>
                    <a:pt x="66" y="61"/>
                  </a:lnTo>
                  <a:lnTo>
                    <a:pt x="40" y="55"/>
                  </a:lnTo>
                  <a:lnTo>
                    <a:pt x="40" y="43"/>
                  </a:lnTo>
                  <a:lnTo>
                    <a:pt x="66" y="19"/>
                  </a:lnTo>
                  <a:lnTo>
                    <a:pt x="112" y="25"/>
                  </a:lnTo>
                  <a:lnTo>
                    <a:pt x="173" y="49"/>
                  </a:lnTo>
                  <a:lnTo>
                    <a:pt x="186" y="0"/>
                  </a:lnTo>
                  <a:lnTo>
                    <a:pt x="232" y="12"/>
                  </a:lnTo>
                  <a:lnTo>
                    <a:pt x="312" y="19"/>
                  </a:lnTo>
                  <a:lnTo>
                    <a:pt x="372" y="25"/>
                  </a:lnTo>
                  <a:lnTo>
                    <a:pt x="439" y="25"/>
                  </a:lnTo>
                  <a:lnTo>
                    <a:pt x="519" y="49"/>
                  </a:lnTo>
                  <a:lnTo>
                    <a:pt x="525" y="55"/>
                  </a:lnTo>
                  <a:lnTo>
                    <a:pt x="522" y="62"/>
                  </a:lnTo>
                  <a:lnTo>
                    <a:pt x="519" y="69"/>
                  </a:lnTo>
                  <a:lnTo>
                    <a:pt x="514" y="76"/>
                  </a:lnTo>
                  <a:lnTo>
                    <a:pt x="510" y="82"/>
                  </a:lnTo>
                  <a:lnTo>
                    <a:pt x="504" y="87"/>
                  </a:lnTo>
                  <a:lnTo>
                    <a:pt x="499" y="92"/>
                  </a:lnTo>
                  <a:lnTo>
                    <a:pt x="492" y="96"/>
                  </a:lnTo>
                  <a:lnTo>
                    <a:pt x="485" y="99"/>
                  </a:lnTo>
                  <a:lnTo>
                    <a:pt x="466" y="101"/>
                  </a:lnTo>
                  <a:lnTo>
                    <a:pt x="442" y="103"/>
                  </a:lnTo>
                  <a:lnTo>
                    <a:pt x="430" y="105"/>
                  </a:lnTo>
                  <a:lnTo>
                    <a:pt x="418" y="107"/>
                  </a:lnTo>
                  <a:lnTo>
                    <a:pt x="412" y="109"/>
                  </a:lnTo>
                  <a:lnTo>
                    <a:pt x="407" y="111"/>
                  </a:lnTo>
                  <a:lnTo>
                    <a:pt x="402" y="114"/>
                  </a:lnTo>
                  <a:lnTo>
                    <a:pt x="399" y="117"/>
                  </a:lnTo>
                  <a:lnTo>
                    <a:pt x="394" y="124"/>
                  </a:lnTo>
                  <a:lnTo>
                    <a:pt x="387" y="136"/>
                  </a:lnTo>
                  <a:lnTo>
                    <a:pt x="383" y="142"/>
                  </a:lnTo>
                  <a:lnTo>
                    <a:pt x="378" y="147"/>
                  </a:lnTo>
                  <a:lnTo>
                    <a:pt x="373" y="151"/>
                  </a:lnTo>
                  <a:lnTo>
                    <a:pt x="365" y="154"/>
                  </a:lnTo>
                  <a:lnTo>
                    <a:pt x="341" y="160"/>
                  </a:lnTo>
                  <a:lnTo>
                    <a:pt x="305" y="166"/>
                  </a:lnTo>
                  <a:lnTo>
                    <a:pt x="287" y="170"/>
                  </a:lnTo>
                  <a:lnTo>
                    <a:pt x="273" y="173"/>
                  </a:lnTo>
                  <a:lnTo>
                    <a:pt x="263" y="176"/>
                  </a:lnTo>
                  <a:lnTo>
                    <a:pt x="260" y="178"/>
                  </a:lnTo>
                  <a:lnTo>
                    <a:pt x="260" y="186"/>
                  </a:lnTo>
                  <a:lnTo>
                    <a:pt x="261" y="192"/>
                  </a:lnTo>
                  <a:lnTo>
                    <a:pt x="262" y="197"/>
                  </a:lnTo>
                  <a:lnTo>
                    <a:pt x="263" y="203"/>
                  </a:lnTo>
                  <a:lnTo>
                    <a:pt x="267" y="212"/>
                  </a:lnTo>
                  <a:lnTo>
                    <a:pt x="273" y="222"/>
                  </a:lnTo>
                  <a:lnTo>
                    <a:pt x="266" y="222"/>
                  </a:lnTo>
                  <a:lnTo>
                    <a:pt x="219" y="228"/>
                  </a:lnTo>
                  <a:lnTo>
                    <a:pt x="166" y="241"/>
                  </a:lnTo>
                  <a:lnTo>
                    <a:pt x="112" y="234"/>
                  </a:lnTo>
                  <a:lnTo>
                    <a:pt x="60" y="222"/>
                  </a:lnTo>
                  <a:lnTo>
                    <a:pt x="20" y="222"/>
                  </a:lnTo>
                  <a:lnTo>
                    <a:pt x="0" y="203"/>
                  </a:lnTo>
                  <a:lnTo>
                    <a:pt x="53" y="166"/>
                  </a:lnTo>
                  <a:lnTo>
                    <a:pt x="60" y="17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71" name="Freeform 352"/>
            <p:cNvSpPr>
              <a:spLocks/>
            </p:cNvSpPr>
            <p:nvPr>
              <p:custDataLst>
                <p:tags r:id="rId256"/>
              </p:custDataLst>
            </p:nvPr>
          </p:nvSpPr>
          <p:spPr bwMode="auto">
            <a:xfrm>
              <a:off x="7333294" y="2986527"/>
              <a:ext cx="342900" cy="227012"/>
            </a:xfrm>
            <a:custGeom>
              <a:avLst/>
              <a:gdLst>
                <a:gd name="T0" fmla="*/ 2147483647 w 784"/>
                <a:gd name="T1" fmla="*/ 2147483647 h 430"/>
                <a:gd name="T2" fmla="*/ 2147483647 w 784"/>
                <a:gd name="T3" fmla="*/ 2147483647 h 430"/>
                <a:gd name="T4" fmla="*/ 2147483647 w 784"/>
                <a:gd name="T5" fmla="*/ 2147483647 h 430"/>
                <a:gd name="T6" fmla="*/ 2147483647 w 784"/>
                <a:gd name="T7" fmla="*/ 2147483647 h 430"/>
                <a:gd name="T8" fmla="*/ 2147483647 w 784"/>
                <a:gd name="T9" fmla="*/ 2147483647 h 430"/>
                <a:gd name="T10" fmla="*/ 2147483647 w 784"/>
                <a:gd name="T11" fmla="*/ 2147483647 h 430"/>
                <a:gd name="T12" fmla="*/ 2147483647 w 784"/>
                <a:gd name="T13" fmla="*/ 2147483647 h 430"/>
                <a:gd name="T14" fmla="*/ 2147483647 w 784"/>
                <a:gd name="T15" fmla="*/ 2147483647 h 430"/>
                <a:gd name="T16" fmla="*/ 2147483647 w 784"/>
                <a:gd name="T17" fmla="*/ 2147483647 h 430"/>
                <a:gd name="T18" fmla="*/ 2147483647 w 784"/>
                <a:gd name="T19" fmla="*/ 2147483647 h 430"/>
                <a:gd name="T20" fmla="*/ 2147483647 w 784"/>
                <a:gd name="T21" fmla="*/ 2147483647 h 430"/>
                <a:gd name="T22" fmla="*/ 2147483647 w 784"/>
                <a:gd name="T23" fmla="*/ 2147483647 h 430"/>
                <a:gd name="T24" fmla="*/ 2147483647 w 784"/>
                <a:gd name="T25" fmla="*/ 2147483647 h 430"/>
                <a:gd name="T26" fmla="*/ 2147483647 w 784"/>
                <a:gd name="T27" fmla="*/ 2147483647 h 430"/>
                <a:gd name="T28" fmla="*/ 2147483647 w 784"/>
                <a:gd name="T29" fmla="*/ 2147483647 h 430"/>
                <a:gd name="T30" fmla="*/ 2147483647 w 784"/>
                <a:gd name="T31" fmla="*/ 2147483647 h 430"/>
                <a:gd name="T32" fmla="*/ 2147483647 w 784"/>
                <a:gd name="T33" fmla="*/ 2147483647 h 430"/>
                <a:gd name="T34" fmla="*/ 2147483647 w 784"/>
                <a:gd name="T35" fmla="*/ 2147483647 h 430"/>
                <a:gd name="T36" fmla="*/ 2147483647 w 784"/>
                <a:gd name="T37" fmla="*/ 2147483647 h 430"/>
                <a:gd name="T38" fmla="*/ 2147483647 w 784"/>
                <a:gd name="T39" fmla="*/ 2147483647 h 430"/>
                <a:gd name="T40" fmla="*/ 2147483647 w 784"/>
                <a:gd name="T41" fmla="*/ 2147483647 h 430"/>
                <a:gd name="T42" fmla="*/ 2147483647 w 784"/>
                <a:gd name="T43" fmla="*/ 2147483647 h 430"/>
                <a:gd name="T44" fmla="*/ 2147483647 w 784"/>
                <a:gd name="T45" fmla="*/ 2147483647 h 430"/>
                <a:gd name="T46" fmla="*/ 2147483647 w 784"/>
                <a:gd name="T47" fmla="*/ 2147483647 h 430"/>
                <a:gd name="T48" fmla="*/ 2147483647 w 784"/>
                <a:gd name="T49" fmla="*/ 2147483647 h 430"/>
                <a:gd name="T50" fmla="*/ 2147483647 w 784"/>
                <a:gd name="T51" fmla="*/ 2147483647 h 430"/>
                <a:gd name="T52" fmla="*/ 2147483647 w 784"/>
                <a:gd name="T53" fmla="*/ 2147483647 h 430"/>
                <a:gd name="T54" fmla="*/ 2147483647 w 784"/>
                <a:gd name="T55" fmla="*/ 2147483647 h 430"/>
                <a:gd name="T56" fmla="*/ 2147483647 w 784"/>
                <a:gd name="T57" fmla="*/ 2147483647 h 430"/>
                <a:gd name="T58" fmla="*/ 2147483647 w 784"/>
                <a:gd name="T59" fmla="*/ 2147483647 h 430"/>
                <a:gd name="T60" fmla="*/ 2147483647 w 784"/>
                <a:gd name="T61" fmla="*/ 2147483647 h 430"/>
                <a:gd name="T62" fmla="*/ 2147483647 w 784"/>
                <a:gd name="T63" fmla="*/ 2147483647 h 430"/>
                <a:gd name="T64" fmla="*/ 2147483647 w 784"/>
                <a:gd name="T65" fmla="*/ 2147483647 h 430"/>
                <a:gd name="T66" fmla="*/ 2147483647 w 784"/>
                <a:gd name="T67" fmla="*/ 2147483647 h 430"/>
                <a:gd name="T68" fmla="*/ 0 w 784"/>
                <a:gd name="T69" fmla="*/ 2147483647 h 430"/>
                <a:gd name="T70" fmla="*/ 2147483647 w 784"/>
                <a:gd name="T71" fmla="*/ 2147483647 h 430"/>
                <a:gd name="T72" fmla="*/ 2147483647 w 784"/>
                <a:gd name="T73" fmla="*/ 2147483647 h 430"/>
                <a:gd name="T74" fmla="*/ 2147483647 w 784"/>
                <a:gd name="T75" fmla="*/ 2147483647 h 430"/>
                <a:gd name="T76" fmla="*/ 2147483647 w 784"/>
                <a:gd name="T77" fmla="*/ 2147483647 h 430"/>
                <a:gd name="T78" fmla="*/ 2147483647 w 784"/>
                <a:gd name="T79" fmla="*/ 2147483647 h 430"/>
                <a:gd name="T80" fmla="*/ 2147483647 w 784"/>
                <a:gd name="T81" fmla="*/ 2147483647 h 430"/>
                <a:gd name="T82" fmla="*/ 2147483647 w 784"/>
                <a:gd name="T83" fmla="*/ 2147483647 h 430"/>
                <a:gd name="T84" fmla="*/ 2147483647 w 784"/>
                <a:gd name="T85" fmla="*/ 2147483647 h 430"/>
                <a:gd name="T86" fmla="*/ 2147483647 w 784"/>
                <a:gd name="T87" fmla="*/ 2147483647 h 430"/>
                <a:gd name="T88" fmla="*/ 2147483647 w 784"/>
                <a:gd name="T89" fmla="*/ 2147483647 h 430"/>
                <a:gd name="T90" fmla="*/ 2147483647 w 784"/>
                <a:gd name="T91" fmla="*/ 2147483647 h 430"/>
                <a:gd name="T92" fmla="*/ 2147483647 w 784"/>
                <a:gd name="T93" fmla="*/ 2147483647 h 430"/>
                <a:gd name="T94" fmla="*/ 2147483647 w 784"/>
                <a:gd name="T95" fmla="*/ 2147483647 h 430"/>
                <a:gd name="T96" fmla="*/ 2147483647 w 784"/>
                <a:gd name="T97" fmla="*/ 2147483647 h 430"/>
                <a:gd name="T98" fmla="*/ 2147483647 w 784"/>
                <a:gd name="T99" fmla="*/ 0 h 430"/>
                <a:gd name="T100" fmla="*/ 2147483647 w 784"/>
                <a:gd name="T101" fmla="*/ 2147483647 h 430"/>
                <a:gd name="T102" fmla="*/ 2147483647 w 784"/>
                <a:gd name="T103" fmla="*/ 2147483647 h 430"/>
                <a:gd name="T104" fmla="*/ 2147483647 w 784"/>
                <a:gd name="T105" fmla="*/ 2147483647 h 430"/>
                <a:gd name="T106" fmla="*/ 2147483647 w 784"/>
                <a:gd name="T107" fmla="*/ 2147483647 h 430"/>
                <a:gd name="T108" fmla="*/ 2147483647 w 784"/>
                <a:gd name="T109" fmla="*/ 2147483647 h 43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784" h="430">
                  <a:moveTo>
                    <a:pt x="778" y="295"/>
                  </a:moveTo>
                  <a:lnTo>
                    <a:pt x="772" y="294"/>
                  </a:lnTo>
                  <a:lnTo>
                    <a:pt x="768" y="292"/>
                  </a:lnTo>
                  <a:lnTo>
                    <a:pt x="762" y="292"/>
                  </a:lnTo>
                  <a:lnTo>
                    <a:pt x="757" y="292"/>
                  </a:lnTo>
                  <a:lnTo>
                    <a:pt x="751" y="293"/>
                  </a:lnTo>
                  <a:lnTo>
                    <a:pt x="745" y="295"/>
                  </a:lnTo>
                  <a:lnTo>
                    <a:pt x="738" y="298"/>
                  </a:lnTo>
                  <a:lnTo>
                    <a:pt x="731" y="302"/>
                  </a:lnTo>
                  <a:lnTo>
                    <a:pt x="727" y="303"/>
                  </a:lnTo>
                  <a:lnTo>
                    <a:pt x="725" y="305"/>
                  </a:lnTo>
                  <a:lnTo>
                    <a:pt x="723" y="308"/>
                  </a:lnTo>
                  <a:lnTo>
                    <a:pt x="721" y="312"/>
                  </a:lnTo>
                  <a:lnTo>
                    <a:pt x="718" y="322"/>
                  </a:lnTo>
                  <a:lnTo>
                    <a:pt x="717" y="332"/>
                  </a:lnTo>
                  <a:lnTo>
                    <a:pt x="716" y="343"/>
                  </a:lnTo>
                  <a:lnTo>
                    <a:pt x="714" y="354"/>
                  </a:lnTo>
                  <a:lnTo>
                    <a:pt x="713" y="360"/>
                  </a:lnTo>
                  <a:lnTo>
                    <a:pt x="711" y="365"/>
                  </a:lnTo>
                  <a:lnTo>
                    <a:pt x="708" y="370"/>
                  </a:lnTo>
                  <a:lnTo>
                    <a:pt x="704" y="376"/>
                  </a:lnTo>
                  <a:lnTo>
                    <a:pt x="694" y="385"/>
                  </a:lnTo>
                  <a:lnTo>
                    <a:pt x="683" y="394"/>
                  </a:lnTo>
                  <a:lnTo>
                    <a:pt x="671" y="402"/>
                  </a:lnTo>
                  <a:lnTo>
                    <a:pt x="659" y="409"/>
                  </a:lnTo>
                  <a:lnTo>
                    <a:pt x="647" y="416"/>
                  </a:lnTo>
                  <a:lnTo>
                    <a:pt x="633" y="420"/>
                  </a:lnTo>
                  <a:lnTo>
                    <a:pt x="626" y="422"/>
                  </a:lnTo>
                  <a:lnTo>
                    <a:pt x="620" y="424"/>
                  </a:lnTo>
                  <a:lnTo>
                    <a:pt x="612" y="424"/>
                  </a:lnTo>
                  <a:lnTo>
                    <a:pt x="604" y="425"/>
                  </a:lnTo>
                  <a:lnTo>
                    <a:pt x="596" y="426"/>
                  </a:lnTo>
                  <a:lnTo>
                    <a:pt x="587" y="429"/>
                  </a:lnTo>
                  <a:lnTo>
                    <a:pt x="581" y="430"/>
                  </a:lnTo>
                  <a:lnTo>
                    <a:pt x="575" y="430"/>
                  </a:lnTo>
                  <a:lnTo>
                    <a:pt x="567" y="428"/>
                  </a:lnTo>
                  <a:lnTo>
                    <a:pt x="558" y="425"/>
                  </a:lnTo>
                  <a:lnTo>
                    <a:pt x="553" y="406"/>
                  </a:lnTo>
                  <a:lnTo>
                    <a:pt x="545" y="388"/>
                  </a:lnTo>
                  <a:lnTo>
                    <a:pt x="537" y="367"/>
                  </a:lnTo>
                  <a:lnTo>
                    <a:pt x="532" y="345"/>
                  </a:lnTo>
                  <a:lnTo>
                    <a:pt x="515" y="344"/>
                  </a:lnTo>
                  <a:lnTo>
                    <a:pt x="501" y="342"/>
                  </a:lnTo>
                  <a:lnTo>
                    <a:pt x="489" y="339"/>
                  </a:lnTo>
                  <a:lnTo>
                    <a:pt x="478" y="334"/>
                  </a:lnTo>
                  <a:lnTo>
                    <a:pt x="467" y="329"/>
                  </a:lnTo>
                  <a:lnTo>
                    <a:pt x="458" y="323"/>
                  </a:lnTo>
                  <a:lnTo>
                    <a:pt x="448" y="315"/>
                  </a:lnTo>
                  <a:lnTo>
                    <a:pt x="439" y="308"/>
                  </a:lnTo>
                  <a:lnTo>
                    <a:pt x="429" y="301"/>
                  </a:lnTo>
                  <a:lnTo>
                    <a:pt x="417" y="294"/>
                  </a:lnTo>
                  <a:lnTo>
                    <a:pt x="404" y="287"/>
                  </a:lnTo>
                  <a:lnTo>
                    <a:pt x="389" y="280"/>
                  </a:lnTo>
                  <a:lnTo>
                    <a:pt x="373" y="274"/>
                  </a:lnTo>
                  <a:lnTo>
                    <a:pt x="354" y="268"/>
                  </a:lnTo>
                  <a:lnTo>
                    <a:pt x="331" y="262"/>
                  </a:lnTo>
                  <a:lnTo>
                    <a:pt x="306" y="258"/>
                  </a:lnTo>
                  <a:lnTo>
                    <a:pt x="212" y="258"/>
                  </a:lnTo>
                  <a:lnTo>
                    <a:pt x="204" y="267"/>
                  </a:lnTo>
                  <a:lnTo>
                    <a:pt x="182" y="283"/>
                  </a:lnTo>
                  <a:lnTo>
                    <a:pt x="171" y="292"/>
                  </a:lnTo>
                  <a:lnTo>
                    <a:pt x="160" y="300"/>
                  </a:lnTo>
                  <a:lnTo>
                    <a:pt x="151" y="306"/>
                  </a:lnTo>
                  <a:lnTo>
                    <a:pt x="146" y="308"/>
                  </a:lnTo>
                  <a:lnTo>
                    <a:pt x="137" y="308"/>
                  </a:lnTo>
                  <a:lnTo>
                    <a:pt x="127" y="308"/>
                  </a:lnTo>
                  <a:lnTo>
                    <a:pt x="119" y="308"/>
                  </a:lnTo>
                  <a:lnTo>
                    <a:pt x="113" y="308"/>
                  </a:lnTo>
                  <a:lnTo>
                    <a:pt x="66" y="252"/>
                  </a:lnTo>
                  <a:lnTo>
                    <a:pt x="66" y="237"/>
                  </a:lnTo>
                  <a:lnTo>
                    <a:pt x="66" y="223"/>
                  </a:lnTo>
                  <a:lnTo>
                    <a:pt x="66" y="204"/>
                  </a:lnTo>
                  <a:lnTo>
                    <a:pt x="66" y="179"/>
                  </a:lnTo>
                  <a:lnTo>
                    <a:pt x="53" y="179"/>
                  </a:lnTo>
                  <a:lnTo>
                    <a:pt x="40" y="179"/>
                  </a:lnTo>
                  <a:lnTo>
                    <a:pt x="42" y="185"/>
                  </a:lnTo>
                  <a:lnTo>
                    <a:pt x="42" y="192"/>
                  </a:lnTo>
                  <a:lnTo>
                    <a:pt x="42" y="199"/>
                  </a:lnTo>
                  <a:lnTo>
                    <a:pt x="41" y="205"/>
                  </a:lnTo>
                  <a:lnTo>
                    <a:pt x="39" y="212"/>
                  </a:lnTo>
                  <a:lnTo>
                    <a:pt x="36" y="218"/>
                  </a:lnTo>
                  <a:lnTo>
                    <a:pt x="31" y="223"/>
                  </a:lnTo>
                  <a:lnTo>
                    <a:pt x="27" y="228"/>
                  </a:lnTo>
                  <a:lnTo>
                    <a:pt x="30" y="221"/>
                  </a:lnTo>
                  <a:lnTo>
                    <a:pt x="32" y="215"/>
                  </a:lnTo>
                  <a:lnTo>
                    <a:pt x="32" y="208"/>
                  </a:lnTo>
                  <a:lnTo>
                    <a:pt x="31" y="203"/>
                  </a:lnTo>
                  <a:lnTo>
                    <a:pt x="29" y="191"/>
                  </a:lnTo>
                  <a:lnTo>
                    <a:pt x="27" y="179"/>
                  </a:lnTo>
                  <a:lnTo>
                    <a:pt x="27" y="174"/>
                  </a:lnTo>
                  <a:lnTo>
                    <a:pt x="29" y="170"/>
                  </a:lnTo>
                  <a:lnTo>
                    <a:pt x="31" y="167"/>
                  </a:lnTo>
                  <a:lnTo>
                    <a:pt x="33" y="163"/>
                  </a:lnTo>
                  <a:lnTo>
                    <a:pt x="36" y="160"/>
                  </a:lnTo>
                  <a:lnTo>
                    <a:pt x="38" y="156"/>
                  </a:lnTo>
                  <a:lnTo>
                    <a:pt x="40" y="152"/>
                  </a:lnTo>
                  <a:lnTo>
                    <a:pt x="40" y="147"/>
                  </a:lnTo>
                  <a:lnTo>
                    <a:pt x="31" y="136"/>
                  </a:lnTo>
                  <a:lnTo>
                    <a:pt x="27" y="129"/>
                  </a:lnTo>
                  <a:lnTo>
                    <a:pt x="20" y="129"/>
                  </a:lnTo>
                  <a:lnTo>
                    <a:pt x="11" y="128"/>
                  </a:lnTo>
                  <a:lnTo>
                    <a:pt x="7" y="126"/>
                  </a:lnTo>
                  <a:lnTo>
                    <a:pt x="4" y="124"/>
                  </a:lnTo>
                  <a:lnTo>
                    <a:pt x="1" y="121"/>
                  </a:lnTo>
                  <a:lnTo>
                    <a:pt x="0" y="117"/>
                  </a:lnTo>
                  <a:lnTo>
                    <a:pt x="0" y="113"/>
                  </a:lnTo>
                  <a:lnTo>
                    <a:pt x="1" y="108"/>
                  </a:lnTo>
                  <a:lnTo>
                    <a:pt x="3" y="104"/>
                  </a:lnTo>
                  <a:lnTo>
                    <a:pt x="5" y="100"/>
                  </a:lnTo>
                  <a:lnTo>
                    <a:pt x="8" y="96"/>
                  </a:lnTo>
                  <a:lnTo>
                    <a:pt x="11" y="94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7" y="92"/>
                  </a:lnTo>
                  <a:lnTo>
                    <a:pt x="32" y="94"/>
                  </a:lnTo>
                  <a:lnTo>
                    <a:pt x="37" y="96"/>
                  </a:lnTo>
                  <a:lnTo>
                    <a:pt x="41" y="99"/>
                  </a:lnTo>
                  <a:lnTo>
                    <a:pt x="45" y="101"/>
                  </a:lnTo>
                  <a:lnTo>
                    <a:pt x="51" y="103"/>
                  </a:lnTo>
                  <a:lnTo>
                    <a:pt x="57" y="104"/>
                  </a:lnTo>
                  <a:lnTo>
                    <a:pt x="66" y="105"/>
                  </a:lnTo>
                  <a:lnTo>
                    <a:pt x="67" y="99"/>
                  </a:lnTo>
                  <a:lnTo>
                    <a:pt x="71" y="92"/>
                  </a:lnTo>
                  <a:lnTo>
                    <a:pt x="75" y="87"/>
                  </a:lnTo>
                  <a:lnTo>
                    <a:pt x="79" y="82"/>
                  </a:lnTo>
                  <a:lnTo>
                    <a:pt x="83" y="77"/>
                  </a:lnTo>
                  <a:lnTo>
                    <a:pt x="86" y="71"/>
                  </a:lnTo>
                  <a:lnTo>
                    <a:pt x="87" y="67"/>
                  </a:lnTo>
                  <a:lnTo>
                    <a:pt x="87" y="64"/>
                  </a:lnTo>
                  <a:lnTo>
                    <a:pt x="87" y="60"/>
                  </a:lnTo>
                  <a:lnTo>
                    <a:pt x="86" y="56"/>
                  </a:lnTo>
                  <a:lnTo>
                    <a:pt x="78" y="55"/>
                  </a:lnTo>
                  <a:lnTo>
                    <a:pt x="71" y="54"/>
                  </a:lnTo>
                  <a:lnTo>
                    <a:pt x="63" y="52"/>
                  </a:lnTo>
                  <a:lnTo>
                    <a:pt x="55" y="49"/>
                  </a:lnTo>
                  <a:lnTo>
                    <a:pt x="52" y="47"/>
                  </a:lnTo>
                  <a:lnTo>
                    <a:pt x="50" y="44"/>
                  </a:lnTo>
                  <a:lnTo>
                    <a:pt x="47" y="40"/>
                  </a:lnTo>
                  <a:lnTo>
                    <a:pt x="44" y="37"/>
                  </a:lnTo>
                  <a:lnTo>
                    <a:pt x="42" y="33"/>
                  </a:lnTo>
                  <a:lnTo>
                    <a:pt x="41" y="28"/>
                  </a:lnTo>
                  <a:lnTo>
                    <a:pt x="40" y="24"/>
                  </a:lnTo>
                  <a:lnTo>
                    <a:pt x="40" y="18"/>
                  </a:lnTo>
                  <a:lnTo>
                    <a:pt x="107" y="43"/>
                  </a:lnTo>
                  <a:lnTo>
                    <a:pt x="133" y="80"/>
                  </a:lnTo>
                  <a:lnTo>
                    <a:pt x="179" y="86"/>
                  </a:lnTo>
                  <a:lnTo>
                    <a:pt x="219" y="74"/>
                  </a:lnTo>
                  <a:lnTo>
                    <a:pt x="212" y="43"/>
                  </a:lnTo>
                  <a:lnTo>
                    <a:pt x="253" y="24"/>
                  </a:lnTo>
                  <a:lnTo>
                    <a:pt x="273" y="0"/>
                  </a:lnTo>
                  <a:lnTo>
                    <a:pt x="306" y="6"/>
                  </a:lnTo>
                  <a:lnTo>
                    <a:pt x="339" y="24"/>
                  </a:lnTo>
                  <a:lnTo>
                    <a:pt x="373" y="43"/>
                  </a:lnTo>
                  <a:lnTo>
                    <a:pt x="386" y="80"/>
                  </a:lnTo>
                  <a:lnTo>
                    <a:pt x="425" y="92"/>
                  </a:lnTo>
                  <a:lnTo>
                    <a:pt x="465" y="92"/>
                  </a:lnTo>
                  <a:lnTo>
                    <a:pt x="512" y="141"/>
                  </a:lnTo>
                  <a:lnTo>
                    <a:pt x="545" y="179"/>
                  </a:lnTo>
                  <a:lnTo>
                    <a:pt x="591" y="210"/>
                  </a:lnTo>
                  <a:lnTo>
                    <a:pt x="632" y="222"/>
                  </a:lnTo>
                  <a:lnTo>
                    <a:pt x="678" y="252"/>
                  </a:lnTo>
                  <a:lnTo>
                    <a:pt x="724" y="265"/>
                  </a:lnTo>
                  <a:lnTo>
                    <a:pt x="758" y="277"/>
                  </a:lnTo>
                  <a:lnTo>
                    <a:pt x="784" y="289"/>
                  </a:lnTo>
                  <a:lnTo>
                    <a:pt x="778" y="29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31" name="Freeform 353"/>
            <p:cNvSpPr>
              <a:spLocks/>
            </p:cNvSpPr>
            <p:nvPr>
              <p:custDataLst>
                <p:tags r:id="rId257"/>
              </p:custDataLst>
            </p:nvPr>
          </p:nvSpPr>
          <p:spPr bwMode="auto">
            <a:xfrm>
              <a:off x="6543505" y="2874358"/>
              <a:ext cx="106928" cy="148438"/>
            </a:xfrm>
            <a:custGeom>
              <a:avLst/>
              <a:gdLst>
                <a:gd name="T0" fmla="*/ 30 w 246"/>
                <a:gd name="T1" fmla="*/ 27 h 284"/>
                <a:gd name="T2" fmla="*/ 28 w 246"/>
                <a:gd name="T3" fmla="*/ 24 h 284"/>
                <a:gd name="T4" fmla="*/ 24 w 246"/>
                <a:gd name="T5" fmla="*/ 17 h 284"/>
                <a:gd name="T6" fmla="*/ 35 w 246"/>
                <a:gd name="T7" fmla="*/ 5 h 284"/>
                <a:gd name="T8" fmla="*/ 67 w 246"/>
                <a:gd name="T9" fmla="*/ 1 h 284"/>
                <a:gd name="T10" fmla="*/ 126 w 246"/>
                <a:gd name="T11" fmla="*/ 12 h 284"/>
                <a:gd name="T12" fmla="*/ 131 w 246"/>
                <a:gd name="T13" fmla="*/ 30 h 284"/>
                <a:gd name="T14" fmla="*/ 139 w 246"/>
                <a:gd name="T15" fmla="*/ 46 h 284"/>
                <a:gd name="T16" fmla="*/ 151 w 246"/>
                <a:gd name="T17" fmla="*/ 57 h 284"/>
                <a:gd name="T18" fmla="*/ 165 w 246"/>
                <a:gd name="T19" fmla="*/ 67 h 284"/>
                <a:gd name="T20" fmla="*/ 191 w 246"/>
                <a:gd name="T21" fmla="*/ 87 h 284"/>
                <a:gd name="T22" fmla="*/ 203 w 246"/>
                <a:gd name="T23" fmla="*/ 101 h 284"/>
                <a:gd name="T24" fmla="*/ 212 w 246"/>
                <a:gd name="T25" fmla="*/ 117 h 284"/>
                <a:gd name="T26" fmla="*/ 226 w 246"/>
                <a:gd name="T27" fmla="*/ 117 h 284"/>
                <a:gd name="T28" fmla="*/ 221 w 246"/>
                <a:gd name="T29" fmla="*/ 124 h 284"/>
                <a:gd name="T30" fmla="*/ 221 w 246"/>
                <a:gd name="T31" fmla="*/ 129 h 284"/>
                <a:gd name="T32" fmla="*/ 228 w 246"/>
                <a:gd name="T33" fmla="*/ 140 h 284"/>
                <a:gd name="T34" fmla="*/ 239 w 246"/>
                <a:gd name="T35" fmla="*/ 154 h 284"/>
                <a:gd name="T36" fmla="*/ 244 w 246"/>
                <a:gd name="T37" fmla="*/ 162 h 284"/>
                <a:gd name="T38" fmla="*/ 246 w 246"/>
                <a:gd name="T39" fmla="*/ 173 h 284"/>
                <a:gd name="T40" fmla="*/ 241 w 246"/>
                <a:gd name="T41" fmla="*/ 184 h 284"/>
                <a:gd name="T42" fmla="*/ 233 w 246"/>
                <a:gd name="T43" fmla="*/ 192 h 284"/>
                <a:gd name="T44" fmla="*/ 223 w 246"/>
                <a:gd name="T45" fmla="*/ 198 h 284"/>
                <a:gd name="T46" fmla="*/ 220 w 246"/>
                <a:gd name="T47" fmla="*/ 204 h 284"/>
                <a:gd name="T48" fmla="*/ 189 w 246"/>
                <a:gd name="T49" fmla="*/ 215 h 284"/>
                <a:gd name="T50" fmla="*/ 164 w 246"/>
                <a:gd name="T51" fmla="*/ 230 h 284"/>
                <a:gd name="T52" fmla="*/ 113 w 246"/>
                <a:gd name="T53" fmla="*/ 265 h 284"/>
                <a:gd name="T54" fmla="*/ 88 w 246"/>
                <a:gd name="T55" fmla="*/ 231 h 284"/>
                <a:gd name="T56" fmla="*/ 79 w 246"/>
                <a:gd name="T57" fmla="*/ 220 h 284"/>
                <a:gd name="T58" fmla="*/ 72 w 246"/>
                <a:gd name="T59" fmla="*/ 216 h 284"/>
                <a:gd name="T60" fmla="*/ 60 w 246"/>
                <a:gd name="T61" fmla="*/ 217 h 284"/>
                <a:gd name="T62" fmla="*/ 54 w 246"/>
                <a:gd name="T63" fmla="*/ 221 h 284"/>
                <a:gd name="T64" fmla="*/ 49 w 246"/>
                <a:gd name="T65" fmla="*/ 228 h 284"/>
                <a:gd name="T66" fmla="*/ 48 w 246"/>
                <a:gd name="T67" fmla="*/ 236 h 284"/>
                <a:gd name="T68" fmla="*/ 45 w 246"/>
                <a:gd name="T69" fmla="*/ 257 h 284"/>
                <a:gd name="T70" fmla="*/ 41 w 246"/>
                <a:gd name="T71" fmla="*/ 270 h 284"/>
                <a:gd name="T72" fmla="*/ 33 w 246"/>
                <a:gd name="T73" fmla="*/ 284 h 284"/>
                <a:gd name="T74" fmla="*/ 26 w 246"/>
                <a:gd name="T75" fmla="*/ 243 h 284"/>
                <a:gd name="T76" fmla="*/ 17 w 246"/>
                <a:gd name="T77" fmla="*/ 227 h 284"/>
                <a:gd name="T78" fmla="*/ 11 w 246"/>
                <a:gd name="T79" fmla="*/ 221 h 284"/>
                <a:gd name="T80" fmla="*/ 0 w 246"/>
                <a:gd name="T81" fmla="*/ 216 h 284"/>
                <a:gd name="T82" fmla="*/ 1 w 246"/>
                <a:gd name="T83" fmla="*/ 204 h 284"/>
                <a:gd name="T84" fmla="*/ 4 w 246"/>
                <a:gd name="T85" fmla="*/ 193 h 284"/>
                <a:gd name="T86" fmla="*/ 15 w 246"/>
                <a:gd name="T87" fmla="*/ 176 h 284"/>
                <a:gd name="T88" fmla="*/ 31 w 246"/>
                <a:gd name="T89" fmla="*/ 161 h 284"/>
                <a:gd name="T90" fmla="*/ 46 w 246"/>
                <a:gd name="T91" fmla="*/ 141 h 284"/>
                <a:gd name="T92" fmla="*/ 33 w 246"/>
                <a:gd name="T93" fmla="*/ 4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46" h="284">
                  <a:moveTo>
                    <a:pt x="33" y="44"/>
                  </a:moveTo>
                  <a:lnTo>
                    <a:pt x="30" y="27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6" y="22"/>
                  </a:lnTo>
                  <a:lnTo>
                    <a:pt x="24" y="17"/>
                  </a:lnTo>
                  <a:lnTo>
                    <a:pt x="20" y="6"/>
                  </a:lnTo>
                  <a:lnTo>
                    <a:pt x="35" y="5"/>
                  </a:lnTo>
                  <a:lnTo>
                    <a:pt x="50" y="3"/>
                  </a:lnTo>
                  <a:lnTo>
                    <a:pt x="67" y="1"/>
                  </a:lnTo>
                  <a:lnTo>
                    <a:pt x="87" y="0"/>
                  </a:lnTo>
                  <a:lnTo>
                    <a:pt x="126" y="12"/>
                  </a:lnTo>
                  <a:lnTo>
                    <a:pt x="127" y="22"/>
                  </a:lnTo>
                  <a:lnTo>
                    <a:pt x="131" y="30"/>
                  </a:lnTo>
                  <a:lnTo>
                    <a:pt x="135" y="39"/>
                  </a:lnTo>
                  <a:lnTo>
                    <a:pt x="139" y="46"/>
                  </a:lnTo>
                  <a:lnTo>
                    <a:pt x="145" y="52"/>
                  </a:lnTo>
                  <a:lnTo>
                    <a:pt x="151" y="57"/>
                  </a:lnTo>
                  <a:lnTo>
                    <a:pt x="157" y="62"/>
                  </a:lnTo>
                  <a:lnTo>
                    <a:pt x="165" y="67"/>
                  </a:lnTo>
                  <a:lnTo>
                    <a:pt x="178" y="77"/>
                  </a:lnTo>
                  <a:lnTo>
                    <a:pt x="191" y="87"/>
                  </a:lnTo>
                  <a:lnTo>
                    <a:pt x="198" y="94"/>
                  </a:lnTo>
                  <a:lnTo>
                    <a:pt x="203" y="101"/>
                  </a:lnTo>
                  <a:lnTo>
                    <a:pt x="209" y="109"/>
                  </a:lnTo>
                  <a:lnTo>
                    <a:pt x="212" y="117"/>
                  </a:lnTo>
                  <a:lnTo>
                    <a:pt x="220" y="117"/>
                  </a:lnTo>
                  <a:lnTo>
                    <a:pt x="226" y="117"/>
                  </a:lnTo>
                  <a:lnTo>
                    <a:pt x="223" y="121"/>
                  </a:lnTo>
                  <a:lnTo>
                    <a:pt x="221" y="124"/>
                  </a:lnTo>
                  <a:lnTo>
                    <a:pt x="220" y="126"/>
                  </a:lnTo>
                  <a:lnTo>
                    <a:pt x="221" y="129"/>
                  </a:lnTo>
                  <a:lnTo>
                    <a:pt x="223" y="135"/>
                  </a:lnTo>
                  <a:lnTo>
                    <a:pt x="228" y="140"/>
                  </a:lnTo>
                  <a:lnTo>
                    <a:pt x="234" y="146"/>
                  </a:lnTo>
                  <a:lnTo>
                    <a:pt x="239" y="154"/>
                  </a:lnTo>
                  <a:lnTo>
                    <a:pt x="241" y="158"/>
                  </a:lnTo>
                  <a:lnTo>
                    <a:pt x="244" y="162"/>
                  </a:lnTo>
                  <a:lnTo>
                    <a:pt x="245" y="167"/>
                  </a:lnTo>
                  <a:lnTo>
                    <a:pt x="246" y="173"/>
                  </a:lnTo>
                  <a:lnTo>
                    <a:pt x="245" y="179"/>
                  </a:lnTo>
                  <a:lnTo>
                    <a:pt x="241" y="184"/>
                  </a:lnTo>
                  <a:lnTo>
                    <a:pt x="237" y="189"/>
                  </a:lnTo>
                  <a:lnTo>
                    <a:pt x="233" y="192"/>
                  </a:lnTo>
                  <a:lnTo>
                    <a:pt x="227" y="196"/>
                  </a:lnTo>
                  <a:lnTo>
                    <a:pt x="223" y="198"/>
                  </a:lnTo>
                  <a:lnTo>
                    <a:pt x="221" y="201"/>
                  </a:lnTo>
                  <a:lnTo>
                    <a:pt x="220" y="204"/>
                  </a:lnTo>
                  <a:lnTo>
                    <a:pt x="203" y="209"/>
                  </a:lnTo>
                  <a:lnTo>
                    <a:pt x="189" y="215"/>
                  </a:lnTo>
                  <a:lnTo>
                    <a:pt x="176" y="222"/>
                  </a:lnTo>
                  <a:lnTo>
                    <a:pt x="164" y="230"/>
                  </a:lnTo>
                  <a:lnTo>
                    <a:pt x="139" y="246"/>
                  </a:lnTo>
                  <a:lnTo>
                    <a:pt x="113" y="265"/>
                  </a:lnTo>
                  <a:lnTo>
                    <a:pt x="99" y="247"/>
                  </a:lnTo>
                  <a:lnTo>
                    <a:pt x="88" y="231"/>
                  </a:lnTo>
                  <a:lnTo>
                    <a:pt x="83" y="225"/>
                  </a:lnTo>
                  <a:lnTo>
                    <a:pt x="79" y="220"/>
                  </a:lnTo>
                  <a:lnTo>
                    <a:pt x="76" y="217"/>
                  </a:lnTo>
                  <a:lnTo>
                    <a:pt x="72" y="216"/>
                  </a:lnTo>
                  <a:lnTo>
                    <a:pt x="66" y="216"/>
                  </a:lnTo>
                  <a:lnTo>
                    <a:pt x="60" y="217"/>
                  </a:lnTo>
                  <a:lnTo>
                    <a:pt x="57" y="219"/>
                  </a:lnTo>
                  <a:lnTo>
                    <a:pt x="54" y="221"/>
                  </a:lnTo>
                  <a:lnTo>
                    <a:pt x="52" y="224"/>
                  </a:lnTo>
                  <a:lnTo>
                    <a:pt x="49" y="228"/>
                  </a:lnTo>
                  <a:lnTo>
                    <a:pt x="48" y="231"/>
                  </a:lnTo>
                  <a:lnTo>
                    <a:pt x="48" y="236"/>
                  </a:lnTo>
                  <a:lnTo>
                    <a:pt x="47" y="246"/>
                  </a:lnTo>
                  <a:lnTo>
                    <a:pt x="45" y="257"/>
                  </a:lnTo>
                  <a:lnTo>
                    <a:pt x="43" y="264"/>
                  </a:lnTo>
                  <a:lnTo>
                    <a:pt x="41" y="270"/>
                  </a:lnTo>
                  <a:lnTo>
                    <a:pt x="37" y="277"/>
                  </a:lnTo>
                  <a:lnTo>
                    <a:pt x="33" y="284"/>
                  </a:lnTo>
                  <a:lnTo>
                    <a:pt x="30" y="262"/>
                  </a:lnTo>
                  <a:lnTo>
                    <a:pt x="26" y="243"/>
                  </a:lnTo>
                  <a:lnTo>
                    <a:pt x="23" y="234"/>
                  </a:lnTo>
                  <a:lnTo>
                    <a:pt x="17" y="227"/>
                  </a:lnTo>
                  <a:lnTo>
                    <a:pt x="14" y="224"/>
                  </a:lnTo>
                  <a:lnTo>
                    <a:pt x="11" y="221"/>
                  </a:lnTo>
                  <a:lnTo>
                    <a:pt x="5" y="218"/>
                  </a:lnTo>
                  <a:lnTo>
                    <a:pt x="0" y="216"/>
                  </a:lnTo>
                  <a:lnTo>
                    <a:pt x="0" y="210"/>
                  </a:lnTo>
                  <a:lnTo>
                    <a:pt x="1" y="204"/>
                  </a:lnTo>
                  <a:lnTo>
                    <a:pt x="2" y="197"/>
                  </a:lnTo>
                  <a:lnTo>
                    <a:pt x="4" y="193"/>
                  </a:lnTo>
                  <a:lnTo>
                    <a:pt x="9" y="184"/>
                  </a:lnTo>
                  <a:lnTo>
                    <a:pt x="15" y="176"/>
                  </a:lnTo>
                  <a:lnTo>
                    <a:pt x="23" y="169"/>
                  </a:lnTo>
                  <a:lnTo>
                    <a:pt x="31" y="161"/>
                  </a:lnTo>
                  <a:lnTo>
                    <a:pt x="38" y="153"/>
                  </a:lnTo>
                  <a:lnTo>
                    <a:pt x="46" y="141"/>
                  </a:lnTo>
                  <a:lnTo>
                    <a:pt x="0" y="62"/>
                  </a:lnTo>
                  <a:lnTo>
                    <a:pt x="33" y="4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32" name="Freeform 354"/>
            <p:cNvSpPr>
              <a:spLocks/>
            </p:cNvSpPr>
            <p:nvPr>
              <p:custDataLst>
                <p:tags r:id="rId258"/>
              </p:custDataLst>
            </p:nvPr>
          </p:nvSpPr>
          <p:spPr bwMode="auto">
            <a:xfrm>
              <a:off x="6589787" y="2982313"/>
              <a:ext cx="68626" cy="59037"/>
            </a:xfrm>
            <a:custGeom>
              <a:avLst/>
              <a:gdLst>
                <a:gd name="T0" fmla="*/ 114 w 160"/>
                <a:gd name="T1" fmla="*/ 0 h 117"/>
                <a:gd name="T2" fmla="*/ 114 w 160"/>
                <a:gd name="T3" fmla="*/ 9 h 117"/>
                <a:gd name="T4" fmla="*/ 114 w 160"/>
                <a:gd name="T5" fmla="*/ 18 h 117"/>
                <a:gd name="T6" fmla="*/ 115 w 160"/>
                <a:gd name="T7" fmla="*/ 25 h 117"/>
                <a:gd name="T8" fmla="*/ 117 w 160"/>
                <a:gd name="T9" fmla="*/ 32 h 117"/>
                <a:gd name="T10" fmla="*/ 119 w 160"/>
                <a:gd name="T11" fmla="*/ 34 h 117"/>
                <a:gd name="T12" fmla="*/ 121 w 160"/>
                <a:gd name="T13" fmla="*/ 37 h 117"/>
                <a:gd name="T14" fmla="*/ 123 w 160"/>
                <a:gd name="T15" fmla="*/ 38 h 117"/>
                <a:gd name="T16" fmla="*/ 127 w 160"/>
                <a:gd name="T17" fmla="*/ 39 h 117"/>
                <a:gd name="T18" fmla="*/ 131 w 160"/>
                <a:gd name="T19" fmla="*/ 40 h 117"/>
                <a:gd name="T20" fmla="*/ 135 w 160"/>
                <a:gd name="T21" fmla="*/ 39 h 117"/>
                <a:gd name="T22" fmla="*/ 140 w 160"/>
                <a:gd name="T23" fmla="*/ 38 h 117"/>
                <a:gd name="T24" fmla="*/ 146 w 160"/>
                <a:gd name="T25" fmla="*/ 36 h 117"/>
                <a:gd name="T26" fmla="*/ 149 w 160"/>
                <a:gd name="T27" fmla="*/ 43 h 117"/>
                <a:gd name="T28" fmla="*/ 153 w 160"/>
                <a:gd name="T29" fmla="*/ 52 h 117"/>
                <a:gd name="T30" fmla="*/ 157 w 160"/>
                <a:gd name="T31" fmla="*/ 64 h 117"/>
                <a:gd name="T32" fmla="*/ 160 w 160"/>
                <a:gd name="T33" fmla="*/ 74 h 117"/>
                <a:gd name="T34" fmla="*/ 133 w 160"/>
                <a:gd name="T35" fmla="*/ 88 h 117"/>
                <a:gd name="T36" fmla="*/ 106 w 160"/>
                <a:gd name="T37" fmla="*/ 102 h 117"/>
                <a:gd name="T38" fmla="*/ 92 w 160"/>
                <a:gd name="T39" fmla="*/ 107 h 117"/>
                <a:gd name="T40" fmla="*/ 76 w 160"/>
                <a:gd name="T41" fmla="*/ 113 h 117"/>
                <a:gd name="T42" fmla="*/ 62 w 160"/>
                <a:gd name="T43" fmla="*/ 116 h 117"/>
                <a:gd name="T44" fmla="*/ 47 w 160"/>
                <a:gd name="T45" fmla="*/ 117 h 117"/>
                <a:gd name="T46" fmla="*/ 32 w 160"/>
                <a:gd name="T47" fmla="*/ 99 h 117"/>
                <a:gd name="T48" fmla="*/ 21 w 160"/>
                <a:gd name="T49" fmla="*/ 83 h 117"/>
                <a:gd name="T50" fmla="*/ 10 w 160"/>
                <a:gd name="T51" fmla="*/ 69 h 117"/>
                <a:gd name="T52" fmla="*/ 0 w 160"/>
                <a:gd name="T53" fmla="*/ 55 h 117"/>
                <a:gd name="T54" fmla="*/ 13 w 160"/>
                <a:gd name="T55" fmla="*/ 48 h 117"/>
                <a:gd name="T56" fmla="*/ 41 w 160"/>
                <a:gd name="T57" fmla="*/ 32 h 117"/>
                <a:gd name="T58" fmla="*/ 60 w 160"/>
                <a:gd name="T59" fmla="*/ 23 h 117"/>
                <a:gd name="T60" fmla="*/ 78 w 160"/>
                <a:gd name="T61" fmla="*/ 14 h 117"/>
                <a:gd name="T62" fmla="*/ 97 w 160"/>
                <a:gd name="T63" fmla="*/ 6 h 117"/>
                <a:gd name="T64" fmla="*/ 114 w 160"/>
                <a:gd name="T6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0" h="117">
                  <a:moveTo>
                    <a:pt x="114" y="0"/>
                  </a:moveTo>
                  <a:lnTo>
                    <a:pt x="114" y="9"/>
                  </a:lnTo>
                  <a:lnTo>
                    <a:pt x="114" y="18"/>
                  </a:lnTo>
                  <a:lnTo>
                    <a:pt x="115" y="25"/>
                  </a:lnTo>
                  <a:lnTo>
                    <a:pt x="117" y="32"/>
                  </a:lnTo>
                  <a:lnTo>
                    <a:pt x="119" y="34"/>
                  </a:lnTo>
                  <a:lnTo>
                    <a:pt x="121" y="37"/>
                  </a:lnTo>
                  <a:lnTo>
                    <a:pt x="123" y="38"/>
                  </a:lnTo>
                  <a:lnTo>
                    <a:pt x="127" y="39"/>
                  </a:lnTo>
                  <a:lnTo>
                    <a:pt x="131" y="40"/>
                  </a:lnTo>
                  <a:lnTo>
                    <a:pt x="135" y="39"/>
                  </a:lnTo>
                  <a:lnTo>
                    <a:pt x="140" y="38"/>
                  </a:lnTo>
                  <a:lnTo>
                    <a:pt x="146" y="36"/>
                  </a:lnTo>
                  <a:lnTo>
                    <a:pt x="149" y="43"/>
                  </a:lnTo>
                  <a:lnTo>
                    <a:pt x="153" y="52"/>
                  </a:lnTo>
                  <a:lnTo>
                    <a:pt x="157" y="64"/>
                  </a:lnTo>
                  <a:lnTo>
                    <a:pt x="160" y="74"/>
                  </a:lnTo>
                  <a:lnTo>
                    <a:pt x="133" y="88"/>
                  </a:lnTo>
                  <a:lnTo>
                    <a:pt x="106" y="102"/>
                  </a:lnTo>
                  <a:lnTo>
                    <a:pt x="92" y="107"/>
                  </a:lnTo>
                  <a:lnTo>
                    <a:pt x="76" y="113"/>
                  </a:lnTo>
                  <a:lnTo>
                    <a:pt x="62" y="116"/>
                  </a:lnTo>
                  <a:lnTo>
                    <a:pt x="47" y="117"/>
                  </a:lnTo>
                  <a:lnTo>
                    <a:pt x="32" y="99"/>
                  </a:lnTo>
                  <a:lnTo>
                    <a:pt x="21" y="83"/>
                  </a:lnTo>
                  <a:lnTo>
                    <a:pt x="10" y="69"/>
                  </a:lnTo>
                  <a:lnTo>
                    <a:pt x="0" y="55"/>
                  </a:lnTo>
                  <a:lnTo>
                    <a:pt x="13" y="48"/>
                  </a:lnTo>
                  <a:lnTo>
                    <a:pt x="41" y="32"/>
                  </a:lnTo>
                  <a:lnTo>
                    <a:pt x="60" y="23"/>
                  </a:lnTo>
                  <a:lnTo>
                    <a:pt x="78" y="14"/>
                  </a:lnTo>
                  <a:lnTo>
                    <a:pt x="97" y="6"/>
                  </a:lnTo>
                  <a:lnTo>
                    <a:pt x="1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874" name="Freeform 355"/>
            <p:cNvSpPr>
              <a:spLocks/>
            </p:cNvSpPr>
            <p:nvPr>
              <p:custDataLst>
                <p:tags r:id="rId259"/>
              </p:custDataLst>
            </p:nvPr>
          </p:nvSpPr>
          <p:spPr bwMode="auto">
            <a:xfrm>
              <a:off x="6674482" y="3605652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75" name="Freeform 356"/>
            <p:cNvSpPr>
              <a:spLocks/>
            </p:cNvSpPr>
            <p:nvPr>
              <p:custDataLst>
                <p:tags r:id="rId260"/>
              </p:custDataLst>
            </p:nvPr>
          </p:nvSpPr>
          <p:spPr bwMode="auto">
            <a:xfrm>
              <a:off x="7158669" y="3945377"/>
              <a:ext cx="244475" cy="431800"/>
            </a:xfrm>
            <a:custGeom>
              <a:avLst/>
              <a:gdLst>
                <a:gd name="T0" fmla="*/ 2147483647 w 556"/>
                <a:gd name="T1" fmla="*/ 2147483647 h 819"/>
                <a:gd name="T2" fmla="*/ 2147483647 w 556"/>
                <a:gd name="T3" fmla="*/ 2147483647 h 819"/>
                <a:gd name="T4" fmla="*/ 2147483647 w 556"/>
                <a:gd name="T5" fmla="*/ 2147483647 h 819"/>
                <a:gd name="T6" fmla="*/ 2147483647 w 556"/>
                <a:gd name="T7" fmla="*/ 2147483647 h 819"/>
                <a:gd name="T8" fmla="*/ 2147483647 w 556"/>
                <a:gd name="T9" fmla="*/ 2147483647 h 819"/>
                <a:gd name="T10" fmla="*/ 2147483647 w 556"/>
                <a:gd name="T11" fmla="*/ 2147483647 h 819"/>
                <a:gd name="T12" fmla="*/ 2147483647 w 556"/>
                <a:gd name="T13" fmla="*/ 2147483647 h 819"/>
                <a:gd name="T14" fmla="*/ 2147483647 w 556"/>
                <a:gd name="T15" fmla="*/ 2147483647 h 819"/>
                <a:gd name="T16" fmla="*/ 2147483647 w 556"/>
                <a:gd name="T17" fmla="*/ 2147483647 h 819"/>
                <a:gd name="T18" fmla="*/ 2147483647 w 556"/>
                <a:gd name="T19" fmla="*/ 2147483647 h 819"/>
                <a:gd name="T20" fmla="*/ 2147483647 w 556"/>
                <a:gd name="T21" fmla="*/ 2147483647 h 819"/>
                <a:gd name="T22" fmla="*/ 2147483647 w 556"/>
                <a:gd name="T23" fmla="*/ 2147483647 h 819"/>
                <a:gd name="T24" fmla="*/ 2147483647 w 556"/>
                <a:gd name="T25" fmla="*/ 2147483647 h 819"/>
                <a:gd name="T26" fmla="*/ 2147483647 w 556"/>
                <a:gd name="T27" fmla="*/ 2147483647 h 819"/>
                <a:gd name="T28" fmla="*/ 2147483647 w 556"/>
                <a:gd name="T29" fmla="*/ 2147483647 h 819"/>
                <a:gd name="T30" fmla="*/ 2147483647 w 556"/>
                <a:gd name="T31" fmla="*/ 2147483647 h 819"/>
                <a:gd name="T32" fmla="*/ 2147483647 w 556"/>
                <a:gd name="T33" fmla="*/ 2147483647 h 819"/>
                <a:gd name="T34" fmla="*/ 2147483647 w 556"/>
                <a:gd name="T35" fmla="*/ 2147483647 h 819"/>
                <a:gd name="T36" fmla="*/ 2147483647 w 556"/>
                <a:gd name="T37" fmla="*/ 2147483647 h 819"/>
                <a:gd name="T38" fmla="*/ 2147483647 w 556"/>
                <a:gd name="T39" fmla="*/ 2147483647 h 819"/>
                <a:gd name="T40" fmla="*/ 2147483647 w 556"/>
                <a:gd name="T41" fmla="*/ 2147483647 h 819"/>
                <a:gd name="T42" fmla="*/ 2147483647 w 556"/>
                <a:gd name="T43" fmla="*/ 2147483647 h 819"/>
                <a:gd name="T44" fmla="*/ 2147483647 w 556"/>
                <a:gd name="T45" fmla="*/ 2147483647 h 819"/>
                <a:gd name="T46" fmla="*/ 2147483647 w 556"/>
                <a:gd name="T47" fmla="*/ 2147483647 h 819"/>
                <a:gd name="T48" fmla="*/ 2147483647 w 556"/>
                <a:gd name="T49" fmla="*/ 2147483647 h 819"/>
                <a:gd name="T50" fmla="*/ 2147483647 w 556"/>
                <a:gd name="T51" fmla="*/ 2147483647 h 819"/>
                <a:gd name="T52" fmla="*/ 2147483647 w 556"/>
                <a:gd name="T53" fmla="*/ 2147483647 h 819"/>
                <a:gd name="T54" fmla="*/ 2147483647 w 556"/>
                <a:gd name="T55" fmla="*/ 2147483647 h 819"/>
                <a:gd name="T56" fmla="*/ 2147483647 w 556"/>
                <a:gd name="T57" fmla="*/ 2147483647 h 819"/>
                <a:gd name="T58" fmla="*/ 2147483647 w 556"/>
                <a:gd name="T59" fmla="*/ 2147483647 h 819"/>
                <a:gd name="T60" fmla="*/ 2147483647 w 556"/>
                <a:gd name="T61" fmla="*/ 2147483647 h 819"/>
                <a:gd name="T62" fmla="*/ 2147483647 w 556"/>
                <a:gd name="T63" fmla="*/ 2147483647 h 819"/>
                <a:gd name="T64" fmla="*/ 2147483647 w 556"/>
                <a:gd name="T65" fmla="*/ 2147483647 h 819"/>
                <a:gd name="T66" fmla="*/ 2147483647 w 556"/>
                <a:gd name="T67" fmla="*/ 2147483647 h 819"/>
                <a:gd name="T68" fmla="*/ 2147483647 w 556"/>
                <a:gd name="T69" fmla="*/ 2147483647 h 819"/>
                <a:gd name="T70" fmla="*/ 2147483647 w 556"/>
                <a:gd name="T71" fmla="*/ 2147483647 h 819"/>
                <a:gd name="T72" fmla="*/ 2147483647 w 556"/>
                <a:gd name="T73" fmla="*/ 2147483647 h 819"/>
                <a:gd name="T74" fmla="*/ 2147483647 w 556"/>
                <a:gd name="T75" fmla="*/ 2147483647 h 819"/>
                <a:gd name="T76" fmla="*/ 2147483647 w 556"/>
                <a:gd name="T77" fmla="*/ 2147483647 h 819"/>
                <a:gd name="T78" fmla="*/ 2147483647 w 556"/>
                <a:gd name="T79" fmla="*/ 2147483647 h 819"/>
                <a:gd name="T80" fmla="*/ 2147483647 w 556"/>
                <a:gd name="T81" fmla="*/ 2147483647 h 819"/>
                <a:gd name="T82" fmla="*/ 2147483647 w 556"/>
                <a:gd name="T83" fmla="*/ 2147483647 h 819"/>
                <a:gd name="T84" fmla="*/ 2147483647 w 556"/>
                <a:gd name="T85" fmla="*/ 2147483647 h 819"/>
                <a:gd name="T86" fmla="*/ 2147483647 w 556"/>
                <a:gd name="T87" fmla="*/ 2147483647 h 819"/>
                <a:gd name="T88" fmla="*/ 2147483647 w 556"/>
                <a:gd name="T89" fmla="*/ 2147483647 h 819"/>
                <a:gd name="T90" fmla="*/ 2147483647 w 556"/>
                <a:gd name="T91" fmla="*/ 2147483647 h 819"/>
                <a:gd name="T92" fmla="*/ 2147483647 w 556"/>
                <a:gd name="T93" fmla="*/ 2147483647 h 819"/>
                <a:gd name="T94" fmla="*/ 2147483647 w 556"/>
                <a:gd name="T95" fmla="*/ 2147483647 h 819"/>
                <a:gd name="T96" fmla="*/ 2147483647 w 556"/>
                <a:gd name="T97" fmla="*/ 2147483647 h 819"/>
                <a:gd name="T98" fmla="*/ 2147483647 w 556"/>
                <a:gd name="T99" fmla="*/ 2147483647 h 819"/>
                <a:gd name="T100" fmla="*/ 2147483647 w 556"/>
                <a:gd name="T101" fmla="*/ 2147483647 h 819"/>
                <a:gd name="T102" fmla="*/ 2147483647 w 556"/>
                <a:gd name="T103" fmla="*/ 2147483647 h 819"/>
                <a:gd name="T104" fmla="*/ 2147483647 w 556"/>
                <a:gd name="T105" fmla="*/ 2147483647 h 819"/>
                <a:gd name="T106" fmla="*/ 2147483647 w 556"/>
                <a:gd name="T107" fmla="*/ 2147483647 h 819"/>
                <a:gd name="T108" fmla="*/ 2147483647 w 556"/>
                <a:gd name="T109" fmla="*/ 2147483647 h 819"/>
                <a:gd name="T110" fmla="*/ 2147483647 w 556"/>
                <a:gd name="T111" fmla="*/ 2147483647 h 819"/>
                <a:gd name="T112" fmla="*/ 2147483647 w 556"/>
                <a:gd name="T113" fmla="*/ 2147483647 h 819"/>
                <a:gd name="T114" fmla="*/ 2147483647 w 556"/>
                <a:gd name="T115" fmla="*/ 2147483647 h 8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556" h="819">
                  <a:moveTo>
                    <a:pt x="84" y="68"/>
                  </a:moveTo>
                  <a:lnTo>
                    <a:pt x="90" y="66"/>
                  </a:lnTo>
                  <a:lnTo>
                    <a:pt x="98" y="62"/>
                  </a:lnTo>
                  <a:lnTo>
                    <a:pt x="103" y="59"/>
                  </a:lnTo>
                  <a:lnTo>
                    <a:pt x="108" y="58"/>
                  </a:lnTo>
                  <a:lnTo>
                    <a:pt x="112" y="56"/>
                  </a:lnTo>
                  <a:lnTo>
                    <a:pt x="118" y="56"/>
                  </a:lnTo>
                  <a:lnTo>
                    <a:pt x="122" y="62"/>
                  </a:lnTo>
                  <a:lnTo>
                    <a:pt x="129" y="69"/>
                  </a:lnTo>
                  <a:lnTo>
                    <a:pt x="134" y="75"/>
                  </a:lnTo>
                  <a:lnTo>
                    <a:pt x="141" y="81"/>
                  </a:lnTo>
                  <a:lnTo>
                    <a:pt x="149" y="85"/>
                  </a:lnTo>
                  <a:lnTo>
                    <a:pt x="155" y="89"/>
                  </a:lnTo>
                  <a:lnTo>
                    <a:pt x="163" y="91"/>
                  </a:lnTo>
                  <a:lnTo>
                    <a:pt x="171" y="92"/>
                  </a:lnTo>
                  <a:lnTo>
                    <a:pt x="186" y="91"/>
                  </a:lnTo>
                  <a:lnTo>
                    <a:pt x="200" y="90"/>
                  </a:lnTo>
                  <a:lnTo>
                    <a:pt x="215" y="88"/>
                  </a:lnTo>
                  <a:lnTo>
                    <a:pt x="230" y="86"/>
                  </a:lnTo>
                  <a:lnTo>
                    <a:pt x="244" y="84"/>
                  </a:lnTo>
                  <a:lnTo>
                    <a:pt x="257" y="82"/>
                  </a:lnTo>
                  <a:lnTo>
                    <a:pt x="271" y="80"/>
                  </a:lnTo>
                  <a:lnTo>
                    <a:pt x="284" y="80"/>
                  </a:lnTo>
                  <a:lnTo>
                    <a:pt x="291" y="79"/>
                  </a:lnTo>
                  <a:lnTo>
                    <a:pt x="297" y="78"/>
                  </a:lnTo>
                  <a:lnTo>
                    <a:pt x="300" y="76"/>
                  </a:lnTo>
                  <a:lnTo>
                    <a:pt x="301" y="74"/>
                  </a:lnTo>
                  <a:lnTo>
                    <a:pt x="301" y="72"/>
                  </a:lnTo>
                  <a:lnTo>
                    <a:pt x="301" y="70"/>
                  </a:lnTo>
                  <a:lnTo>
                    <a:pt x="301" y="68"/>
                  </a:lnTo>
                  <a:lnTo>
                    <a:pt x="303" y="68"/>
                  </a:lnTo>
                  <a:lnTo>
                    <a:pt x="327" y="67"/>
                  </a:lnTo>
                  <a:lnTo>
                    <a:pt x="355" y="63"/>
                  </a:lnTo>
                  <a:lnTo>
                    <a:pt x="386" y="58"/>
                  </a:lnTo>
                  <a:lnTo>
                    <a:pt x="418" y="50"/>
                  </a:lnTo>
                  <a:lnTo>
                    <a:pt x="434" y="45"/>
                  </a:lnTo>
                  <a:lnTo>
                    <a:pt x="450" y="40"/>
                  </a:lnTo>
                  <a:lnTo>
                    <a:pt x="465" y="34"/>
                  </a:lnTo>
                  <a:lnTo>
                    <a:pt x="479" y="28"/>
                  </a:lnTo>
                  <a:lnTo>
                    <a:pt x="492" y="22"/>
                  </a:lnTo>
                  <a:lnTo>
                    <a:pt x="504" y="15"/>
                  </a:lnTo>
                  <a:lnTo>
                    <a:pt x="514" y="8"/>
                  </a:lnTo>
                  <a:lnTo>
                    <a:pt x="523" y="0"/>
                  </a:lnTo>
                  <a:lnTo>
                    <a:pt x="536" y="17"/>
                  </a:lnTo>
                  <a:lnTo>
                    <a:pt x="547" y="31"/>
                  </a:lnTo>
                  <a:lnTo>
                    <a:pt x="551" y="39"/>
                  </a:lnTo>
                  <a:lnTo>
                    <a:pt x="554" y="48"/>
                  </a:lnTo>
                  <a:lnTo>
                    <a:pt x="555" y="57"/>
                  </a:lnTo>
                  <a:lnTo>
                    <a:pt x="556" y="68"/>
                  </a:lnTo>
                  <a:lnTo>
                    <a:pt x="555" y="90"/>
                  </a:lnTo>
                  <a:lnTo>
                    <a:pt x="552" y="113"/>
                  </a:lnTo>
                  <a:lnTo>
                    <a:pt x="546" y="133"/>
                  </a:lnTo>
                  <a:lnTo>
                    <a:pt x="540" y="153"/>
                  </a:lnTo>
                  <a:lnTo>
                    <a:pt x="532" y="174"/>
                  </a:lnTo>
                  <a:lnTo>
                    <a:pt x="523" y="193"/>
                  </a:lnTo>
                  <a:lnTo>
                    <a:pt x="512" y="212"/>
                  </a:lnTo>
                  <a:lnTo>
                    <a:pt x="502" y="231"/>
                  </a:lnTo>
                  <a:lnTo>
                    <a:pt x="479" y="267"/>
                  </a:lnTo>
                  <a:lnTo>
                    <a:pt x="458" y="303"/>
                  </a:lnTo>
                  <a:lnTo>
                    <a:pt x="447" y="321"/>
                  </a:lnTo>
                  <a:lnTo>
                    <a:pt x="439" y="339"/>
                  </a:lnTo>
                  <a:lnTo>
                    <a:pt x="430" y="357"/>
                  </a:lnTo>
                  <a:lnTo>
                    <a:pt x="423" y="375"/>
                  </a:lnTo>
                  <a:lnTo>
                    <a:pt x="419" y="390"/>
                  </a:lnTo>
                  <a:lnTo>
                    <a:pt x="414" y="403"/>
                  </a:lnTo>
                  <a:lnTo>
                    <a:pt x="410" y="415"/>
                  </a:lnTo>
                  <a:lnTo>
                    <a:pt x="404" y="427"/>
                  </a:lnTo>
                  <a:lnTo>
                    <a:pt x="392" y="452"/>
                  </a:lnTo>
                  <a:lnTo>
                    <a:pt x="379" y="473"/>
                  </a:lnTo>
                  <a:lnTo>
                    <a:pt x="364" y="495"/>
                  </a:lnTo>
                  <a:lnTo>
                    <a:pt x="347" y="514"/>
                  </a:lnTo>
                  <a:lnTo>
                    <a:pt x="330" y="531"/>
                  </a:lnTo>
                  <a:lnTo>
                    <a:pt x="310" y="549"/>
                  </a:lnTo>
                  <a:lnTo>
                    <a:pt x="300" y="558"/>
                  </a:lnTo>
                  <a:lnTo>
                    <a:pt x="288" y="566"/>
                  </a:lnTo>
                  <a:lnTo>
                    <a:pt x="277" y="575"/>
                  </a:lnTo>
                  <a:lnTo>
                    <a:pt x="264" y="583"/>
                  </a:lnTo>
                  <a:lnTo>
                    <a:pt x="239" y="600"/>
                  </a:lnTo>
                  <a:lnTo>
                    <a:pt x="213" y="617"/>
                  </a:lnTo>
                  <a:lnTo>
                    <a:pt x="189" y="634"/>
                  </a:lnTo>
                  <a:lnTo>
                    <a:pt x="168" y="651"/>
                  </a:lnTo>
                  <a:lnTo>
                    <a:pt x="159" y="661"/>
                  </a:lnTo>
                  <a:lnTo>
                    <a:pt x="150" y="670"/>
                  </a:lnTo>
                  <a:lnTo>
                    <a:pt x="143" y="680"/>
                  </a:lnTo>
                  <a:lnTo>
                    <a:pt x="138" y="690"/>
                  </a:lnTo>
                  <a:lnTo>
                    <a:pt x="134" y="695"/>
                  </a:lnTo>
                  <a:lnTo>
                    <a:pt x="131" y="700"/>
                  </a:lnTo>
                  <a:lnTo>
                    <a:pt x="128" y="705"/>
                  </a:lnTo>
                  <a:lnTo>
                    <a:pt x="125" y="709"/>
                  </a:lnTo>
                  <a:lnTo>
                    <a:pt x="116" y="717"/>
                  </a:lnTo>
                  <a:lnTo>
                    <a:pt x="107" y="723"/>
                  </a:lnTo>
                  <a:lnTo>
                    <a:pt x="88" y="733"/>
                  </a:lnTo>
                  <a:lnTo>
                    <a:pt x="71" y="745"/>
                  </a:lnTo>
                  <a:lnTo>
                    <a:pt x="52" y="763"/>
                  </a:lnTo>
                  <a:lnTo>
                    <a:pt x="36" y="783"/>
                  </a:lnTo>
                  <a:lnTo>
                    <a:pt x="19" y="801"/>
                  </a:lnTo>
                  <a:lnTo>
                    <a:pt x="5" y="819"/>
                  </a:lnTo>
                  <a:lnTo>
                    <a:pt x="5" y="567"/>
                  </a:lnTo>
                  <a:lnTo>
                    <a:pt x="2" y="564"/>
                  </a:lnTo>
                  <a:lnTo>
                    <a:pt x="0" y="560"/>
                  </a:lnTo>
                  <a:lnTo>
                    <a:pt x="0" y="557"/>
                  </a:lnTo>
                  <a:lnTo>
                    <a:pt x="3" y="554"/>
                  </a:lnTo>
                  <a:lnTo>
                    <a:pt x="8" y="547"/>
                  </a:lnTo>
                  <a:lnTo>
                    <a:pt x="17" y="540"/>
                  </a:lnTo>
                  <a:lnTo>
                    <a:pt x="27" y="533"/>
                  </a:lnTo>
                  <a:lnTo>
                    <a:pt x="36" y="525"/>
                  </a:lnTo>
                  <a:lnTo>
                    <a:pt x="39" y="521"/>
                  </a:lnTo>
                  <a:lnTo>
                    <a:pt x="42" y="516"/>
                  </a:lnTo>
                  <a:lnTo>
                    <a:pt x="43" y="511"/>
                  </a:lnTo>
                  <a:lnTo>
                    <a:pt x="44" y="505"/>
                  </a:lnTo>
                  <a:lnTo>
                    <a:pt x="60" y="497"/>
                  </a:lnTo>
                  <a:lnTo>
                    <a:pt x="75" y="490"/>
                  </a:lnTo>
                  <a:lnTo>
                    <a:pt x="92" y="485"/>
                  </a:lnTo>
                  <a:lnTo>
                    <a:pt x="111" y="480"/>
                  </a:lnTo>
                  <a:lnTo>
                    <a:pt x="114" y="479"/>
                  </a:lnTo>
                  <a:lnTo>
                    <a:pt x="116" y="475"/>
                  </a:lnTo>
                  <a:lnTo>
                    <a:pt x="119" y="470"/>
                  </a:lnTo>
                  <a:lnTo>
                    <a:pt x="121" y="464"/>
                  </a:lnTo>
                  <a:lnTo>
                    <a:pt x="125" y="458"/>
                  </a:lnTo>
                  <a:lnTo>
                    <a:pt x="129" y="452"/>
                  </a:lnTo>
                  <a:lnTo>
                    <a:pt x="132" y="447"/>
                  </a:lnTo>
                  <a:lnTo>
                    <a:pt x="138" y="444"/>
                  </a:lnTo>
                  <a:lnTo>
                    <a:pt x="152" y="440"/>
                  </a:lnTo>
                  <a:lnTo>
                    <a:pt x="162" y="439"/>
                  </a:lnTo>
                  <a:lnTo>
                    <a:pt x="168" y="438"/>
                  </a:lnTo>
                  <a:lnTo>
                    <a:pt x="174" y="439"/>
                  </a:lnTo>
                  <a:lnTo>
                    <a:pt x="179" y="439"/>
                  </a:lnTo>
                  <a:lnTo>
                    <a:pt x="186" y="440"/>
                  </a:lnTo>
                  <a:lnTo>
                    <a:pt x="196" y="439"/>
                  </a:lnTo>
                  <a:lnTo>
                    <a:pt x="210" y="438"/>
                  </a:lnTo>
                  <a:lnTo>
                    <a:pt x="220" y="434"/>
                  </a:lnTo>
                  <a:lnTo>
                    <a:pt x="228" y="429"/>
                  </a:lnTo>
                  <a:lnTo>
                    <a:pt x="235" y="424"/>
                  </a:lnTo>
                  <a:lnTo>
                    <a:pt x="241" y="418"/>
                  </a:lnTo>
                  <a:lnTo>
                    <a:pt x="251" y="405"/>
                  </a:lnTo>
                  <a:lnTo>
                    <a:pt x="257" y="394"/>
                  </a:lnTo>
                  <a:lnTo>
                    <a:pt x="261" y="387"/>
                  </a:lnTo>
                  <a:lnTo>
                    <a:pt x="265" y="379"/>
                  </a:lnTo>
                  <a:lnTo>
                    <a:pt x="272" y="371"/>
                  </a:lnTo>
                  <a:lnTo>
                    <a:pt x="278" y="363"/>
                  </a:lnTo>
                  <a:lnTo>
                    <a:pt x="296" y="347"/>
                  </a:lnTo>
                  <a:lnTo>
                    <a:pt x="316" y="329"/>
                  </a:lnTo>
                  <a:lnTo>
                    <a:pt x="335" y="310"/>
                  </a:lnTo>
                  <a:lnTo>
                    <a:pt x="354" y="293"/>
                  </a:lnTo>
                  <a:lnTo>
                    <a:pt x="363" y="284"/>
                  </a:lnTo>
                  <a:lnTo>
                    <a:pt x="370" y="276"/>
                  </a:lnTo>
                  <a:lnTo>
                    <a:pt x="377" y="266"/>
                  </a:lnTo>
                  <a:lnTo>
                    <a:pt x="384" y="258"/>
                  </a:lnTo>
                  <a:lnTo>
                    <a:pt x="351" y="252"/>
                  </a:lnTo>
                  <a:lnTo>
                    <a:pt x="324" y="246"/>
                  </a:lnTo>
                  <a:lnTo>
                    <a:pt x="300" y="240"/>
                  </a:lnTo>
                  <a:lnTo>
                    <a:pt x="278" y="234"/>
                  </a:lnTo>
                  <a:lnTo>
                    <a:pt x="257" y="228"/>
                  </a:lnTo>
                  <a:lnTo>
                    <a:pt x="235" y="223"/>
                  </a:lnTo>
                  <a:lnTo>
                    <a:pt x="211" y="216"/>
                  </a:lnTo>
                  <a:lnTo>
                    <a:pt x="184" y="209"/>
                  </a:lnTo>
                  <a:lnTo>
                    <a:pt x="177" y="205"/>
                  </a:lnTo>
                  <a:lnTo>
                    <a:pt x="165" y="198"/>
                  </a:lnTo>
                  <a:lnTo>
                    <a:pt x="149" y="187"/>
                  </a:lnTo>
                  <a:lnTo>
                    <a:pt x="131" y="173"/>
                  </a:lnTo>
                  <a:lnTo>
                    <a:pt x="121" y="164"/>
                  </a:lnTo>
                  <a:lnTo>
                    <a:pt x="112" y="154"/>
                  </a:lnTo>
                  <a:lnTo>
                    <a:pt x="104" y="144"/>
                  </a:lnTo>
                  <a:lnTo>
                    <a:pt x="96" y="133"/>
                  </a:lnTo>
                  <a:lnTo>
                    <a:pt x="89" y="121"/>
                  </a:lnTo>
                  <a:lnTo>
                    <a:pt x="84" y="109"/>
                  </a:lnTo>
                  <a:lnTo>
                    <a:pt x="79" y="94"/>
                  </a:lnTo>
                  <a:lnTo>
                    <a:pt x="77" y="80"/>
                  </a:lnTo>
                  <a:lnTo>
                    <a:pt x="69" y="86"/>
                  </a:lnTo>
                  <a:lnTo>
                    <a:pt x="64" y="88"/>
                  </a:lnTo>
                  <a:lnTo>
                    <a:pt x="65" y="87"/>
                  </a:lnTo>
                  <a:lnTo>
                    <a:pt x="69" y="83"/>
                  </a:lnTo>
                  <a:lnTo>
                    <a:pt x="78" y="73"/>
                  </a:lnTo>
                  <a:lnTo>
                    <a:pt x="84" y="6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76" name="Freeform 357"/>
            <p:cNvSpPr>
              <a:spLocks/>
            </p:cNvSpPr>
            <p:nvPr>
              <p:custDataLst>
                <p:tags r:id="rId261"/>
              </p:custDataLst>
            </p:nvPr>
          </p:nvSpPr>
          <p:spPr bwMode="auto">
            <a:xfrm>
              <a:off x="7166607" y="3932677"/>
              <a:ext cx="38100" cy="58737"/>
            </a:xfrm>
            <a:custGeom>
              <a:avLst/>
              <a:gdLst>
                <a:gd name="T0" fmla="*/ 2147483647 w 86"/>
                <a:gd name="T1" fmla="*/ 0 h 97"/>
                <a:gd name="T2" fmla="*/ 2147483647 w 86"/>
                <a:gd name="T3" fmla="*/ 2147483647 h 97"/>
                <a:gd name="T4" fmla="*/ 2147483647 w 86"/>
                <a:gd name="T5" fmla="*/ 2147483647 h 97"/>
                <a:gd name="T6" fmla="*/ 2147483647 w 86"/>
                <a:gd name="T7" fmla="*/ 2147483647 h 97"/>
                <a:gd name="T8" fmla="*/ 2147483647 w 86"/>
                <a:gd name="T9" fmla="*/ 2147483647 h 97"/>
                <a:gd name="T10" fmla="*/ 2147483647 w 86"/>
                <a:gd name="T11" fmla="*/ 2147483647 h 97"/>
                <a:gd name="T12" fmla="*/ 2147483647 w 86"/>
                <a:gd name="T13" fmla="*/ 2147483647 h 97"/>
                <a:gd name="T14" fmla="*/ 2147483647 w 86"/>
                <a:gd name="T15" fmla="*/ 2147483647 h 97"/>
                <a:gd name="T16" fmla="*/ 2147483647 w 86"/>
                <a:gd name="T17" fmla="*/ 2147483647 h 97"/>
                <a:gd name="T18" fmla="*/ 2147483647 w 86"/>
                <a:gd name="T19" fmla="*/ 2147483647 h 97"/>
                <a:gd name="T20" fmla="*/ 2147483647 w 86"/>
                <a:gd name="T21" fmla="*/ 2147483647 h 97"/>
                <a:gd name="T22" fmla="*/ 2147483647 w 86"/>
                <a:gd name="T23" fmla="*/ 2147483647 h 97"/>
                <a:gd name="T24" fmla="*/ 2147483647 w 86"/>
                <a:gd name="T25" fmla="*/ 2147483647 h 97"/>
                <a:gd name="T26" fmla="*/ 2147483647 w 86"/>
                <a:gd name="T27" fmla="*/ 2147483647 h 97"/>
                <a:gd name="T28" fmla="*/ 2147483647 w 86"/>
                <a:gd name="T29" fmla="*/ 2147483647 h 97"/>
                <a:gd name="T30" fmla="*/ 0 w 86"/>
                <a:gd name="T31" fmla="*/ 2147483647 h 97"/>
                <a:gd name="T32" fmla="*/ 0 w 86"/>
                <a:gd name="T33" fmla="*/ 2147483647 h 97"/>
                <a:gd name="T34" fmla="*/ 0 w 86"/>
                <a:gd name="T35" fmla="*/ 2147483647 h 97"/>
                <a:gd name="T36" fmla="*/ 2147483647 w 86"/>
                <a:gd name="T37" fmla="*/ 2147483647 h 97"/>
                <a:gd name="T38" fmla="*/ 2147483647 w 86"/>
                <a:gd name="T39" fmla="*/ 2147483647 h 97"/>
                <a:gd name="T40" fmla="*/ 2147483647 w 86"/>
                <a:gd name="T41" fmla="*/ 2147483647 h 97"/>
                <a:gd name="T42" fmla="*/ 2147483647 w 86"/>
                <a:gd name="T43" fmla="*/ 2147483647 h 97"/>
                <a:gd name="T44" fmla="*/ 2147483647 w 86"/>
                <a:gd name="T45" fmla="*/ 2147483647 h 97"/>
                <a:gd name="T46" fmla="*/ 2147483647 w 86"/>
                <a:gd name="T47" fmla="*/ 2147483647 h 97"/>
                <a:gd name="T48" fmla="*/ 2147483647 w 86"/>
                <a:gd name="T49" fmla="*/ 2147483647 h 97"/>
                <a:gd name="T50" fmla="*/ 2147483647 w 86"/>
                <a:gd name="T51" fmla="*/ 2147483647 h 97"/>
                <a:gd name="T52" fmla="*/ 2147483647 w 86"/>
                <a:gd name="T53" fmla="*/ 2147483647 h 97"/>
                <a:gd name="T54" fmla="*/ 2147483647 w 86"/>
                <a:gd name="T55" fmla="*/ 2147483647 h 97"/>
                <a:gd name="T56" fmla="*/ 2147483647 w 86"/>
                <a:gd name="T57" fmla="*/ 0 h 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86" h="97">
                  <a:moveTo>
                    <a:pt x="59" y="0"/>
                  </a:moveTo>
                  <a:lnTo>
                    <a:pt x="56" y="2"/>
                  </a:lnTo>
                  <a:lnTo>
                    <a:pt x="52" y="3"/>
                  </a:lnTo>
                  <a:lnTo>
                    <a:pt x="46" y="3"/>
                  </a:lnTo>
                  <a:lnTo>
                    <a:pt x="40" y="3"/>
                  </a:lnTo>
                  <a:lnTo>
                    <a:pt x="33" y="3"/>
                  </a:lnTo>
                  <a:lnTo>
                    <a:pt x="27" y="3"/>
                  </a:lnTo>
                  <a:lnTo>
                    <a:pt x="23" y="4"/>
                  </a:lnTo>
                  <a:lnTo>
                    <a:pt x="20" y="6"/>
                  </a:lnTo>
                  <a:lnTo>
                    <a:pt x="16" y="9"/>
                  </a:lnTo>
                  <a:lnTo>
                    <a:pt x="13" y="12"/>
                  </a:lnTo>
                  <a:lnTo>
                    <a:pt x="11" y="15"/>
                  </a:lnTo>
                  <a:lnTo>
                    <a:pt x="8" y="20"/>
                  </a:lnTo>
                  <a:lnTo>
                    <a:pt x="4" y="29"/>
                  </a:lnTo>
                  <a:lnTo>
                    <a:pt x="2" y="38"/>
                  </a:lnTo>
                  <a:lnTo>
                    <a:pt x="0" y="57"/>
                  </a:lnTo>
                  <a:lnTo>
                    <a:pt x="0" y="75"/>
                  </a:lnTo>
                  <a:lnTo>
                    <a:pt x="0" y="81"/>
                  </a:lnTo>
                  <a:lnTo>
                    <a:pt x="1" y="86"/>
                  </a:lnTo>
                  <a:lnTo>
                    <a:pt x="3" y="90"/>
                  </a:lnTo>
                  <a:lnTo>
                    <a:pt x="7" y="93"/>
                  </a:lnTo>
                  <a:lnTo>
                    <a:pt x="10" y="95"/>
                  </a:lnTo>
                  <a:lnTo>
                    <a:pt x="13" y="96"/>
                  </a:lnTo>
                  <a:lnTo>
                    <a:pt x="18" y="97"/>
                  </a:lnTo>
                  <a:lnTo>
                    <a:pt x="21" y="97"/>
                  </a:lnTo>
                  <a:lnTo>
                    <a:pt x="40" y="95"/>
                  </a:lnTo>
                  <a:lnTo>
                    <a:pt x="53" y="93"/>
                  </a:lnTo>
                  <a:lnTo>
                    <a:pt x="86" y="68"/>
                  </a:lnTo>
                  <a:lnTo>
                    <a:pt x="5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77" name="Freeform 358"/>
            <p:cNvSpPr>
              <a:spLocks/>
            </p:cNvSpPr>
            <p:nvPr>
              <p:custDataLst>
                <p:tags r:id="rId262"/>
              </p:custDataLst>
            </p:nvPr>
          </p:nvSpPr>
          <p:spPr bwMode="auto">
            <a:xfrm>
              <a:off x="6964994" y="3843777"/>
              <a:ext cx="363538" cy="376237"/>
            </a:xfrm>
            <a:custGeom>
              <a:avLst/>
              <a:gdLst>
                <a:gd name="T0" fmla="*/ 2147483647 w 845"/>
                <a:gd name="T1" fmla="*/ 2147483647 h 720"/>
                <a:gd name="T2" fmla="*/ 2147483647 w 845"/>
                <a:gd name="T3" fmla="*/ 2147483647 h 720"/>
                <a:gd name="T4" fmla="*/ 2147483647 w 845"/>
                <a:gd name="T5" fmla="*/ 0 h 720"/>
                <a:gd name="T6" fmla="*/ 2147483647 w 845"/>
                <a:gd name="T7" fmla="*/ 2147483647 h 720"/>
                <a:gd name="T8" fmla="*/ 2147483647 w 845"/>
                <a:gd name="T9" fmla="*/ 2147483647 h 720"/>
                <a:gd name="T10" fmla="*/ 2147483647 w 845"/>
                <a:gd name="T11" fmla="*/ 2147483647 h 720"/>
                <a:gd name="T12" fmla="*/ 2147483647 w 845"/>
                <a:gd name="T13" fmla="*/ 2147483647 h 720"/>
                <a:gd name="T14" fmla="*/ 2147483647 w 845"/>
                <a:gd name="T15" fmla="*/ 2147483647 h 720"/>
                <a:gd name="T16" fmla="*/ 2147483647 w 845"/>
                <a:gd name="T17" fmla="*/ 2147483647 h 720"/>
                <a:gd name="T18" fmla="*/ 2147483647 w 845"/>
                <a:gd name="T19" fmla="*/ 2147483647 h 720"/>
                <a:gd name="T20" fmla="*/ 2147483647 w 845"/>
                <a:gd name="T21" fmla="*/ 2147483647 h 720"/>
                <a:gd name="T22" fmla="*/ 2147483647 w 845"/>
                <a:gd name="T23" fmla="*/ 2147483647 h 720"/>
                <a:gd name="T24" fmla="*/ 2147483647 w 845"/>
                <a:gd name="T25" fmla="*/ 2147483647 h 720"/>
                <a:gd name="T26" fmla="*/ 2147483647 w 845"/>
                <a:gd name="T27" fmla="*/ 2147483647 h 720"/>
                <a:gd name="T28" fmla="*/ 2147483647 w 845"/>
                <a:gd name="T29" fmla="*/ 2147483647 h 720"/>
                <a:gd name="T30" fmla="*/ 2147483647 w 845"/>
                <a:gd name="T31" fmla="*/ 2147483647 h 720"/>
                <a:gd name="T32" fmla="*/ 2147483647 w 845"/>
                <a:gd name="T33" fmla="*/ 2147483647 h 720"/>
                <a:gd name="T34" fmla="*/ 2147483647 w 845"/>
                <a:gd name="T35" fmla="*/ 2147483647 h 720"/>
                <a:gd name="T36" fmla="*/ 2147483647 w 845"/>
                <a:gd name="T37" fmla="*/ 2147483647 h 720"/>
                <a:gd name="T38" fmla="*/ 2147483647 w 845"/>
                <a:gd name="T39" fmla="*/ 2147483647 h 720"/>
                <a:gd name="T40" fmla="*/ 2147483647 w 845"/>
                <a:gd name="T41" fmla="*/ 2147483647 h 720"/>
                <a:gd name="T42" fmla="*/ 2147483647 w 845"/>
                <a:gd name="T43" fmla="*/ 2147483647 h 720"/>
                <a:gd name="T44" fmla="*/ 2147483647 w 845"/>
                <a:gd name="T45" fmla="*/ 2147483647 h 720"/>
                <a:gd name="T46" fmla="*/ 2147483647 w 845"/>
                <a:gd name="T47" fmla="*/ 2147483647 h 720"/>
                <a:gd name="T48" fmla="*/ 2147483647 w 845"/>
                <a:gd name="T49" fmla="*/ 2147483647 h 720"/>
                <a:gd name="T50" fmla="*/ 2147483647 w 845"/>
                <a:gd name="T51" fmla="*/ 2147483647 h 720"/>
                <a:gd name="T52" fmla="*/ 2147483647 w 845"/>
                <a:gd name="T53" fmla="*/ 2147483647 h 720"/>
                <a:gd name="T54" fmla="*/ 2147483647 w 845"/>
                <a:gd name="T55" fmla="*/ 2147483647 h 720"/>
                <a:gd name="T56" fmla="*/ 2147483647 w 845"/>
                <a:gd name="T57" fmla="*/ 2147483647 h 720"/>
                <a:gd name="T58" fmla="*/ 2147483647 w 845"/>
                <a:gd name="T59" fmla="*/ 2147483647 h 720"/>
                <a:gd name="T60" fmla="*/ 2147483647 w 845"/>
                <a:gd name="T61" fmla="*/ 2147483647 h 720"/>
                <a:gd name="T62" fmla="*/ 2147483647 w 845"/>
                <a:gd name="T63" fmla="*/ 2147483647 h 720"/>
                <a:gd name="T64" fmla="*/ 2147483647 w 845"/>
                <a:gd name="T65" fmla="*/ 2147483647 h 720"/>
                <a:gd name="T66" fmla="*/ 2147483647 w 845"/>
                <a:gd name="T67" fmla="*/ 2147483647 h 720"/>
                <a:gd name="T68" fmla="*/ 2147483647 w 845"/>
                <a:gd name="T69" fmla="*/ 2147483647 h 720"/>
                <a:gd name="T70" fmla="*/ 2147483647 w 845"/>
                <a:gd name="T71" fmla="*/ 2147483647 h 720"/>
                <a:gd name="T72" fmla="*/ 2147483647 w 845"/>
                <a:gd name="T73" fmla="*/ 2147483647 h 720"/>
                <a:gd name="T74" fmla="*/ 2147483647 w 845"/>
                <a:gd name="T75" fmla="*/ 2147483647 h 720"/>
                <a:gd name="T76" fmla="*/ 2147483647 w 845"/>
                <a:gd name="T77" fmla="*/ 2147483647 h 720"/>
                <a:gd name="T78" fmla="*/ 2147483647 w 845"/>
                <a:gd name="T79" fmla="*/ 2147483647 h 720"/>
                <a:gd name="T80" fmla="*/ 2147483647 w 845"/>
                <a:gd name="T81" fmla="*/ 2147483647 h 720"/>
                <a:gd name="T82" fmla="*/ 2147483647 w 845"/>
                <a:gd name="T83" fmla="*/ 2147483647 h 720"/>
                <a:gd name="T84" fmla="*/ 2147483647 w 845"/>
                <a:gd name="T85" fmla="*/ 2147483647 h 720"/>
                <a:gd name="T86" fmla="*/ 2147483647 w 845"/>
                <a:gd name="T87" fmla="*/ 2147483647 h 720"/>
                <a:gd name="T88" fmla="*/ 2147483647 w 845"/>
                <a:gd name="T89" fmla="*/ 2147483647 h 720"/>
                <a:gd name="T90" fmla="*/ 2147483647 w 845"/>
                <a:gd name="T91" fmla="*/ 2147483647 h 720"/>
                <a:gd name="T92" fmla="*/ 2147483647 w 845"/>
                <a:gd name="T93" fmla="*/ 2147483647 h 720"/>
                <a:gd name="T94" fmla="*/ 2147483647 w 845"/>
                <a:gd name="T95" fmla="*/ 2147483647 h 720"/>
                <a:gd name="T96" fmla="*/ 2147483647 w 845"/>
                <a:gd name="T97" fmla="*/ 2147483647 h 720"/>
                <a:gd name="T98" fmla="*/ 2147483647 w 845"/>
                <a:gd name="T99" fmla="*/ 2147483647 h 720"/>
                <a:gd name="T100" fmla="*/ 2147483647 w 845"/>
                <a:gd name="T101" fmla="*/ 2147483647 h 720"/>
                <a:gd name="T102" fmla="*/ 2147483647 w 845"/>
                <a:gd name="T103" fmla="*/ 2147483647 h 720"/>
                <a:gd name="T104" fmla="*/ 2147483647 w 845"/>
                <a:gd name="T105" fmla="*/ 2147483647 h 720"/>
                <a:gd name="T106" fmla="*/ 2147483647 w 845"/>
                <a:gd name="T107" fmla="*/ 2147483647 h 720"/>
                <a:gd name="T108" fmla="*/ 2147483647 w 845"/>
                <a:gd name="T109" fmla="*/ 2147483647 h 720"/>
                <a:gd name="T110" fmla="*/ 2147483647 w 845"/>
                <a:gd name="T111" fmla="*/ 2147483647 h 720"/>
                <a:gd name="T112" fmla="*/ 2147483647 w 845"/>
                <a:gd name="T113" fmla="*/ 2147483647 h 720"/>
                <a:gd name="T114" fmla="*/ 2147483647 w 845"/>
                <a:gd name="T115" fmla="*/ 2147483647 h 720"/>
                <a:gd name="T116" fmla="*/ 2147483647 w 845"/>
                <a:gd name="T117" fmla="*/ 2147483647 h 72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845" h="720">
                  <a:moveTo>
                    <a:pt x="174" y="25"/>
                  </a:moveTo>
                  <a:lnTo>
                    <a:pt x="175" y="27"/>
                  </a:lnTo>
                  <a:lnTo>
                    <a:pt x="179" y="33"/>
                  </a:lnTo>
                  <a:lnTo>
                    <a:pt x="182" y="36"/>
                  </a:lnTo>
                  <a:lnTo>
                    <a:pt x="185" y="38"/>
                  </a:lnTo>
                  <a:lnTo>
                    <a:pt x="189" y="38"/>
                  </a:lnTo>
                  <a:lnTo>
                    <a:pt x="194" y="37"/>
                  </a:lnTo>
                  <a:lnTo>
                    <a:pt x="205" y="28"/>
                  </a:lnTo>
                  <a:lnTo>
                    <a:pt x="218" y="19"/>
                  </a:lnTo>
                  <a:lnTo>
                    <a:pt x="229" y="14"/>
                  </a:lnTo>
                  <a:lnTo>
                    <a:pt x="234" y="12"/>
                  </a:lnTo>
                  <a:lnTo>
                    <a:pt x="247" y="0"/>
                  </a:lnTo>
                  <a:lnTo>
                    <a:pt x="250" y="1"/>
                  </a:lnTo>
                  <a:lnTo>
                    <a:pt x="258" y="6"/>
                  </a:lnTo>
                  <a:lnTo>
                    <a:pt x="267" y="10"/>
                  </a:lnTo>
                  <a:lnTo>
                    <a:pt x="273" y="12"/>
                  </a:lnTo>
                  <a:lnTo>
                    <a:pt x="284" y="15"/>
                  </a:lnTo>
                  <a:lnTo>
                    <a:pt x="300" y="21"/>
                  </a:lnTo>
                  <a:lnTo>
                    <a:pt x="316" y="31"/>
                  </a:lnTo>
                  <a:lnTo>
                    <a:pt x="327" y="37"/>
                  </a:lnTo>
                  <a:lnTo>
                    <a:pt x="337" y="41"/>
                  </a:lnTo>
                  <a:lnTo>
                    <a:pt x="353" y="50"/>
                  </a:lnTo>
                  <a:lnTo>
                    <a:pt x="370" y="60"/>
                  </a:lnTo>
                  <a:lnTo>
                    <a:pt x="380" y="67"/>
                  </a:lnTo>
                  <a:lnTo>
                    <a:pt x="393" y="76"/>
                  </a:lnTo>
                  <a:lnTo>
                    <a:pt x="406" y="86"/>
                  </a:lnTo>
                  <a:lnTo>
                    <a:pt x="419" y="95"/>
                  </a:lnTo>
                  <a:lnTo>
                    <a:pt x="426" y="98"/>
                  </a:lnTo>
                  <a:lnTo>
                    <a:pt x="430" y="105"/>
                  </a:lnTo>
                  <a:lnTo>
                    <a:pt x="440" y="116"/>
                  </a:lnTo>
                  <a:lnTo>
                    <a:pt x="441" y="121"/>
                  </a:lnTo>
                  <a:lnTo>
                    <a:pt x="442" y="125"/>
                  </a:lnTo>
                  <a:lnTo>
                    <a:pt x="443" y="130"/>
                  </a:lnTo>
                  <a:lnTo>
                    <a:pt x="443" y="134"/>
                  </a:lnTo>
                  <a:lnTo>
                    <a:pt x="443" y="137"/>
                  </a:lnTo>
                  <a:lnTo>
                    <a:pt x="443" y="140"/>
                  </a:lnTo>
                  <a:lnTo>
                    <a:pt x="444" y="141"/>
                  </a:lnTo>
                  <a:lnTo>
                    <a:pt x="447" y="142"/>
                  </a:lnTo>
                  <a:lnTo>
                    <a:pt x="450" y="143"/>
                  </a:lnTo>
                  <a:lnTo>
                    <a:pt x="458" y="147"/>
                  </a:lnTo>
                  <a:lnTo>
                    <a:pt x="466" y="153"/>
                  </a:lnTo>
                  <a:lnTo>
                    <a:pt x="475" y="160"/>
                  </a:lnTo>
                  <a:lnTo>
                    <a:pt x="492" y="172"/>
                  </a:lnTo>
                  <a:lnTo>
                    <a:pt x="499" y="178"/>
                  </a:lnTo>
                  <a:lnTo>
                    <a:pt x="500" y="175"/>
                  </a:lnTo>
                  <a:lnTo>
                    <a:pt x="503" y="173"/>
                  </a:lnTo>
                  <a:lnTo>
                    <a:pt x="505" y="172"/>
                  </a:lnTo>
                  <a:lnTo>
                    <a:pt x="506" y="172"/>
                  </a:lnTo>
                  <a:lnTo>
                    <a:pt x="500" y="174"/>
                  </a:lnTo>
                  <a:lnTo>
                    <a:pt x="495" y="177"/>
                  </a:lnTo>
                  <a:lnTo>
                    <a:pt x="492" y="181"/>
                  </a:lnTo>
                  <a:lnTo>
                    <a:pt x="488" y="184"/>
                  </a:lnTo>
                  <a:lnTo>
                    <a:pt x="485" y="189"/>
                  </a:lnTo>
                  <a:lnTo>
                    <a:pt x="483" y="193"/>
                  </a:lnTo>
                  <a:lnTo>
                    <a:pt x="482" y="197"/>
                  </a:lnTo>
                  <a:lnTo>
                    <a:pt x="481" y="202"/>
                  </a:lnTo>
                  <a:lnTo>
                    <a:pt x="478" y="221"/>
                  </a:lnTo>
                  <a:lnTo>
                    <a:pt x="480" y="240"/>
                  </a:lnTo>
                  <a:lnTo>
                    <a:pt x="480" y="247"/>
                  </a:lnTo>
                  <a:lnTo>
                    <a:pt x="481" y="252"/>
                  </a:lnTo>
                  <a:lnTo>
                    <a:pt x="483" y="256"/>
                  </a:lnTo>
                  <a:lnTo>
                    <a:pt x="486" y="260"/>
                  </a:lnTo>
                  <a:lnTo>
                    <a:pt x="488" y="262"/>
                  </a:lnTo>
                  <a:lnTo>
                    <a:pt x="493" y="264"/>
                  </a:lnTo>
                  <a:lnTo>
                    <a:pt x="496" y="265"/>
                  </a:lnTo>
                  <a:lnTo>
                    <a:pt x="500" y="266"/>
                  </a:lnTo>
                  <a:lnTo>
                    <a:pt x="516" y="266"/>
                  </a:lnTo>
                  <a:lnTo>
                    <a:pt x="526" y="265"/>
                  </a:lnTo>
                  <a:lnTo>
                    <a:pt x="528" y="279"/>
                  </a:lnTo>
                  <a:lnTo>
                    <a:pt x="532" y="293"/>
                  </a:lnTo>
                  <a:lnTo>
                    <a:pt x="538" y="307"/>
                  </a:lnTo>
                  <a:lnTo>
                    <a:pt x="545" y="319"/>
                  </a:lnTo>
                  <a:lnTo>
                    <a:pt x="554" y="330"/>
                  </a:lnTo>
                  <a:lnTo>
                    <a:pt x="563" y="341"/>
                  </a:lnTo>
                  <a:lnTo>
                    <a:pt x="573" y="351"/>
                  </a:lnTo>
                  <a:lnTo>
                    <a:pt x="583" y="361"/>
                  </a:lnTo>
                  <a:lnTo>
                    <a:pt x="604" y="376"/>
                  </a:lnTo>
                  <a:lnTo>
                    <a:pt x="622" y="388"/>
                  </a:lnTo>
                  <a:lnTo>
                    <a:pt x="637" y="396"/>
                  </a:lnTo>
                  <a:lnTo>
                    <a:pt x="645" y="400"/>
                  </a:lnTo>
                  <a:lnTo>
                    <a:pt x="673" y="408"/>
                  </a:lnTo>
                  <a:lnTo>
                    <a:pt x="696" y="417"/>
                  </a:lnTo>
                  <a:lnTo>
                    <a:pt x="718" y="424"/>
                  </a:lnTo>
                  <a:lnTo>
                    <a:pt x="738" y="430"/>
                  </a:lnTo>
                  <a:lnTo>
                    <a:pt x="758" y="435"/>
                  </a:lnTo>
                  <a:lnTo>
                    <a:pt x="783" y="440"/>
                  </a:lnTo>
                  <a:lnTo>
                    <a:pt x="811" y="445"/>
                  </a:lnTo>
                  <a:lnTo>
                    <a:pt x="845" y="449"/>
                  </a:lnTo>
                  <a:lnTo>
                    <a:pt x="838" y="457"/>
                  </a:lnTo>
                  <a:lnTo>
                    <a:pt x="830" y="465"/>
                  </a:lnTo>
                  <a:lnTo>
                    <a:pt x="821" y="474"/>
                  </a:lnTo>
                  <a:lnTo>
                    <a:pt x="811" y="482"/>
                  </a:lnTo>
                  <a:lnTo>
                    <a:pt x="790" y="498"/>
                  </a:lnTo>
                  <a:lnTo>
                    <a:pt x="768" y="514"/>
                  </a:lnTo>
                  <a:lnTo>
                    <a:pt x="749" y="531"/>
                  </a:lnTo>
                  <a:lnTo>
                    <a:pt x="731" y="547"/>
                  </a:lnTo>
                  <a:lnTo>
                    <a:pt x="723" y="555"/>
                  </a:lnTo>
                  <a:lnTo>
                    <a:pt x="718" y="562"/>
                  </a:lnTo>
                  <a:lnTo>
                    <a:pt x="715" y="570"/>
                  </a:lnTo>
                  <a:lnTo>
                    <a:pt x="712" y="579"/>
                  </a:lnTo>
                  <a:lnTo>
                    <a:pt x="709" y="592"/>
                  </a:lnTo>
                  <a:lnTo>
                    <a:pt x="706" y="602"/>
                  </a:lnTo>
                  <a:lnTo>
                    <a:pt x="701" y="610"/>
                  </a:lnTo>
                  <a:lnTo>
                    <a:pt x="697" y="617"/>
                  </a:lnTo>
                  <a:lnTo>
                    <a:pt x="693" y="622"/>
                  </a:lnTo>
                  <a:lnTo>
                    <a:pt x="686" y="625"/>
                  </a:lnTo>
                  <a:lnTo>
                    <a:pt x="681" y="628"/>
                  </a:lnTo>
                  <a:lnTo>
                    <a:pt x="674" y="629"/>
                  </a:lnTo>
                  <a:lnTo>
                    <a:pt x="643" y="630"/>
                  </a:lnTo>
                  <a:lnTo>
                    <a:pt x="606" y="635"/>
                  </a:lnTo>
                  <a:lnTo>
                    <a:pt x="594" y="643"/>
                  </a:lnTo>
                  <a:lnTo>
                    <a:pt x="580" y="655"/>
                  </a:lnTo>
                  <a:lnTo>
                    <a:pt x="573" y="661"/>
                  </a:lnTo>
                  <a:lnTo>
                    <a:pt x="567" y="666"/>
                  </a:lnTo>
                  <a:lnTo>
                    <a:pt x="563" y="670"/>
                  </a:lnTo>
                  <a:lnTo>
                    <a:pt x="559" y="671"/>
                  </a:lnTo>
                  <a:lnTo>
                    <a:pt x="548" y="673"/>
                  </a:lnTo>
                  <a:lnTo>
                    <a:pt x="539" y="676"/>
                  </a:lnTo>
                  <a:lnTo>
                    <a:pt x="531" y="678"/>
                  </a:lnTo>
                  <a:lnTo>
                    <a:pt x="525" y="681"/>
                  </a:lnTo>
                  <a:lnTo>
                    <a:pt x="513" y="687"/>
                  </a:lnTo>
                  <a:lnTo>
                    <a:pt x="499" y="696"/>
                  </a:lnTo>
                  <a:lnTo>
                    <a:pt x="488" y="696"/>
                  </a:lnTo>
                  <a:lnTo>
                    <a:pt x="482" y="693"/>
                  </a:lnTo>
                  <a:lnTo>
                    <a:pt x="476" y="691"/>
                  </a:lnTo>
                  <a:lnTo>
                    <a:pt x="472" y="686"/>
                  </a:lnTo>
                  <a:lnTo>
                    <a:pt x="468" y="683"/>
                  </a:lnTo>
                  <a:lnTo>
                    <a:pt x="461" y="680"/>
                  </a:lnTo>
                  <a:lnTo>
                    <a:pt x="452" y="678"/>
                  </a:lnTo>
                  <a:lnTo>
                    <a:pt x="440" y="677"/>
                  </a:lnTo>
                  <a:lnTo>
                    <a:pt x="432" y="678"/>
                  </a:lnTo>
                  <a:lnTo>
                    <a:pt x="427" y="679"/>
                  </a:lnTo>
                  <a:lnTo>
                    <a:pt x="421" y="681"/>
                  </a:lnTo>
                  <a:lnTo>
                    <a:pt x="418" y="684"/>
                  </a:lnTo>
                  <a:lnTo>
                    <a:pt x="410" y="692"/>
                  </a:lnTo>
                  <a:lnTo>
                    <a:pt x="405" y="699"/>
                  </a:lnTo>
                  <a:lnTo>
                    <a:pt x="402" y="703"/>
                  </a:lnTo>
                  <a:lnTo>
                    <a:pt x="398" y="707"/>
                  </a:lnTo>
                  <a:lnTo>
                    <a:pt x="394" y="711"/>
                  </a:lnTo>
                  <a:lnTo>
                    <a:pt x="390" y="714"/>
                  </a:lnTo>
                  <a:lnTo>
                    <a:pt x="383" y="717"/>
                  </a:lnTo>
                  <a:lnTo>
                    <a:pt x="376" y="719"/>
                  </a:lnTo>
                  <a:lnTo>
                    <a:pt x="369" y="720"/>
                  </a:lnTo>
                  <a:lnTo>
                    <a:pt x="360" y="720"/>
                  </a:lnTo>
                  <a:lnTo>
                    <a:pt x="348" y="720"/>
                  </a:lnTo>
                  <a:lnTo>
                    <a:pt x="337" y="719"/>
                  </a:lnTo>
                  <a:lnTo>
                    <a:pt x="327" y="717"/>
                  </a:lnTo>
                  <a:lnTo>
                    <a:pt x="318" y="714"/>
                  </a:lnTo>
                  <a:lnTo>
                    <a:pt x="310" y="710"/>
                  </a:lnTo>
                  <a:lnTo>
                    <a:pt x="303" y="706"/>
                  </a:lnTo>
                  <a:lnTo>
                    <a:pt x="295" y="702"/>
                  </a:lnTo>
                  <a:lnTo>
                    <a:pt x="289" y="698"/>
                  </a:lnTo>
                  <a:lnTo>
                    <a:pt x="275" y="688"/>
                  </a:lnTo>
                  <a:lnTo>
                    <a:pt x="261" y="679"/>
                  </a:lnTo>
                  <a:lnTo>
                    <a:pt x="253" y="675"/>
                  </a:lnTo>
                  <a:lnTo>
                    <a:pt x="246" y="671"/>
                  </a:lnTo>
                  <a:lnTo>
                    <a:pt x="237" y="668"/>
                  </a:lnTo>
                  <a:lnTo>
                    <a:pt x="227" y="665"/>
                  </a:lnTo>
                  <a:lnTo>
                    <a:pt x="205" y="662"/>
                  </a:lnTo>
                  <a:lnTo>
                    <a:pt x="181" y="661"/>
                  </a:lnTo>
                  <a:lnTo>
                    <a:pt x="170" y="660"/>
                  </a:lnTo>
                  <a:lnTo>
                    <a:pt x="159" y="659"/>
                  </a:lnTo>
                  <a:lnTo>
                    <a:pt x="149" y="657"/>
                  </a:lnTo>
                  <a:lnTo>
                    <a:pt x="140" y="653"/>
                  </a:lnTo>
                  <a:lnTo>
                    <a:pt x="149" y="632"/>
                  </a:lnTo>
                  <a:lnTo>
                    <a:pt x="153" y="622"/>
                  </a:lnTo>
                  <a:lnTo>
                    <a:pt x="152" y="618"/>
                  </a:lnTo>
                  <a:lnTo>
                    <a:pt x="151" y="614"/>
                  </a:lnTo>
                  <a:lnTo>
                    <a:pt x="147" y="607"/>
                  </a:lnTo>
                  <a:lnTo>
                    <a:pt x="140" y="597"/>
                  </a:lnTo>
                  <a:lnTo>
                    <a:pt x="134" y="597"/>
                  </a:lnTo>
                  <a:lnTo>
                    <a:pt x="127" y="596"/>
                  </a:lnTo>
                  <a:lnTo>
                    <a:pt x="122" y="593"/>
                  </a:lnTo>
                  <a:lnTo>
                    <a:pt x="116" y="590"/>
                  </a:lnTo>
                  <a:lnTo>
                    <a:pt x="112" y="587"/>
                  </a:lnTo>
                  <a:lnTo>
                    <a:pt x="108" y="583"/>
                  </a:lnTo>
                  <a:lnTo>
                    <a:pt x="104" y="577"/>
                  </a:lnTo>
                  <a:lnTo>
                    <a:pt x="102" y="572"/>
                  </a:lnTo>
                  <a:lnTo>
                    <a:pt x="96" y="562"/>
                  </a:lnTo>
                  <a:lnTo>
                    <a:pt x="93" y="551"/>
                  </a:lnTo>
                  <a:lnTo>
                    <a:pt x="90" y="540"/>
                  </a:lnTo>
                  <a:lnTo>
                    <a:pt x="88" y="530"/>
                  </a:lnTo>
                  <a:lnTo>
                    <a:pt x="82" y="519"/>
                  </a:lnTo>
                  <a:lnTo>
                    <a:pt x="77" y="511"/>
                  </a:lnTo>
                  <a:lnTo>
                    <a:pt x="70" y="505"/>
                  </a:lnTo>
                  <a:lnTo>
                    <a:pt x="63" y="499"/>
                  </a:lnTo>
                  <a:lnTo>
                    <a:pt x="57" y="494"/>
                  </a:lnTo>
                  <a:lnTo>
                    <a:pt x="49" y="489"/>
                  </a:lnTo>
                  <a:lnTo>
                    <a:pt x="41" y="483"/>
                  </a:lnTo>
                  <a:lnTo>
                    <a:pt x="34" y="474"/>
                  </a:lnTo>
                  <a:lnTo>
                    <a:pt x="24" y="477"/>
                  </a:lnTo>
                  <a:lnTo>
                    <a:pt x="16" y="477"/>
                  </a:lnTo>
                  <a:lnTo>
                    <a:pt x="12" y="476"/>
                  </a:lnTo>
                  <a:lnTo>
                    <a:pt x="10" y="475"/>
                  </a:lnTo>
                  <a:lnTo>
                    <a:pt x="6" y="474"/>
                  </a:lnTo>
                  <a:lnTo>
                    <a:pt x="5" y="472"/>
                  </a:lnTo>
                  <a:lnTo>
                    <a:pt x="2" y="467"/>
                  </a:lnTo>
                  <a:lnTo>
                    <a:pt x="0" y="461"/>
                  </a:lnTo>
                  <a:lnTo>
                    <a:pt x="1" y="454"/>
                  </a:lnTo>
                  <a:lnTo>
                    <a:pt x="2" y="448"/>
                  </a:lnTo>
                  <a:lnTo>
                    <a:pt x="5" y="441"/>
                  </a:lnTo>
                  <a:lnTo>
                    <a:pt x="9" y="434"/>
                  </a:lnTo>
                  <a:lnTo>
                    <a:pt x="14" y="428"/>
                  </a:lnTo>
                  <a:lnTo>
                    <a:pt x="21" y="422"/>
                  </a:lnTo>
                  <a:lnTo>
                    <a:pt x="27" y="418"/>
                  </a:lnTo>
                  <a:lnTo>
                    <a:pt x="36" y="415"/>
                  </a:lnTo>
                  <a:lnTo>
                    <a:pt x="45" y="413"/>
                  </a:lnTo>
                  <a:lnTo>
                    <a:pt x="55" y="413"/>
                  </a:lnTo>
                  <a:lnTo>
                    <a:pt x="57" y="384"/>
                  </a:lnTo>
                  <a:lnTo>
                    <a:pt x="60" y="360"/>
                  </a:lnTo>
                  <a:lnTo>
                    <a:pt x="63" y="339"/>
                  </a:lnTo>
                  <a:lnTo>
                    <a:pt x="67" y="321"/>
                  </a:lnTo>
                  <a:lnTo>
                    <a:pt x="71" y="306"/>
                  </a:lnTo>
                  <a:lnTo>
                    <a:pt x="74" y="293"/>
                  </a:lnTo>
                  <a:lnTo>
                    <a:pt x="79" y="283"/>
                  </a:lnTo>
                  <a:lnTo>
                    <a:pt x="82" y="275"/>
                  </a:lnTo>
                  <a:lnTo>
                    <a:pt x="87" y="269"/>
                  </a:lnTo>
                  <a:lnTo>
                    <a:pt x="90" y="265"/>
                  </a:lnTo>
                  <a:lnTo>
                    <a:pt x="93" y="262"/>
                  </a:lnTo>
                  <a:lnTo>
                    <a:pt x="95" y="260"/>
                  </a:lnTo>
                  <a:lnTo>
                    <a:pt x="100" y="259"/>
                  </a:lnTo>
                  <a:lnTo>
                    <a:pt x="101" y="259"/>
                  </a:lnTo>
                  <a:lnTo>
                    <a:pt x="101" y="247"/>
                  </a:lnTo>
                  <a:lnTo>
                    <a:pt x="103" y="236"/>
                  </a:lnTo>
                  <a:lnTo>
                    <a:pt x="105" y="227"/>
                  </a:lnTo>
                  <a:lnTo>
                    <a:pt x="108" y="219"/>
                  </a:lnTo>
                  <a:lnTo>
                    <a:pt x="112" y="212"/>
                  </a:lnTo>
                  <a:lnTo>
                    <a:pt x="116" y="206"/>
                  </a:lnTo>
                  <a:lnTo>
                    <a:pt x="122" y="200"/>
                  </a:lnTo>
                  <a:lnTo>
                    <a:pt x="126" y="196"/>
                  </a:lnTo>
                  <a:lnTo>
                    <a:pt x="137" y="186"/>
                  </a:lnTo>
                  <a:lnTo>
                    <a:pt x="148" y="178"/>
                  </a:lnTo>
                  <a:lnTo>
                    <a:pt x="153" y="174"/>
                  </a:lnTo>
                  <a:lnTo>
                    <a:pt x="159" y="170"/>
                  </a:lnTo>
                  <a:lnTo>
                    <a:pt x="163" y="165"/>
                  </a:lnTo>
                  <a:lnTo>
                    <a:pt x="167" y="160"/>
                  </a:lnTo>
                  <a:lnTo>
                    <a:pt x="174" y="25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78" name="Line 359"/>
            <p:cNvSpPr>
              <a:spLocks noChangeShapeType="1"/>
            </p:cNvSpPr>
            <p:nvPr>
              <p:custDataLst>
                <p:tags r:id="rId263"/>
              </p:custDataLst>
            </p:nvPr>
          </p:nvSpPr>
          <p:spPr bwMode="auto">
            <a:xfrm flipH="1">
              <a:off x="3824919" y="4362889"/>
              <a:ext cx="4763" cy="7938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s-ES"/>
            </a:p>
          </p:txBody>
        </p:sp>
        <p:sp>
          <p:nvSpPr>
            <p:cNvPr id="25879" name="Freeform 360"/>
            <p:cNvSpPr>
              <a:spLocks/>
            </p:cNvSpPr>
            <p:nvPr>
              <p:custDataLst>
                <p:tags r:id="rId264"/>
              </p:custDataLst>
            </p:nvPr>
          </p:nvSpPr>
          <p:spPr bwMode="auto">
            <a:xfrm>
              <a:off x="3824919" y="4370827"/>
              <a:ext cx="12700" cy="58737"/>
            </a:xfrm>
            <a:custGeom>
              <a:avLst/>
              <a:gdLst>
                <a:gd name="T0" fmla="*/ 0 w 33"/>
                <a:gd name="T1" fmla="*/ 0 h 6"/>
                <a:gd name="T2" fmla="*/ 2147483647 w 33"/>
                <a:gd name="T3" fmla="*/ 2147483647 h 6"/>
                <a:gd name="T4" fmla="*/ 2147483647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3" h="6">
                  <a:moveTo>
                    <a:pt x="0" y="0"/>
                  </a:moveTo>
                  <a:lnTo>
                    <a:pt x="7" y="1"/>
                  </a:lnTo>
                  <a:lnTo>
                    <a:pt x="15" y="3"/>
                  </a:lnTo>
                  <a:lnTo>
                    <a:pt x="23" y="5"/>
                  </a:lnTo>
                  <a:lnTo>
                    <a:pt x="33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80" name="Freeform 361"/>
            <p:cNvSpPr>
              <a:spLocks/>
            </p:cNvSpPr>
            <p:nvPr>
              <p:custDataLst>
                <p:tags r:id="rId265"/>
              </p:custDataLst>
            </p:nvPr>
          </p:nvSpPr>
          <p:spPr bwMode="auto">
            <a:xfrm>
              <a:off x="3832857" y="4358127"/>
              <a:ext cx="4762" cy="57150"/>
            </a:xfrm>
            <a:custGeom>
              <a:avLst/>
              <a:gdLst>
                <a:gd name="T0" fmla="*/ 2147483647 w 13"/>
                <a:gd name="T1" fmla="*/ 2147483647 h 30"/>
                <a:gd name="T2" fmla="*/ 2147483647 w 13"/>
                <a:gd name="T3" fmla="*/ 0 h 30"/>
                <a:gd name="T4" fmla="*/ 0 w 13"/>
                <a:gd name="T5" fmla="*/ 0 h 3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3" h="30">
                  <a:moveTo>
                    <a:pt x="13" y="30"/>
                  </a:move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1340" name="Group 362"/>
            <p:cNvGrpSpPr>
              <a:grpSpLocks/>
            </p:cNvGrpSpPr>
            <p:nvPr>
              <p:custDataLst>
                <p:tags r:id="rId266"/>
              </p:custDataLst>
            </p:nvPr>
          </p:nvGrpSpPr>
          <p:grpSpPr bwMode="auto">
            <a:xfrm>
              <a:off x="3824919" y="4293039"/>
              <a:ext cx="417513" cy="201613"/>
              <a:chOff x="912" y="2626"/>
              <a:chExt cx="311" cy="127"/>
            </a:xfrm>
            <a:solidFill>
              <a:srgbClr val="19194D"/>
            </a:solidFill>
          </p:grpSpPr>
          <p:sp>
            <p:nvSpPr>
              <p:cNvPr id="1522" name="Freeform 363"/>
              <p:cNvSpPr>
                <a:spLocks/>
              </p:cNvSpPr>
              <p:nvPr/>
            </p:nvSpPr>
            <p:spPr bwMode="auto">
              <a:xfrm>
                <a:off x="1110" y="2626"/>
                <a:ext cx="113" cy="127"/>
              </a:xfrm>
              <a:custGeom>
                <a:avLst/>
                <a:gdLst>
                  <a:gd name="T0" fmla="*/ 312 w 352"/>
                  <a:gd name="T1" fmla="*/ 79 h 387"/>
                  <a:gd name="T2" fmla="*/ 286 w 352"/>
                  <a:gd name="T3" fmla="*/ 79 h 387"/>
                  <a:gd name="T4" fmla="*/ 265 w 352"/>
                  <a:gd name="T5" fmla="*/ 79 h 387"/>
                  <a:gd name="T6" fmla="*/ 249 w 352"/>
                  <a:gd name="T7" fmla="*/ 74 h 387"/>
                  <a:gd name="T8" fmla="*/ 222 w 352"/>
                  <a:gd name="T9" fmla="*/ 59 h 387"/>
                  <a:gd name="T10" fmla="*/ 168 w 352"/>
                  <a:gd name="T11" fmla="*/ 20 h 387"/>
                  <a:gd name="T12" fmla="*/ 137 w 352"/>
                  <a:gd name="T13" fmla="*/ 6 h 387"/>
                  <a:gd name="T14" fmla="*/ 129 w 352"/>
                  <a:gd name="T15" fmla="*/ 19 h 387"/>
                  <a:gd name="T16" fmla="*/ 119 w 352"/>
                  <a:gd name="T17" fmla="*/ 29 h 387"/>
                  <a:gd name="T18" fmla="*/ 107 w 352"/>
                  <a:gd name="T19" fmla="*/ 35 h 387"/>
                  <a:gd name="T20" fmla="*/ 86 w 352"/>
                  <a:gd name="T21" fmla="*/ 56 h 387"/>
                  <a:gd name="T22" fmla="*/ 53 w 352"/>
                  <a:gd name="T23" fmla="*/ 97 h 387"/>
                  <a:gd name="T24" fmla="*/ 30 w 352"/>
                  <a:gd name="T25" fmla="*/ 131 h 387"/>
                  <a:gd name="T26" fmla="*/ 17 w 352"/>
                  <a:gd name="T27" fmla="*/ 154 h 387"/>
                  <a:gd name="T28" fmla="*/ 7 w 352"/>
                  <a:gd name="T29" fmla="*/ 177 h 387"/>
                  <a:gd name="T30" fmla="*/ 0 w 352"/>
                  <a:gd name="T31" fmla="*/ 198 h 387"/>
                  <a:gd name="T32" fmla="*/ 0 w 352"/>
                  <a:gd name="T33" fmla="*/ 213 h 387"/>
                  <a:gd name="T34" fmla="*/ 3 w 352"/>
                  <a:gd name="T35" fmla="*/ 222 h 387"/>
                  <a:gd name="T36" fmla="*/ 9 w 352"/>
                  <a:gd name="T37" fmla="*/ 231 h 387"/>
                  <a:gd name="T38" fmla="*/ 24 w 352"/>
                  <a:gd name="T39" fmla="*/ 241 h 387"/>
                  <a:gd name="T40" fmla="*/ 39 w 352"/>
                  <a:gd name="T41" fmla="*/ 245 h 387"/>
                  <a:gd name="T42" fmla="*/ 52 w 352"/>
                  <a:gd name="T43" fmla="*/ 245 h 387"/>
                  <a:gd name="T44" fmla="*/ 63 w 352"/>
                  <a:gd name="T45" fmla="*/ 241 h 387"/>
                  <a:gd name="T46" fmla="*/ 73 w 352"/>
                  <a:gd name="T47" fmla="*/ 236 h 387"/>
                  <a:gd name="T48" fmla="*/ 78 w 352"/>
                  <a:gd name="T49" fmla="*/ 236 h 387"/>
                  <a:gd name="T50" fmla="*/ 80 w 352"/>
                  <a:gd name="T51" fmla="*/ 238 h 387"/>
                  <a:gd name="T52" fmla="*/ 80 w 352"/>
                  <a:gd name="T53" fmla="*/ 257 h 387"/>
                  <a:gd name="T54" fmla="*/ 76 w 352"/>
                  <a:gd name="T55" fmla="*/ 279 h 387"/>
                  <a:gd name="T56" fmla="*/ 71 w 352"/>
                  <a:gd name="T57" fmla="*/ 290 h 387"/>
                  <a:gd name="T58" fmla="*/ 73 w 352"/>
                  <a:gd name="T59" fmla="*/ 307 h 387"/>
                  <a:gd name="T60" fmla="*/ 80 w 352"/>
                  <a:gd name="T61" fmla="*/ 331 h 387"/>
                  <a:gd name="T62" fmla="*/ 89 w 352"/>
                  <a:gd name="T63" fmla="*/ 351 h 387"/>
                  <a:gd name="T64" fmla="*/ 122 w 352"/>
                  <a:gd name="T65" fmla="*/ 373 h 387"/>
                  <a:gd name="T66" fmla="*/ 142 w 352"/>
                  <a:gd name="T67" fmla="*/ 385 h 387"/>
                  <a:gd name="T68" fmla="*/ 152 w 352"/>
                  <a:gd name="T69" fmla="*/ 386 h 387"/>
                  <a:gd name="T70" fmla="*/ 163 w 352"/>
                  <a:gd name="T71" fmla="*/ 377 h 387"/>
                  <a:gd name="T72" fmla="*/ 173 w 352"/>
                  <a:gd name="T73" fmla="*/ 363 h 387"/>
                  <a:gd name="T74" fmla="*/ 178 w 352"/>
                  <a:gd name="T75" fmla="*/ 350 h 387"/>
                  <a:gd name="T76" fmla="*/ 181 w 352"/>
                  <a:gd name="T77" fmla="*/ 338 h 387"/>
                  <a:gd name="T78" fmla="*/ 184 w 352"/>
                  <a:gd name="T79" fmla="*/ 323 h 387"/>
                  <a:gd name="T80" fmla="*/ 195 w 352"/>
                  <a:gd name="T81" fmla="*/ 304 h 387"/>
                  <a:gd name="T82" fmla="*/ 216 w 352"/>
                  <a:gd name="T83" fmla="*/ 281 h 387"/>
                  <a:gd name="T84" fmla="*/ 238 w 352"/>
                  <a:gd name="T85" fmla="*/ 263 h 387"/>
                  <a:gd name="T86" fmla="*/ 264 w 352"/>
                  <a:gd name="T87" fmla="*/ 249 h 387"/>
                  <a:gd name="T88" fmla="*/ 300 w 352"/>
                  <a:gd name="T89" fmla="*/ 229 h 387"/>
                  <a:gd name="T90" fmla="*/ 324 w 352"/>
                  <a:gd name="T91" fmla="*/ 212 h 387"/>
                  <a:gd name="T92" fmla="*/ 338 w 352"/>
                  <a:gd name="T93" fmla="*/ 199 h 387"/>
                  <a:gd name="T94" fmla="*/ 346 w 352"/>
                  <a:gd name="T95" fmla="*/ 185 h 387"/>
                  <a:gd name="T96" fmla="*/ 352 w 352"/>
                  <a:gd name="T97" fmla="*/ 169 h 387"/>
                  <a:gd name="T98" fmla="*/ 351 w 352"/>
                  <a:gd name="T99" fmla="*/ 149 h 387"/>
                  <a:gd name="T100" fmla="*/ 344 w 352"/>
                  <a:gd name="T101" fmla="*/ 125 h 387"/>
                  <a:gd name="T102" fmla="*/ 330 w 352"/>
                  <a:gd name="T103" fmla="*/ 91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52" h="387">
                    <a:moveTo>
                      <a:pt x="325" y="79"/>
                    </a:moveTo>
                    <a:lnTo>
                      <a:pt x="312" y="79"/>
                    </a:lnTo>
                    <a:lnTo>
                      <a:pt x="299" y="79"/>
                    </a:lnTo>
                    <a:lnTo>
                      <a:pt x="286" y="79"/>
                    </a:lnTo>
                    <a:lnTo>
                      <a:pt x="273" y="79"/>
                    </a:lnTo>
                    <a:lnTo>
                      <a:pt x="265" y="79"/>
                    </a:lnTo>
                    <a:lnTo>
                      <a:pt x="256" y="77"/>
                    </a:lnTo>
                    <a:lnTo>
                      <a:pt x="249" y="74"/>
                    </a:lnTo>
                    <a:lnTo>
                      <a:pt x="240" y="70"/>
                    </a:lnTo>
                    <a:lnTo>
                      <a:pt x="222" y="59"/>
                    </a:lnTo>
                    <a:lnTo>
                      <a:pt x="204" y="46"/>
                    </a:lnTo>
                    <a:lnTo>
                      <a:pt x="168" y="20"/>
                    </a:lnTo>
                    <a:lnTo>
                      <a:pt x="140" y="0"/>
                    </a:lnTo>
                    <a:lnTo>
                      <a:pt x="137" y="6"/>
                    </a:lnTo>
                    <a:lnTo>
                      <a:pt x="133" y="13"/>
                    </a:lnTo>
                    <a:lnTo>
                      <a:pt x="129" y="19"/>
                    </a:lnTo>
                    <a:lnTo>
                      <a:pt x="125" y="25"/>
                    </a:lnTo>
                    <a:lnTo>
                      <a:pt x="119" y="29"/>
                    </a:lnTo>
                    <a:lnTo>
                      <a:pt x="114" y="33"/>
                    </a:lnTo>
                    <a:lnTo>
                      <a:pt x="107" y="35"/>
                    </a:lnTo>
                    <a:lnTo>
                      <a:pt x="100" y="36"/>
                    </a:lnTo>
                    <a:lnTo>
                      <a:pt x="86" y="56"/>
                    </a:lnTo>
                    <a:lnTo>
                      <a:pt x="71" y="76"/>
                    </a:lnTo>
                    <a:lnTo>
                      <a:pt x="53" y="97"/>
                    </a:lnTo>
                    <a:lnTo>
                      <a:pt x="38" y="120"/>
                    </a:lnTo>
                    <a:lnTo>
                      <a:pt x="30" y="131"/>
                    </a:lnTo>
                    <a:lnTo>
                      <a:pt x="22" y="143"/>
                    </a:lnTo>
                    <a:lnTo>
                      <a:pt x="17" y="154"/>
                    </a:lnTo>
                    <a:lnTo>
                      <a:pt x="11" y="165"/>
                    </a:lnTo>
                    <a:lnTo>
                      <a:pt x="7" y="177"/>
                    </a:lnTo>
                    <a:lnTo>
                      <a:pt x="3" y="187"/>
                    </a:lnTo>
                    <a:lnTo>
                      <a:pt x="0" y="198"/>
                    </a:lnTo>
                    <a:lnTo>
                      <a:pt x="0" y="208"/>
                    </a:lnTo>
                    <a:lnTo>
                      <a:pt x="0" y="213"/>
                    </a:lnTo>
                    <a:lnTo>
                      <a:pt x="2" y="217"/>
                    </a:lnTo>
                    <a:lnTo>
                      <a:pt x="3" y="222"/>
                    </a:lnTo>
                    <a:lnTo>
                      <a:pt x="5" y="225"/>
                    </a:lnTo>
                    <a:lnTo>
                      <a:pt x="9" y="231"/>
                    </a:lnTo>
                    <a:lnTo>
                      <a:pt x="16" y="237"/>
                    </a:lnTo>
                    <a:lnTo>
                      <a:pt x="24" y="241"/>
                    </a:lnTo>
                    <a:lnTo>
                      <a:pt x="31" y="243"/>
                    </a:lnTo>
                    <a:lnTo>
                      <a:pt x="39" y="245"/>
                    </a:lnTo>
                    <a:lnTo>
                      <a:pt x="47" y="246"/>
                    </a:lnTo>
                    <a:lnTo>
                      <a:pt x="52" y="245"/>
                    </a:lnTo>
                    <a:lnTo>
                      <a:pt x="58" y="243"/>
                    </a:lnTo>
                    <a:lnTo>
                      <a:pt x="63" y="241"/>
                    </a:lnTo>
                    <a:lnTo>
                      <a:pt x="69" y="238"/>
                    </a:lnTo>
                    <a:lnTo>
                      <a:pt x="73" y="236"/>
                    </a:lnTo>
                    <a:lnTo>
                      <a:pt x="76" y="235"/>
                    </a:lnTo>
                    <a:lnTo>
                      <a:pt x="78" y="236"/>
                    </a:lnTo>
                    <a:lnTo>
                      <a:pt x="80" y="236"/>
                    </a:lnTo>
                    <a:lnTo>
                      <a:pt x="80" y="238"/>
                    </a:lnTo>
                    <a:lnTo>
                      <a:pt x="80" y="240"/>
                    </a:lnTo>
                    <a:lnTo>
                      <a:pt x="80" y="257"/>
                    </a:lnTo>
                    <a:lnTo>
                      <a:pt x="78" y="271"/>
                    </a:lnTo>
                    <a:lnTo>
                      <a:pt x="76" y="279"/>
                    </a:lnTo>
                    <a:lnTo>
                      <a:pt x="74" y="285"/>
                    </a:lnTo>
                    <a:lnTo>
                      <a:pt x="71" y="290"/>
                    </a:lnTo>
                    <a:lnTo>
                      <a:pt x="66" y="295"/>
                    </a:lnTo>
                    <a:lnTo>
                      <a:pt x="73" y="307"/>
                    </a:lnTo>
                    <a:lnTo>
                      <a:pt x="80" y="319"/>
                    </a:lnTo>
                    <a:lnTo>
                      <a:pt x="80" y="331"/>
                    </a:lnTo>
                    <a:lnTo>
                      <a:pt x="80" y="344"/>
                    </a:lnTo>
                    <a:lnTo>
                      <a:pt x="89" y="351"/>
                    </a:lnTo>
                    <a:lnTo>
                      <a:pt x="110" y="366"/>
                    </a:lnTo>
                    <a:lnTo>
                      <a:pt x="122" y="373"/>
                    </a:lnTo>
                    <a:lnTo>
                      <a:pt x="133" y="380"/>
                    </a:lnTo>
                    <a:lnTo>
                      <a:pt x="142" y="385"/>
                    </a:lnTo>
                    <a:lnTo>
                      <a:pt x="147" y="387"/>
                    </a:lnTo>
                    <a:lnTo>
                      <a:pt x="152" y="386"/>
                    </a:lnTo>
                    <a:lnTo>
                      <a:pt x="158" y="382"/>
                    </a:lnTo>
                    <a:lnTo>
                      <a:pt x="163" y="377"/>
                    </a:lnTo>
                    <a:lnTo>
                      <a:pt x="168" y="370"/>
                    </a:lnTo>
                    <a:lnTo>
                      <a:pt x="173" y="363"/>
                    </a:lnTo>
                    <a:lnTo>
                      <a:pt x="176" y="356"/>
                    </a:lnTo>
                    <a:lnTo>
                      <a:pt x="178" y="350"/>
                    </a:lnTo>
                    <a:lnTo>
                      <a:pt x="179" y="344"/>
                    </a:lnTo>
                    <a:lnTo>
                      <a:pt x="181" y="338"/>
                    </a:lnTo>
                    <a:lnTo>
                      <a:pt x="182" y="330"/>
                    </a:lnTo>
                    <a:lnTo>
                      <a:pt x="184" y="323"/>
                    </a:lnTo>
                    <a:lnTo>
                      <a:pt x="187" y="317"/>
                    </a:lnTo>
                    <a:lnTo>
                      <a:pt x="195" y="304"/>
                    </a:lnTo>
                    <a:lnTo>
                      <a:pt x="206" y="292"/>
                    </a:lnTo>
                    <a:lnTo>
                      <a:pt x="216" y="281"/>
                    </a:lnTo>
                    <a:lnTo>
                      <a:pt x="228" y="271"/>
                    </a:lnTo>
                    <a:lnTo>
                      <a:pt x="238" y="263"/>
                    </a:lnTo>
                    <a:lnTo>
                      <a:pt x="246" y="258"/>
                    </a:lnTo>
                    <a:lnTo>
                      <a:pt x="264" y="249"/>
                    </a:lnTo>
                    <a:lnTo>
                      <a:pt x="283" y="239"/>
                    </a:lnTo>
                    <a:lnTo>
                      <a:pt x="300" y="229"/>
                    </a:lnTo>
                    <a:lnTo>
                      <a:pt x="317" y="217"/>
                    </a:lnTo>
                    <a:lnTo>
                      <a:pt x="324" y="212"/>
                    </a:lnTo>
                    <a:lnTo>
                      <a:pt x="331" y="205"/>
                    </a:lnTo>
                    <a:lnTo>
                      <a:pt x="338" y="199"/>
                    </a:lnTo>
                    <a:lnTo>
                      <a:pt x="342" y="192"/>
                    </a:lnTo>
                    <a:lnTo>
                      <a:pt x="346" y="185"/>
                    </a:lnTo>
                    <a:lnTo>
                      <a:pt x="350" y="177"/>
                    </a:lnTo>
                    <a:lnTo>
                      <a:pt x="352" y="169"/>
                    </a:lnTo>
                    <a:lnTo>
                      <a:pt x="352" y="159"/>
                    </a:lnTo>
                    <a:lnTo>
                      <a:pt x="351" y="149"/>
                    </a:lnTo>
                    <a:lnTo>
                      <a:pt x="349" y="137"/>
                    </a:lnTo>
                    <a:lnTo>
                      <a:pt x="344" y="125"/>
                    </a:lnTo>
                    <a:lnTo>
                      <a:pt x="339" y="113"/>
                    </a:lnTo>
                    <a:lnTo>
                      <a:pt x="330" y="91"/>
                    </a:lnTo>
                    <a:lnTo>
                      <a:pt x="325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23" name="Freeform 364"/>
              <p:cNvSpPr>
                <a:spLocks/>
              </p:cNvSpPr>
              <p:nvPr/>
            </p:nvSpPr>
            <p:spPr bwMode="auto">
              <a:xfrm>
                <a:off x="923" y="2662"/>
                <a:ext cx="17" cy="26"/>
              </a:xfrm>
              <a:custGeom>
                <a:avLst/>
                <a:gdLst>
                  <a:gd name="T0" fmla="*/ 14 w 52"/>
                  <a:gd name="T1" fmla="*/ 0 h 78"/>
                  <a:gd name="T2" fmla="*/ 20 w 52"/>
                  <a:gd name="T3" fmla="*/ 0 h 78"/>
                  <a:gd name="T4" fmla="*/ 25 w 52"/>
                  <a:gd name="T5" fmla="*/ 2 h 78"/>
                  <a:gd name="T6" fmla="*/ 30 w 52"/>
                  <a:gd name="T7" fmla="*/ 6 h 78"/>
                  <a:gd name="T8" fmla="*/ 36 w 52"/>
                  <a:gd name="T9" fmla="*/ 9 h 78"/>
                  <a:gd name="T10" fmla="*/ 40 w 52"/>
                  <a:gd name="T11" fmla="*/ 13 h 78"/>
                  <a:gd name="T12" fmla="*/ 45 w 52"/>
                  <a:gd name="T13" fmla="*/ 17 h 78"/>
                  <a:gd name="T14" fmla="*/ 47 w 52"/>
                  <a:gd name="T15" fmla="*/ 21 h 78"/>
                  <a:gd name="T16" fmla="*/ 48 w 52"/>
                  <a:gd name="T17" fmla="*/ 24 h 78"/>
                  <a:gd name="T18" fmla="*/ 51 w 52"/>
                  <a:gd name="T19" fmla="*/ 34 h 78"/>
                  <a:gd name="T20" fmla="*/ 52 w 52"/>
                  <a:gd name="T21" fmla="*/ 41 h 78"/>
                  <a:gd name="T22" fmla="*/ 51 w 52"/>
                  <a:gd name="T23" fmla="*/ 46 h 78"/>
                  <a:gd name="T24" fmla="*/ 49 w 52"/>
                  <a:gd name="T25" fmla="*/ 50 h 78"/>
                  <a:gd name="T26" fmla="*/ 47 w 52"/>
                  <a:gd name="T27" fmla="*/ 54 h 78"/>
                  <a:gd name="T28" fmla="*/ 44 w 52"/>
                  <a:gd name="T29" fmla="*/ 60 h 78"/>
                  <a:gd name="T30" fmla="*/ 41 w 52"/>
                  <a:gd name="T31" fmla="*/ 65 h 78"/>
                  <a:gd name="T32" fmla="*/ 41 w 52"/>
                  <a:gd name="T33" fmla="*/ 73 h 78"/>
                  <a:gd name="T34" fmla="*/ 29 w 52"/>
                  <a:gd name="T35" fmla="*/ 75 h 78"/>
                  <a:gd name="T36" fmla="*/ 16 w 52"/>
                  <a:gd name="T37" fmla="*/ 78 h 78"/>
                  <a:gd name="T38" fmla="*/ 11 w 52"/>
                  <a:gd name="T39" fmla="*/ 78 h 78"/>
                  <a:gd name="T40" fmla="*/ 5 w 52"/>
                  <a:gd name="T41" fmla="*/ 78 h 78"/>
                  <a:gd name="T42" fmla="*/ 4 w 52"/>
                  <a:gd name="T43" fmla="*/ 78 h 78"/>
                  <a:gd name="T44" fmla="*/ 2 w 52"/>
                  <a:gd name="T45" fmla="*/ 77 h 78"/>
                  <a:gd name="T46" fmla="*/ 2 w 52"/>
                  <a:gd name="T47" fmla="*/ 75 h 78"/>
                  <a:gd name="T48" fmla="*/ 1 w 52"/>
                  <a:gd name="T49" fmla="*/ 73 h 78"/>
                  <a:gd name="T50" fmla="*/ 0 w 52"/>
                  <a:gd name="T51" fmla="*/ 69 h 78"/>
                  <a:gd name="T52" fmla="*/ 1 w 52"/>
                  <a:gd name="T53" fmla="*/ 64 h 78"/>
                  <a:gd name="T54" fmla="*/ 3 w 52"/>
                  <a:gd name="T55" fmla="*/ 60 h 78"/>
                  <a:gd name="T56" fmla="*/ 7 w 52"/>
                  <a:gd name="T57" fmla="*/ 56 h 78"/>
                  <a:gd name="T58" fmla="*/ 17 w 52"/>
                  <a:gd name="T59" fmla="*/ 47 h 78"/>
                  <a:gd name="T60" fmla="*/ 28 w 52"/>
                  <a:gd name="T61" fmla="*/ 42 h 78"/>
                  <a:gd name="T62" fmla="*/ 24 w 52"/>
                  <a:gd name="T63" fmla="*/ 32 h 78"/>
                  <a:gd name="T64" fmla="*/ 21 w 52"/>
                  <a:gd name="T65" fmla="*/ 21 h 78"/>
                  <a:gd name="T66" fmla="*/ 18 w 52"/>
                  <a:gd name="T67" fmla="*/ 10 h 78"/>
                  <a:gd name="T68" fmla="*/ 14 w 52"/>
                  <a:gd name="T6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2" h="78">
                    <a:moveTo>
                      <a:pt x="14" y="0"/>
                    </a:moveTo>
                    <a:lnTo>
                      <a:pt x="20" y="0"/>
                    </a:lnTo>
                    <a:lnTo>
                      <a:pt x="25" y="2"/>
                    </a:lnTo>
                    <a:lnTo>
                      <a:pt x="30" y="6"/>
                    </a:lnTo>
                    <a:lnTo>
                      <a:pt x="36" y="9"/>
                    </a:lnTo>
                    <a:lnTo>
                      <a:pt x="40" y="13"/>
                    </a:lnTo>
                    <a:lnTo>
                      <a:pt x="45" y="17"/>
                    </a:lnTo>
                    <a:lnTo>
                      <a:pt x="47" y="21"/>
                    </a:lnTo>
                    <a:lnTo>
                      <a:pt x="48" y="24"/>
                    </a:lnTo>
                    <a:lnTo>
                      <a:pt x="51" y="34"/>
                    </a:lnTo>
                    <a:lnTo>
                      <a:pt x="52" y="41"/>
                    </a:lnTo>
                    <a:lnTo>
                      <a:pt x="51" y="46"/>
                    </a:lnTo>
                    <a:lnTo>
                      <a:pt x="49" y="50"/>
                    </a:lnTo>
                    <a:lnTo>
                      <a:pt x="47" y="54"/>
                    </a:lnTo>
                    <a:lnTo>
                      <a:pt x="44" y="60"/>
                    </a:lnTo>
                    <a:lnTo>
                      <a:pt x="41" y="65"/>
                    </a:lnTo>
                    <a:lnTo>
                      <a:pt x="41" y="73"/>
                    </a:lnTo>
                    <a:lnTo>
                      <a:pt x="29" y="75"/>
                    </a:lnTo>
                    <a:lnTo>
                      <a:pt x="16" y="78"/>
                    </a:lnTo>
                    <a:lnTo>
                      <a:pt x="11" y="78"/>
                    </a:lnTo>
                    <a:lnTo>
                      <a:pt x="5" y="78"/>
                    </a:lnTo>
                    <a:lnTo>
                      <a:pt x="4" y="78"/>
                    </a:lnTo>
                    <a:lnTo>
                      <a:pt x="2" y="77"/>
                    </a:lnTo>
                    <a:lnTo>
                      <a:pt x="2" y="75"/>
                    </a:lnTo>
                    <a:lnTo>
                      <a:pt x="1" y="73"/>
                    </a:lnTo>
                    <a:lnTo>
                      <a:pt x="0" y="69"/>
                    </a:lnTo>
                    <a:lnTo>
                      <a:pt x="1" y="64"/>
                    </a:lnTo>
                    <a:lnTo>
                      <a:pt x="3" y="60"/>
                    </a:lnTo>
                    <a:lnTo>
                      <a:pt x="7" y="56"/>
                    </a:lnTo>
                    <a:lnTo>
                      <a:pt x="17" y="47"/>
                    </a:lnTo>
                    <a:lnTo>
                      <a:pt x="28" y="42"/>
                    </a:lnTo>
                    <a:lnTo>
                      <a:pt x="24" y="32"/>
                    </a:lnTo>
                    <a:lnTo>
                      <a:pt x="21" y="21"/>
                    </a:lnTo>
                    <a:lnTo>
                      <a:pt x="18" y="10"/>
                    </a:lnTo>
                    <a:lnTo>
                      <a:pt x="14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24" name="Freeform 365"/>
              <p:cNvSpPr>
                <a:spLocks/>
              </p:cNvSpPr>
              <p:nvPr/>
            </p:nvSpPr>
            <p:spPr bwMode="auto">
              <a:xfrm>
                <a:off x="912" y="2666"/>
                <a:ext cx="9" cy="10"/>
              </a:xfrm>
              <a:custGeom>
                <a:avLst/>
                <a:gdLst>
                  <a:gd name="T0" fmla="*/ 13 w 33"/>
                  <a:gd name="T1" fmla="*/ 6 h 30"/>
                  <a:gd name="T2" fmla="*/ 0 w 33"/>
                  <a:gd name="T3" fmla="*/ 24 h 30"/>
                  <a:gd name="T4" fmla="*/ 7 w 33"/>
                  <a:gd name="T5" fmla="*/ 25 h 30"/>
                  <a:gd name="T6" fmla="*/ 15 w 33"/>
                  <a:gd name="T7" fmla="*/ 27 h 30"/>
                  <a:gd name="T8" fmla="*/ 23 w 33"/>
                  <a:gd name="T9" fmla="*/ 29 h 30"/>
                  <a:gd name="T10" fmla="*/ 33 w 33"/>
                  <a:gd name="T11" fmla="*/ 30 h 30"/>
                  <a:gd name="T12" fmla="*/ 33 w 33"/>
                  <a:gd name="T13" fmla="*/ 0 h 30"/>
                  <a:gd name="T14" fmla="*/ 20 w 33"/>
                  <a:gd name="T15" fmla="*/ 0 h 30"/>
                  <a:gd name="T16" fmla="*/ 13 w 33"/>
                  <a:gd name="T17" fmla="*/ 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0">
                    <a:moveTo>
                      <a:pt x="13" y="6"/>
                    </a:moveTo>
                    <a:lnTo>
                      <a:pt x="0" y="24"/>
                    </a:lnTo>
                    <a:lnTo>
                      <a:pt x="7" y="25"/>
                    </a:lnTo>
                    <a:lnTo>
                      <a:pt x="15" y="27"/>
                    </a:lnTo>
                    <a:lnTo>
                      <a:pt x="23" y="29"/>
                    </a:lnTo>
                    <a:lnTo>
                      <a:pt x="33" y="30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</p:grpSp>
        <p:sp>
          <p:nvSpPr>
            <p:cNvPr id="25882" name="Freeform 366"/>
            <p:cNvSpPr>
              <a:spLocks/>
            </p:cNvSpPr>
            <p:nvPr>
              <p:custDataLst>
                <p:tags r:id="rId267"/>
              </p:custDataLst>
            </p:nvPr>
          </p:nvSpPr>
          <p:spPr bwMode="auto">
            <a:xfrm>
              <a:off x="7472994" y="5010589"/>
              <a:ext cx="19050" cy="58738"/>
            </a:xfrm>
            <a:custGeom>
              <a:avLst/>
              <a:gdLst>
                <a:gd name="T0" fmla="*/ 2147483647 w 47"/>
                <a:gd name="T1" fmla="*/ 0 h 28"/>
                <a:gd name="T2" fmla="*/ 2147483647 w 47"/>
                <a:gd name="T3" fmla="*/ 0 h 28"/>
                <a:gd name="T4" fmla="*/ 2147483647 w 47"/>
                <a:gd name="T5" fmla="*/ 2147483647 h 28"/>
                <a:gd name="T6" fmla="*/ 2147483647 w 47"/>
                <a:gd name="T7" fmla="*/ 2147483647 h 28"/>
                <a:gd name="T8" fmla="*/ 2147483647 w 47"/>
                <a:gd name="T9" fmla="*/ 2147483647 h 28"/>
                <a:gd name="T10" fmla="*/ 2147483647 w 47"/>
                <a:gd name="T11" fmla="*/ 2147483647 h 28"/>
                <a:gd name="T12" fmla="*/ 2147483647 w 47"/>
                <a:gd name="T13" fmla="*/ 2147483647 h 28"/>
                <a:gd name="T14" fmla="*/ 2147483647 w 47"/>
                <a:gd name="T15" fmla="*/ 2147483647 h 28"/>
                <a:gd name="T16" fmla="*/ 2147483647 w 47"/>
                <a:gd name="T17" fmla="*/ 2147483647 h 28"/>
                <a:gd name="T18" fmla="*/ 2147483647 w 47"/>
                <a:gd name="T19" fmla="*/ 2147483647 h 28"/>
                <a:gd name="T20" fmla="*/ 2147483647 w 47"/>
                <a:gd name="T21" fmla="*/ 2147483647 h 28"/>
                <a:gd name="T22" fmla="*/ 2147483647 w 47"/>
                <a:gd name="T23" fmla="*/ 2147483647 h 28"/>
                <a:gd name="T24" fmla="*/ 2147483647 w 47"/>
                <a:gd name="T25" fmla="*/ 2147483647 h 28"/>
                <a:gd name="T26" fmla="*/ 2147483647 w 47"/>
                <a:gd name="T27" fmla="*/ 2147483647 h 28"/>
                <a:gd name="T28" fmla="*/ 0 w 47"/>
                <a:gd name="T29" fmla="*/ 2147483647 h 28"/>
                <a:gd name="T30" fmla="*/ 2147483647 w 47"/>
                <a:gd name="T31" fmla="*/ 2147483647 h 28"/>
                <a:gd name="T32" fmla="*/ 2147483647 w 47"/>
                <a:gd name="T33" fmla="*/ 2147483647 h 28"/>
                <a:gd name="T34" fmla="*/ 2147483647 w 47"/>
                <a:gd name="T35" fmla="*/ 2147483647 h 28"/>
                <a:gd name="T36" fmla="*/ 2147483647 w 47"/>
                <a:gd name="T37" fmla="*/ 2147483647 h 28"/>
                <a:gd name="T38" fmla="*/ 2147483647 w 47"/>
                <a:gd name="T39" fmla="*/ 2147483647 h 28"/>
                <a:gd name="T40" fmla="*/ 2147483647 w 47"/>
                <a:gd name="T41" fmla="*/ 2147483647 h 28"/>
                <a:gd name="T42" fmla="*/ 2147483647 w 47"/>
                <a:gd name="T43" fmla="*/ 2147483647 h 28"/>
                <a:gd name="T44" fmla="*/ 2147483647 w 47"/>
                <a:gd name="T45" fmla="*/ 0 h 2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7" h="28">
                  <a:moveTo>
                    <a:pt x="13" y="0"/>
                  </a:moveTo>
                  <a:lnTo>
                    <a:pt x="25" y="0"/>
                  </a:lnTo>
                  <a:lnTo>
                    <a:pt x="31" y="2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2" y="8"/>
                  </a:lnTo>
                  <a:lnTo>
                    <a:pt x="33" y="10"/>
                  </a:lnTo>
                  <a:lnTo>
                    <a:pt x="37" y="12"/>
                  </a:lnTo>
                  <a:lnTo>
                    <a:pt x="47" y="12"/>
                  </a:lnTo>
                  <a:lnTo>
                    <a:pt x="42" y="19"/>
                  </a:lnTo>
                  <a:lnTo>
                    <a:pt x="37" y="25"/>
                  </a:lnTo>
                  <a:lnTo>
                    <a:pt x="33" y="27"/>
                  </a:lnTo>
                  <a:lnTo>
                    <a:pt x="28" y="28"/>
                  </a:lnTo>
                  <a:lnTo>
                    <a:pt x="16" y="27"/>
                  </a:lnTo>
                  <a:lnTo>
                    <a:pt x="0" y="25"/>
                  </a:lnTo>
                  <a:lnTo>
                    <a:pt x="1" y="19"/>
                  </a:lnTo>
                  <a:lnTo>
                    <a:pt x="2" y="15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3" y="5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83" name="Freeform 367"/>
            <p:cNvSpPr>
              <a:spLocks/>
            </p:cNvSpPr>
            <p:nvPr>
              <p:custDataLst>
                <p:tags r:id="rId268"/>
              </p:custDataLst>
            </p:nvPr>
          </p:nvSpPr>
          <p:spPr bwMode="auto">
            <a:xfrm>
              <a:off x="7444419" y="5037577"/>
              <a:ext cx="23813" cy="57150"/>
            </a:xfrm>
            <a:custGeom>
              <a:avLst/>
              <a:gdLst>
                <a:gd name="T0" fmla="*/ 2147483647 w 53"/>
                <a:gd name="T1" fmla="*/ 0 h 33"/>
                <a:gd name="T2" fmla="*/ 2147483647 w 53"/>
                <a:gd name="T3" fmla="*/ 2147483647 h 33"/>
                <a:gd name="T4" fmla="*/ 2147483647 w 53"/>
                <a:gd name="T5" fmla="*/ 2147483647 h 33"/>
                <a:gd name="T6" fmla="*/ 2147483647 w 53"/>
                <a:gd name="T7" fmla="*/ 2147483647 h 33"/>
                <a:gd name="T8" fmla="*/ 2147483647 w 53"/>
                <a:gd name="T9" fmla="*/ 2147483647 h 33"/>
                <a:gd name="T10" fmla="*/ 2147483647 w 53"/>
                <a:gd name="T11" fmla="*/ 2147483647 h 33"/>
                <a:gd name="T12" fmla="*/ 2147483647 w 53"/>
                <a:gd name="T13" fmla="*/ 2147483647 h 33"/>
                <a:gd name="T14" fmla="*/ 2147483647 w 53"/>
                <a:gd name="T15" fmla="*/ 2147483647 h 33"/>
                <a:gd name="T16" fmla="*/ 2147483647 w 53"/>
                <a:gd name="T17" fmla="*/ 2147483647 h 33"/>
                <a:gd name="T18" fmla="*/ 2147483647 w 53"/>
                <a:gd name="T19" fmla="*/ 2147483647 h 33"/>
                <a:gd name="T20" fmla="*/ 2147483647 w 53"/>
                <a:gd name="T21" fmla="*/ 2147483647 h 33"/>
                <a:gd name="T22" fmla="*/ 2147483647 w 53"/>
                <a:gd name="T23" fmla="*/ 2147483647 h 33"/>
                <a:gd name="T24" fmla="*/ 2147483647 w 53"/>
                <a:gd name="T25" fmla="*/ 2147483647 h 33"/>
                <a:gd name="T26" fmla="*/ 2147483647 w 53"/>
                <a:gd name="T27" fmla="*/ 2147483647 h 33"/>
                <a:gd name="T28" fmla="*/ 2147483647 w 53"/>
                <a:gd name="T29" fmla="*/ 2147483647 h 33"/>
                <a:gd name="T30" fmla="*/ 2147483647 w 53"/>
                <a:gd name="T31" fmla="*/ 2147483647 h 33"/>
                <a:gd name="T32" fmla="*/ 0 w 53"/>
                <a:gd name="T33" fmla="*/ 2147483647 h 33"/>
                <a:gd name="T34" fmla="*/ 0 w 53"/>
                <a:gd name="T35" fmla="*/ 2147483647 h 33"/>
                <a:gd name="T36" fmla="*/ 2147483647 w 53"/>
                <a:gd name="T37" fmla="*/ 2147483647 h 33"/>
                <a:gd name="T38" fmla="*/ 2147483647 w 53"/>
                <a:gd name="T39" fmla="*/ 2147483647 h 33"/>
                <a:gd name="T40" fmla="*/ 2147483647 w 53"/>
                <a:gd name="T41" fmla="*/ 2147483647 h 33"/>
                <a:gd name="T42" fmla="*/ 2147483647 w 53"/>
                <a:gd name="T43" fmla="*/ 2147483647 h 33"/>
                <a:gd name="T44" fmla="*/ 2147483647 w 53"/>
                <a:gd name="T45" fmla="*/ 2147483647 h 33"/>
                <a:gd name="T46" fmla="*/ 2147483647 w 53"/>
                <a:gd name="T47" fmla="*/ 2147483647 h 33"/>
                <a:gd name="T48" fmla="*/ 2147483647 w 53"/>
                <a:gd name="T49" fmla="*/ 0 h 3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53" h="33">
                  <a:moveTo>
                    <a:pt x="13" y="0"/>
                  </a:moveTo>
                  <a:lnTo>
                    <a:pt x="26" y="1"/>
                  </a:lnTo>
                  <a:lnTo>
                    <a:pt x="34" y="1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9" y="8"/>
                  </a:lnTo>
                  <a:lnTo>
                    <a:pt x="44" y="10"/>
                  </a:lnTo>
                  <a:lnTo>
                    <a:pt x="53" y="12"/>
                  </a:lnTo>
                  <a:lnTo>
                    <a:pt x="48" y="22"/>
                  </a:lnTo>
                  <a:lnTo>
                    <a:pt x="44" y="28"/>
                  </a:lnTo>
                  <a:lnTo>
                    <a:pt x="42" y="31"/>
                  </a:lnTo>
                  <a:lnTo>
                    <a:pt x="38" y="32"/>
                  </a:lnTo>
                  <a:lnTo>
                    <a:pt x="36" y="33"/>
                  </a:lnTo>
                  <a:lnTo>
                    <a:pt x="34" y="33"/>
                  </a:lnTo>
                  <a:lnTo>
                    <a:pt x="20" y="30"/>
                  </a:lnTo>
                  <a:lnTo>
                    <a:pt x="0" y="24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4" y="14"/>
                  </a:lnTo>
                  <a:lnTo>
                    <a:pt x="7" y="12"/>
                  </a:lnTo>
                  <a:lnTo>
                    <a:pt x="9" y="11"/>
                  </a:lnTo>
                  <a:lnTo>
                    <a:pt x="11" y="9"/>
                  </a:lnTo>
                  <a:lnTo>
                    <a:pt x="12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25884" name="Group 368"/>
            <p:cNvGrpSpPr>
              <a:grpSpLocks/>
            </p:cNvGrpSpPr>
            <p:nvPr>
              <p:custDataLst>
                <p:tags r:id="rId269"/>
              </p:custDataLst>
            </p:nvPr>
          </p:nvGrpSpPr>
          <p:grpSpPr bwMode="auto">
            <a:xfrm>
              <a:off x="7285669" y="4529577"/>
              <a:ext cx="168275" cy="103187"/>
              <a:chOff x="3481" y="2773"/>
              <a:chExt cx="125" cy="65"/>
            </a:xfrm>
          </p:grpSpPr>
          <p:sp>
            <p:nvSpPr>
              <p:cNvPr id="25999" name="Freeform 36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0" name="Line 370"/>
              <p:cNvSpPr>
                <a:spLocks noChangeShapeType="1"/>
              </p:cNvSpPr>
              <p:nvPr/>
            </p:nvSpPr>
            <p:spPr bwMode="auto">
              <a:xfrm>
                <a:off x="3583" y="2800"/>
                <a:ext cx="2" cy="1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1" name="Freeform 371"/>
              <p:cNvSpPr>
                <a:spLocks/>
              </p:cNvSpPr>
              <p:nvPr/>
            </p:nvSpPr>
            <p:spPr bwMode="auto">
              <a:xfrm>
                <a:off x="3554" y="2819"/>
                <a:ext cx="5" cy="6"/>
              </a:xfrm>
              <a:custGeom>
                <a:avLst/>
                <a:gdLst>
                  <a:gd name="T0" fmla="*/ 0 w 14"/>
                  <a:gd name="T1" fmla="*/ 0 h 19"/>
                  <a:gd name="T2" fmla="*/ 0 w 14"/>
                  <a:gd name="T3" fmla="*/ 0 h 19"/>
                  <a:gd name="T4" fmla="*/ 0 w 14"/>
                  <a:gd name="T5" fmla="*/ 0 h 19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9">
                    <a:moveTo>
                      <a:pt x="14" y="19"/>
                    </a:moveTo>
                    <a:lnTo>
                      <a:pt x="0" y="0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2" name="Freeform 372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3" name="Freeform 373"/>
              <p:cNvSpPr>
                <a:spLocks/>
              </p:cNvSpPr>
              <p:nvPr/>
            </p:nvSpPr>
            <p:spPr bwMode="auto">
              <a:xfrm>
                <a:off x="3599" y="2773"/>
                <a:ext cx="7" cy="4"/>
              </a:xfrm>
              <a:custGeom>
                <a:avLst/>
                <a:gdLst>
                  <a:gd name="T0" fmla="*/ 0 w 20"/>
                  <a:gd name="T1" fmla="*/ 0 h 12"/>
                  <a:gd name="T2" fmla="*/ 0 w 20"/>
                  <a:gd name="T3" fmla="*/ 0 h 12"/>
                  <a:gd name="T4" fmla="*/ 0 w 20"/>
                  <a:gd name="T5" fmla="*/ 0 h 12"/>
                  <a:gd name="T6" fmla="*/ 0 w 20"/>
                  <a:gd name="T7" fmla="*/ 0 h 12"/>
                  <a:gd name="T8" fmla="*/ 0 w 20"/>
                  <a:gd name="T9" fmla="*/ 0 h 12"/>
                  <a:gd name="T10" fmla="*/ 0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10" y="9"/>
                    </a:lnTo>
                    <a:lnTo>
                      <a:pt x="0" y="6"/>
                    </a:lnTo>
                    <a:lnTo>
                      <a:pt x="1" y="5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4" name="Line 374"/>
              <p:cNvSpPr>
                <a:spLocks noChangeShapeType="1"/>
              </p:cNvSpPr>
              <p:nvPr/>
            </p:nvSpPr>
            <p:spPr bwMode="auto">
              <a:xfrm>
                <a:off x="3603" y="2773"/>
                <a:ext cx="1" cy="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5" name="Freeform 375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6" name="Freeform 376"/>
              <p:cNvSpPr>
                <a:spLocks/>
              </p:cNvSpPr>
              <p:nvPr/>
            </p:nvSpPr>
            <p:spPr bwMode="auto">
              <a:xfrm>
                <a:off x="3485" y="2830"/>
                <a:ext cx="3" cy="4"/>
              </a:xfrm>
              <a:custGeom>
                <a:avLst/>
                <a:gdLst>
                  <a:gd name="T0" fmla="*/ 0 w 7"/>
                  <a:gd name="T1" fmla="*/ 0 h 12"/>
                  <a:gd name="T2" fmla="*/ 0 w 7"/>
                  <a:gd name="T3" fmla="*/ 0 h 12"/>
                  <a:gd name="T4" fmla="*/ 0 w 7"/>
                  <a:gd name="T5" fmla="*/ 0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7" y="12"/>
                    </a:moveTo>
                    <a:lnTo>
                      <a:pt x="4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7" name="Freeform 377"/>
              <p:cNvSpPr>
                <a:spLocks/>
              </p:cNvSpPr>
              <p:nvPr/>
            </p:nvSpPr>
            <p:spPr bwMode="auto">
              <a:xfrm>
                <a:off x="3481" y="2828"/>
                <a:ext cx="7" cy="6"/>
              </a:xfrm>
              <a:custGeom>
                <a:avLst/>
                <a:gdLst>
                  <a:gd name="T0" fmla="*/ 0 w 20"/>
                  <a:gd name="T1" fmla="*/ 0 h 18"/>
                  <a:gd name="T2" fmla="*/ 0 w 20"/>
                  <a:gd name="T3" fmla="*/ 0 h 18"/>
                  <a:gd name="T4" fmla="*/ 0 w 20"/>
                  <a:gd name="T5" fmla="*/ 0 h 18"/>
                  <a:gd name="T6" fmla="*/ 0 w 20"/>
                  <a:gd name="T7" fmla="*/ 0 h 18"/>
                  <a:gd name="T8" fmla="*/ 0 w 20"/>
                  <a:gd name="T9" fmla="*/ 0 h 18"/>
                  <a:gd name="T10" fmla="*/ 0 w 20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0" y="18"/>
                    </a:lnTo>
                    <a:lnTo>
                      <a:pt x="20" y="18"/>
                    </a:lnTo>
                    <a:lnTo>
                      <a:pt x="17" y="12"/>
                    </a:lnTo>
                    <a:lnTo>
                      <a:pt x="13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8" name="Freeform 378"/>
              <p:cNvSpPr>
                <a:spLocks/>
              </p:cNvSpPr>
              <p:nvPr/>
            </p:nvSpPr>
            <p:spPr bwMode="auto">
              <a:xfrm>
                <a:off x="3528" y="2832"/>
                <a:ext cx="2" cy="6"/>
              </a:xfrm>
              <a:custGeom>
                <a:avLst/>
                <a:gdLst>
                  <a:gd name="T0" fmla="*/ 0 w 7"/>
                  <a:gd name="T1" fmla="*/ 0 h 18"/>
                  <a:gd name="T2" fmla="*/ 0 w 7"/>
                  <a:gd name="T3" fmla="*/ 0 h 18"/>
                  <a:gd name="T4" fmla="*/ 0 w 7"/>
                  <a:gd name="T5" fmla="*/ 0 h 18"/>
                  <a:gd name="T6" fmla="*/ 0 w 7"/>
                  <a:gd name="T7" fmla="*/ 0 h 18"/>
                  <a:gd name="T8" fmla="*/ 0 w 7"/>
                  <a:gd name="T9" fmla="*/ 0 h 18"/>
                  <a:gd name="T10" fmla="*/ 0 w 7"/>
                  <a:gd name="T11" fmla="*/ 0 h 1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7" h="18">
                    <a:moveTo>
                      <a:pt x="0" y="6"/>
                    </a:moveTo>
                    <a:lnTo>
                      <a:pt x="7" y="1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6009" name="Freeform 379"/>
              <p:cNvSpPr>
                <a:spLocks/>
              </p:cNvSpPr>
              <p:nvPr/>
            </p:nvSpPr>
            <p:spPr bwMode="auto">
              <a:xfrm>
                <a:off x="3583" y="2798"/>
                <a:ext cx="5" cy="6"/>
              </a:xfrm>
              <a:custGeom>
                <a:avLst/>
                <a:gdLst>
                  <a:gd name="T0" fmla="*/ 0 w 13"/>
                  <a:gd name="T1" fmla="*/ 0 h 18"/>
                  <a:gd name="T2" fmla="*/ 0 w 13"/>
                  <a:gd name="T3" fmla="*/ 0 h 18"/>
                  <a:gd name="T4" fmla="*/ 0 w 13"/>
                  <a:gd name="T5" fmla="*/ 0 h 18"/>
                  <a:gd name="T6" fmla="*/ 0 w 13"/>
                  <a:gd name="T7" fmla="*/ 0 h 18"/>
                  <a:gd name="T8" fmla="*/ 0 w 13"/>
                  <a:gd name="T9" fmla="*/ 0 h 18"/>
                  <a:gd name="T10" fmla="*/ 0 w 13"/>
                  <a:gd name="T11" fmla="*/ 0 h 18"/>
                  <a:gd name="T12" fmla="*/ 0 w 13"/>
                  <a:gd name="T13" fmla="*/ 0 h 18"/>
                  <a:gd name="T14" fmla="*/ 0 w 13"/>
                  <a:gd name="T15" fmla="*/ 0 h 18"/>
                  <a:gd name="T16" fmla="*/ 0 w 13"/>
                  <a:gd name="T17" fmla="*/ 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3" h="18">
                    <a:moveTo>
                      <a:pt x="13" y="0"/>
                    </a:moveTo>
                    <a:lnTo>
                      <a:pt x="10" y="9"/>
                    </a:lnTo>
                    <a:lnTo>
                      <a:pt x="6" y="18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1" y="1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  <p:sp>
          <p:nvSpPr>
            <p:cNvPr id="25885" name="Freeform 380"/>
            <p:cNvSpPr>
              <a:spLocks/>
            </p:cNvSpPr>
            <p:nvPr>
              <p:custDataLst>
                <p:tags r:id="rId270"/>
              </p:custDataLst>
            </p:nvPr>
          </p:nvSpPr>
          <p:spPr bwMode="auto">
            <a:xfrm>
              <a:off x="6414132" y="4521639"/>
              <a:ext cx="319087" cy="379413"/>
            </a:xfrm>
            <a:custGeom>
              <a:avLst/>
              <a:gdLst>
                <a:gd name="T0" fmla="*/ 2147483647 w 736"/>
                <a:gd name="T1" fmla="*/ 2147483647 h 721"/>
                <a:gd name="T2" fmla="*/ 2147483647 w 736"/>
                <a:gd name="T3" fmla="*/ 2147483647 h 721"/>
                <a:gd name="T4" fmla="*/ 2147483647 w 736"/>
                <a:gd name="T5" fmla="*/ 2147483647 h 721"/>
                <a:gd name="T6" fmla="*/ 2147483647 w 736"/>
                <a:gd name="T7" fmla="*/ 2147483647 h 721"/>
                <a:gd name="T8" fmla="*/ 2147483647 w 736"/>
                <a:gd name="T9" fmla="*/ 2147483647 h 721"/>
                <a:gd name="T10" fmla="*/ 2147483647 w 736"/>
                <a:gd name="T11" fmla="*/ 2147483647 h 721"/>
                <a:gd name="T12" fmla="*/ 2147483647 w 736"/>
                <a:gd name="T13" fmla="*/ 2147483647 h 721"/>
                <a:gd name="T14" fmla="*/ 2147483647 w 736"/>
                <a:gd name="T15" fmla="*/ 2147483647 h 721"/>
                <a:gd name="T16" fmla="*/ 2147483647 w 736"/>
                <a:gd name="T17" fmla="*/ 2147483647 h 721"/>
                <a:gd name="T18" fmla="*/ 2147483647 w 736"/>
                <a:gd name="T19" fmla="*/ 2147483647 h 721"/>
                <a:gd name="T20" fmla="*/ 2147483647 w 736"/>
                <a:gd name="T21" fmla="*/ 2147483647 h 721"/>
                <a:gd name="T22" fmla="*/ 2147483647 w 736"/>
                <a:gd name="T23" fmla="*/ 2147483647 h 721"/>
                <a:gd name="T24" fmla="*/ 2147483647 w 736"/>
                <a:gd name="T25" fmla="*/ 2147483647 h 721"/>
                <a:gd name="T26" fmla="*/ 2147483647 w 736"/>
                <a:gd name="T27" fmla="*/ 2147483647 h 721"/>
                <a:gd name="T28" fmla="*/ 2147483647 w 736"/>
                <a:gd name="T29" fmla="*/ 2147483647 h 721"/>
                <a:gd name="T30" fmla="*/ 2147483647 w 736"/>
                <a:gd name="T31" fmla="*/ 2147483647 h 721"/>
                <a:gd name="T32" fmla="*/ 2147483647 w 736"/>
                <a:gd name="T33" fmla="*/ 2147483647 h 721"/>
                <a:gd name="T34" fmla="*/ 2147483647 w 736"/>
                <a:gd name="T35" fmla="*/ 2147483647 h 721"/>
                <a:gd name="T36" fmla="*/ 2147483647 w 736"/>
                <a:gd name="T37" fmla="*/ 2147483647 h 721"/>
                <a:gd name="T38" fmla="*/ 2147483647 w 736"/>
                <a:gd name="T39" fmla="*/ 2147483647 h 721"/>
                <a:gd name="T40" fmla="*/ 2147483647 w 736"/>
                <a:gd name="T41" fmla="*/ 2147483647 h 721"/>
                <a:gd name="T42" fmla="*/ 2147483647 w 736"/>
                <a:gd name="T43" fmla="*/ 2147483647 h 721"/>
                <a:gd name="T44" fmla="*/ 2147483647 w 736"/>
                <a:gd name="T45" fmla="*/ 2147483647 h 721"/>
                <a:gd name="T46" fmla="*/ 2147483647 w 736"/>
                <a:gd name="T47" fmla="*/ 2147483647 h 721"/>
                <a:gd name="T48" fmla="*/ 2147483647 w 736"/>
                <a:gd name="T49" fmla="*/ 2147483647 h 721"/>
                <a:gd name="T50" fmla="*/ 2147483647 w 736"/>
                <a:gd name="T51" fmla="*/ 2147483647 h 721"/>
                <a:gd name="T52" fmla="*/ 2147483647 w 736"/>
                <a:gd name="T53" fmla="*/ 2147483647 h 721"/>
                <a:gd name="T54" fmla="*/ 2147483647 w 736"/>
                <a:gd name="T55" fmla="*/ 2147483647 h 721"/>
                <a:gd name="T56" fmla="*/ 2147483647 w 736"/>
                <a:gd name="T57" fmla="*/ 2147483647 h 721"/>
                <a:gd name="T58" fmla="*/ 2147483647 w 736"/>
                <a:gd name="T59" fmla="*/ 2147483647 h 721"/>
                <a:gd name="T60" fmla="*/ 2147483647 w 736"/>
                <a:gd name="T61" fmla="*/ 2147483647 h 721"/>
                <a:gd name="T62" fmla="*/ 2147483647 w 736"/>
                <a:gd name="T63" fmla="*/ 2147483647 h 721"/>
                <a:gd name="T64" fmla="*/ 2147483647 w 736"/>
                <a:gd name="T65" fmla="*/ 2147483647 h 721"/>
                <a:gd name="T66" fmla="*/ 2147483647 w 736"/>
                <a:gd name="T67" fmla="*/ 0 h 721"/>
                <a:gd name="T68" fmla="*/ 2147483647 w 736"/>
                <a:gd name="T69" fmla="*/ 2147483647 h 721"/>
                <a:gd name="T70" fmla="*/ 2147483647 w 736"/>
                <a:gd name="T71" fmla="*/ 2147483647 h 721"/>
                <a:gd name="T72" fmla="*/ 2147483647 w 736"/>
                <a:gd name="T73" fmla="*/ 2147483647 h 721"/>
                <a:gd name="T74" fmla="*/ 2147483647 w 736"/>
                <a:gd name="T75" fmla="*/ 2147483647 h 721"/>
                <a:gd name="T76" fmla="*/ 2147483647 w 736"/>
                <a:gd name="T77" fmla="*/ 2147483647 h 721"/>
                <a:gd name="T78" fmla="*/ 2147483647 w 736"/>
                <a:gd name="T79" fmla="*/ 2147483647 h 721"/>
                <a:gd name="T80" fmla="*/ 2147483647 w 736"/>
                <a:gd name="T81" fmla="*/ 2147483647 h 721"/>
                <a:gd name="T82" fmla="*/ 2147483647 w 736"/>
                <a:gd name="T83" fmla="*/ 2147483647 h 721"/>
                <a:gd name="T84" fmla="*/ 2147483647 w 736"/>
                <a:gd name="T85" fmla="*/ 2147483647 h 721"/>
                <a:gd name="T86" fmla="*/ 2147483647 w 736"/>
                <a:gd name="T87" fmla="*/ 2147483647 h 721"/>
                <a:gd name="T88" fmla="*/ 2147483647 w 736"/>
                <a:gd name="T89" fmla="*/ 2147483647 h 721"/>
                <a:gd name="T90" fmla="*/ 2147483647 w 736"/>
                <a:gd name="T91" fmla="*/ 2147483647 h 721"/>
                <a:gd name="T92" fmla="*/ 2147483647 w 736"/>
                <a:gd name="T93" fmla="*/ 2147483647 h 721"/>
                <a:gd name="T94" fmla="*/ 2147483647 w 736"/>
                <a:gd name="T95" fmla="*/ 2147483647 h 721"/>
                <a:gd name="T96" fmla="*/ 2147483647 w 736"/>
                <a:gd name="T97" fmla="*/ 2147483647 h 721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736" h="721">
                  <a:moveTo>
                    <a:pt x="0" y="691"/>
                  </a:moveTo>
                  <a:lnTo>
                    <a:pt x="46" y="697"/>
                  </a:lnTo>
                  <a:lnTo>
                    <a:pt x="53" y="690"/>
                  </a:lnTo>
                  <a:lnTo>
                    <a:pt x="60" y="685"/>
                  </a:lnTo>
                  <a:lnTo>
                    <a:pt x="68" y="679"/>
                  </a:lnTo>
                  <a:lnTo>
                    <a:pt x="75" y="674"/>
                  </a:lnTo>
                  <a:lnTo>
                    <a:pt x="83" y="671"/>
                  </a:lnTo>
                  <a:lnTo>
                    <a:pt x="91" y="668"/>
                  </a:lnTo>
                  <a:lnTo>
                    <a:pt x="97" y="666"/>
                  </a:lnTo>
                  <a:lnTo>
                    <a:pt x="105" y="666"/>
                  </a:lnTo>
                  <a:lnTo>
                    <a:pt x="116" y="666"/>
                  </a:lnTo>
                  <a:lnTo>
                    <a:pt x="126" y="668"/>
                  </a:lnTo>
                  <a:lnTo>
                    <a:pt x="137" y="671"/>
                  </a:lnTo>
                  <a:lnTo>
                    <a:pt x="149" y="674"/>
                  </a:lnTo>
                  <a:lnTo>
                    <a:pt x="172" y="683"/>
                  </a:lnTo>
                  <a:lnTo>
                    <a:pt x="196" y="692"/>
                  </a:lnTo>
                  <a:lnTo>
                    <a:pt x="208" y="696"/>
                  </a:lnTo>
                  <a:lnTo>
                    <a:pt x="220" y="700"/>
                  </a:lnTo>
                  <a:lnTo>
                    <a:pt x="232" y="703"/>
                  </a:lnTo>
                  <a:lnTo>
                    <a:pt x="245" y="705"/>
                  </a:lnTo>
                  <a:lnTo>
                    <a:pt x="257" y="706"/>
                  </a:lnTo>
                  <a:lnTo>
                    <a:pt x="269" y="707"/>
                  </a:lnTo>
                  <a:lnTo>
                    <a:pt x="280" y="706"/>
                  </a:lnTo>
                  <a:lnTo>
                    <a:pt x="292" y="703"/>
                  </a:lnTo>
                  <a:lnTo>
                    <a:pt x="411" y="703"/>
                  </a:lnTo>
                  <a:lnTo>
                    <a:pt x="411" y="721"/>
                  </a:lnTo>
                  <a:lnTo>
                    <a:pt x="604" y="721"/>
                  </a:lnTo>
                  <a:lnTo>
                    <a:pt x="611" y="717"/>
                  </a:lnTo>
                  <a:lnTo>
                    <a:pt x="619" y="714"/>
                  </a:lnTo>
                  <a:lnTo>
                    <a:pt x="627" y="712"/>
                  </a:lnTo>
                  <a:lnTo>
                    <a:pt x="634" y="710"/>
                  </a:lnTo>
                  <a:lnTo>
                    <a:pt x="651" y="707"/>
                  </a:lnTo>
                  <a:lnTo>
                    <a:pt x="671" y="703"/>
                  </a:lnTo>
                  <a:lnTo>
                    <a:pt x="658" y="691"/>
                  </a:lnTo>
                  <a:lnTo>
                    <a:pt x="643" y="674"/>
                  </a:lnTo>
                  <a:lnTo>
                    <a:pt x="627" y="657"/>
                  </a:lnTo>
                  <a:lnTo>
                    <a:pt x="610" y="641"/>
                  </a:lnTo>
                  <a:lnTo>
                    <a:pt x="610" y="432"/>
                  </a:lnTo>
                  <a:lnTo>
                    <a:pt x="631" y="433"/>
                  </a:lnTo>
                  <a:lnTo>
                    <a:pt x="664" y="433"/>
                  </a:lnTo>
                  <a:lnTo>
                    <a:pt x="680" y="433"/>
                  </a:lnTo>
                  <a:lnTo>
                    <a:pt x="696" y="432"/>
                  </a:lnTo>
                  <a:lnTo>
                    <a:pt x="703" y="431"/>
                  </a:lnTo>
                  <a:lnTo>
                    <a:pt x="709" y="429"/>
                  </a:lnTo>
                  <a:lnTo>
                    <a:pt x="713" y="428"/>
                  </a:lnTo>
                  <a:lnTo>
                    <a:pt x="717" y="426"/>
                  </a:lnTo>
                  <a:lnTo>
                    <a:pt x="720" y="421"/>
                  </a:lnTo>
                  <a:lnTo>
                    <a:pt x="723" y="416"/>
                  </a:lnTo>
                  <a:lnTo>
                    <a:pt x="725" y="408"/>
                  </a:lnTo>
                  <a:lnTo>
                    <a:pt x="728" y="400"/>
                  </a:lnTo>
                  <a:lnTo>
                    <a:pt x="732" y="380"/>
                  </a:lnTo>
                  <a:lnTo>
                    <a:pt x="734" y="360"/>
                  </a:lnTo>
                  <a:lnTo>
                    <a:pt x="736" y="324"/>
                  </a:lnTo>
                  <a:lnTo>
                    <a:pt x="736" y="309"/>
                  </a:lnTo>
                  <a:lnTo>
                    <a:pt x="728" y="304"/>
                  </a:lnTo>
                  <a:lnTo>
                    <a:pt x="722" y="302"/>
                  </a:lnTo>
                  <a:lnTo>
                    <a:pt x="718" y="302"/>
                  </a:lnTo>
                  <a:lnTo>
                    <a:pt x="714" y="303"/>
                  </a:lnTo>
                  <a:lnTo>
                    <a:pt x="711" y="304"/>
                  </a:lnTo>
                  <a:lnTo>
                    <a:pt x="708" y="304"/>
                  </a:lnTo>
                  <a:lnTo>
                    <a:pt x="703" y="302"/>
                  </a:lnTo>
                  <a:lnTo>
                    <a:pt x="697" y="297"/>
                  </a:lnTo>
                  <a:lnTo>
                    <a:pt x="685" y="298"/>
                  </a:lnTo>
                  <a:lnTo>
                    <a:pt x="676" y="300"/>
                  </a:lnTo>
                  <a:lnTo>
                    <a:pt x="666" y="302"/>
                  </a:lnTo>
                  <a:lnTo>
                    <a:pt x="650" y="303"/>
                  </a:lnTo>
                  <a:lnTo>
                    <a:pt x="641" y="302"/>
                  </a:lnTo>
                  <a:lnTo>
                    <a:pt x="634" y="299"/>
                  </a:lnTo>
                  <a:lnTo>
                    <a:pt x="631" y="298"/>
                  </a:lnTo>
                  <a:lnTo>
                    <a:pt x="628" y="295"/>
                  </a:lnTo>
                  <a:lnTo>
                    <a:pt x="626" y="293"/>
                  </a:lnTo>
                  <a:lnTo>
                    <a:pt x="623" y="290"/>
                  </a:lnTo>
                  <a:lnTo>
                    <a:pt x="620" y="282"/>
                  </a:lnTo>
                  <a:lnTo>
                    <a:pt x="619" y="274"/>
                  </a:lnTo>
                  <a:lnTo>
                    <a:pt x="618" y="264"/>
                  </a:lnTo>
                  <a:lnTo>
                    <a:pt x="617" y="253"/>
                  </a:lnTo>
                  <a:lnTo>
                    <a:pt x="616" y="244"/>
                  </a:lnTo>
                  <a:lnTo>
                    <a:pt x="613" y="236"/>
                  </a:lnTo>
                  <a:lnTo>
                    <a:pt x="610" y="227"/>
                  </a:lnTo>
                  <a:lnTo>
                    <a:pt x="607" y="219"/>
                  </a:lnTo>
                  <a:lnTo>
                    <a:pt x="604" y="211"/>
                  </a:lnTo>
                  <a:lnTo>
                    <a:pt x="600" y="203"/>
                  </a:lnTo>
                  <a:lnTo>
                    <a:pt x="598" y="195"/>
                  </a:lnTo>
                  <a:lnTo>
                    <a:pt x="597" y="186"/>
                  </a:lnTo>
                  <a:lnTo>
                    <a:pt x="598" y="181"/>
                  </a:lnTo>
                  <a:lnTo>
                    <a:pt x="600" y="177"/>
                  </a:lnTo>
                  <a:lnTo>
                    <a:pt x="604" y="171"/>
                  </a:lnTo>
                  <a:lnTo>
                    <a:pt x="607" y="167"/>
                  </a:lnTo>
                  <a:lnTo>
                    <a:pt x="610" y="162"/>
                  </a:lnTo>
                  <a:lnTo>
                    <a:pt x="613" y="157"/>
                  </a:lnTo>
                  <a:lnTo>
                    <a:pt x="616" y="153"/>
                  </a:lnTo>
                  <a:lnTo>
                    <a:pt x="617" y="148"/>
                  </a:lnTo>
                  <a:lnTo>
                    <a:pt x="616" y="136"/>
                  </a:lnTo>
                  <a:lnTo>
                    <a:pt x="612" y="120"/>
                  </a:lnTo>
                  <a:lnTo>
                    <a:pt x="611" y="109"/>
                  </a:lnTo>
                  <a:lnTo>
                    <a:pt x="611" y="100"/>
                  </a:lnTo>
                  <a:lnTo>
                    <a:pt x="613" y="90"/>
                  </a:lnTo>
                  <a:lnTo>
                    <a:pt x="617" y="81"/>
                  </a:lnTo>
                  <a:lnTo>
                    <a:pt x="594" y="77"/>
                  </a:lnTo>
                  <a:lnTo>
                    <a:pt x="544" y="70"/>
                  </a:lnTo>
                  <a:lnTo>
                    <a:pt x="517" y="67"/>
                  </a:lnTo>
                  <a:lnTo>
                    <a:pt x="494" y="66"/>
                  </a:lnTo>
                  <a:lnTo>
                    <a:pt x="484" y="65"/>
                  </a:lnTo>
                  <a:lnTo>
                    <a:pt x="477" y="66"/>
                  </a:lnTo>
                  <a:lnTo>
                    <a:pt x="473" y="67"/>
                  </a:lnTo>
                  <a:lnTo>
                    <a:pt x="471" y="69"/>
                  </a:lnTo>
                  <a:lnTo>
                    <a:pt x="471" y="73"/>
                  </a:lnTo>
                  <a:lnTo>
                    <a:pt x="471" y="81"/>
                  </a:lnTo>
                  <a:lnTo>
                    <a:pt x="470" y="86"/>
                  </a:lnTo>
                  <a:lnTo>
                    <a:pt x="469" y="91"/>
                  </a:lnTo>
                  <a:lnTo>
                    <a:pt x="466" y="96"/>
                  </a:lnTo>
                  <a:lnTo>
                    <a:pt x="463" y="101"/>
                  </a:lnTo>
                  <a:lnTo>
                    <a:pt x="460" y="107"/>
                  </a:lnTo>
                  <a:lnTo>
                    <a:pt x="454" y="112"/>
                  </a:lnTo>
                  <a:lnTo>
                    <a:pt x="448" y="117"/>
                  </a:lnTo>
                  <a:lnTo>
                    <a:pt x="440" y="122"/>
                  </a:lnTo>
                  <a:lnTo>
                    <a:pt x="430" y="125"/>
                  </a:lnTo>
                  <a:lnTo>
                    <a:pt x="419" y="128"/>
                  </a:lnTo>
                  <a:lnTo>
                    <a:pt x="406" y="130"/>
                  </a:lnTo>
                  <a:lnTo>
                    <a:pt x="392" y="130"/>
                  </a:lnTo>
                  <a:lnTo>
                    <a:pt x="385" y="129"/>
                  </a:lnTo>
                  <a:lnTo>
                    <a:pt x="378" y="127"/>
                  </a:lnTo>
                  <a:lnTo>
                    <a:pt x="372" y="122"/>
                  </a:lnTo>
                  <a:lnTo>
                    <a:pt x="364" y="115"/>
                  </a:lnTo>
                  <a:lnTo>
                    <a:pt x="358" y="108"/>
                  </a:lnTo>
                  <a:lnTo>
                    <a:pt x="351" y="100"/>
                  </a:lnTo>
                  <a:lnTo>
                    <a:pt x="344" y="91"/>
                  </a:lnTo>
                  <a:lnTo>
                    <a:pt x="339" y="82"/>
                  </a:lnTo>
                  <a:lnTo>
                    <a:pt x="333" y="72"/>
                  </a:lnTo>
                  <a:lnTo>
                    <a:pt x="328" y="60"/>
                  </a:lnTo>
                  <a:lnTo>
                    <a:pt x="324" y="50"/>
                  </a:lnTo>
                  <a:lnTo>
                    <a:pt x="319" y="39"/>
                  </a:lnTo>
                  <a:lnTo>
                    <a:pt x="316" y="29"/>
                  </a:lnTo>
                  <a:lnTo>
                    <a:pt x="314" y="19"/>
                  </a:lnTo>
                  <a:lnTo>
                    <a:pt x="312" y="10"/>
                  </a:lnTo>
                  <a:lnTo>
                    <a:pt x="312" y="0"/>
                  </a:lnTo>
                  <a:lnTo>
                    <a:pt x="26" y="0"/>
                  </a:lnTo>
                  <a:lnTo>
                    <a:pt x="26" y="5"/>
                  </a:lnTo>
                  <a:lnTo>
                    <a:pt x="28" y="10"/>
                  </a:lnTo>
                  <a:lnTo>
                    <a:pt x="30" y="15"/>
                  </a:lnTo>
                  <a:lnTo>
                    <a:pt x="34" y="19"/>
                  </a:lnTo>
                  <a:lnTo>
                    <a:pt x="38" y="22"/>
                  </a:lnTo>
                  <a:lnTo>
                    <a:pt x="42" y="26"/>
                  </a:lnTo>
                  <a:lnTo>
                    <a:pt x="47" y="29"/>
                  </a:lnTo>
                  <a:lnTo>
                    <a:pt x="52" y="31"/>
                  </a:lnTo>
                  <a:lnTo>
                    <a:pt x="58" y="47"/>
                  </a:lnTo>
                  <a:lnTo>
                    <a:pt x="67" y="61"/>
                  </a:lnTo>
                  <a:lnTo>
                    <a:pt x="75" y="75"/>
                  </a:lnTo>
                  <a:lnTo>
                    <a:pt x="84" y="89"/>
                  </a:lnTo>
                  <a:lnTo>
                    <a:pt x="92" y="104"/>
                  </a:lnTo>
                  <a:lnTo>
                    <a:pt x="98" y="121"/>
                  </a:lnTo>
                  <a:lnTo>
                    <a:pt x="102" y="130"/>
                  </a:lnTo>
                  <a:lnTo>
                    <a:pt x="104" y="139"/>
                  </a:lnTo>
                  <a:lnTo>
                    <a:pt x="105" y="150"/>
                  </a:lnTo>
                  <a:lnTo>
                    <a:pt x="105" y="161"/>
                  </a:lnTo>
                  <a:lnTo>
                    <a:pt x="103" y="171"/>
                  </a:lnTo>
                  <a:lnTo>
                    <a:pt x="98" y="183"/>
                  </a:lnTo>
                  <a:lnTo>
                    <a:pt x="96" y="190"/>
                  </a:lnTo>
                  <a:lnTo>
                    <a:pt x="94" y="196"/>
                  </a:lnTo>
                  <a:lnTo>
                    <a:pt x="93" y="203"/>
                  </a:lnTo>
                  <a:lnTo>
                    <a:pt x="92" y="210"/>
                  </a:lnTo>
                  <a:lnTo>
                    <a:pt x="93" y="217"/>
                  </a:lnTo>
                  <a:lnTo>
                    <a:pt x="94" y="223"/>
                  </a:lnTo>
                  <a:lnTo>
                    <a:pt x="96" y="229"/>
                  </a:lnTo>
                  <a:lnTo>
                    <a:pt x="98" y="236"/>
                  </a:lnTo>
                  <a:lnTo>
                    <a:pt x="105" y="248"/>
                  </a:lnTo>
                  <a:lnTo>
                    <a:pt x="112" y="260"/>
                  </a:lnTo>
                  <a:lnTo>
                    <a:pt x="119" y="272"/>
                  </a:lnTo>
                  <a:lnTo>
                    <a:pt x="126" y="285"/>
                  </a:lnTo>
                  <a:lnTo>
                    <a:pt x="128" y="293"/>
                  </a:lnTo>
                  <a:lnTo>
                    <a:pt x="130" y="300"/>
                  </a:lnTo>
                  <a:lnTo>
                    <a:pt x="131" y="307"/>
                  </a:lnTo>
                  <a:lnTo>
                    <a:pt x="133" y="315"/>
                  </a:lnTo>
                  <a:lnTo>
                    <a:pt x="131" y="326"/>
                  </a:lnTo>
                  <a:lnTo>
                    <a:pt x="129" y="338"/>
                  </a:lnTo>
                  <a:lnTo>
                    <a:pt x="127" y="352"/>
                  </a:lnTo>
                  <a:lnTo>
                    <a:pt x="123" y="364"/>
                  </a:lnTo>
                  <a:lnTo>
                    <a:pt x="118" y="377"/>
                  </a:lnTo>
                  <a:lnTo>
                    <a:pt x="113" y="389"/>
                  </a:lnTo>
                  <a:lnTo>
                    <a:pt x="106" y="403"/>
                  </a:lnTo>
                  <a:lnTo>
                    <a:pt x="100" y="414"/>
                  </a:lnTo>
                  <a:lnTo>
                    <a:pt x="92" y="426"/>
                  </a:lnTo>
                  <a:lnTo>
                    <a:pt x="84" y="436"/>
                  </a:lnTo>
                  <a:lnTo>
                    <a:pt x="77" y="446"/>
                  </a:lnTo>
                  <a:lnTo>
                    <a:pt x="68" y="457"/>
                  </a:lnTo>
                  <a:lnTo>
                    <a:pt x="59" y="465"/>
                  </a:lnTo>
                  <a:lnTo>
                    <a:pt x="50" y="471"/>
                  </a:lnTo>
                  <a:lnTo>
                    <a:pt x="41" y="477"/>
                  </a:lnTo>
                  <a:lnTo>
                    <a:pt x="33" y="481"/>
                  </a:lnTo>
                  <a:lnTo>
                    <a:pt x="33" y="586"/>
                  </a:lnTo>
                  <a:lnTo>
                    <a:pt x="28" y="588"/>
                  </a:lnTo>
                  <a:lnTo>
                    <a:pt x="25" y="591"/>
                  </a:lnTo>
                  <a:lnTo>
                    <a:pt x="23" y="595"/>
                  </a:lnTo>
                  <a:lnTo>
                    <a:pt x="19" y="600"/>
                  </a:lnTo>
                  <a:lnTo>
                    <a:pt x="15" y="612"/>
                  </a:lnTo>
                  <a:lnTo>
                    <a:pt x="11" y="627"/>
                  </a:lnTo>
                  <a:lnTo>
                    <a:pt x="4" y="659"/>
                  </a:lnTo>
                  <a:lnTo>
                    <a:pt x="0" y="6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86" name="Freeform 381"/>
            <p:cNvSpPr>
              <a:spLocks/>
            </p:cNvSpPr>
            <p:nvPr>
              <p:custDataLst>
                <p:tags r:id="rId271"/>
              </p:custDataLst>
            </p:nvPr>
          </p:nvSpPr>
          <p:spPr bwMode="auto">
            <a:xfrm>
              <a:off x="6425244" y="4494652"/>
              <a:ext cx="15875" cy="60325"/>
            </a:xfrm>
            <a:custGeom>
              <a:avLst/>
              <a:gdLst>
                <a:gd name="T0" fmla="*/ 0 w 39"/>
                <a:gd name="T1" fmla="*/ 2147483647 h 31"/>
                <a:gd name="T2" fmla="*/ 2147483647 w 39"/>
                <a:gd name="T3" fmla="*/ 2147483647 h 31"/>
                <a:gd name="T4" fmla="*/ 2147483647 w 39"/>
                <a:gd name="T5" fmla="*/ 2147483647 h 31"/>
                <a:gd name="T6" fmla="*/ 2147483647 w 39"/>
                <a:gd name="T7" fmla="*/ 2147483647 h 31"/>
                <a:gd name="T8" fmla="*/ 2147483647 w 39"/>
                <a:gd name="T9" fmla="*/ 2147483647 h 31"/>
                <a:gd name="T10" fmla="*/ 2147483647 w 39"/>
                <a:gd name="T11" fmla="*/ 2147483647 h 31"/>
                <a:gd name="T12" fmla="*/ 2147483647 w 39"/>
                <a:gd name="T13" fmla="*/ 2147483647 h 31"/>
                <a:gd name="T14" fmla="*/ 2147483647 w 39"/>
                <a:gd name="T15" fmla="*/ 0 h 31"/>
                <a:gd name="T16" fmla="*/ 2147483647 w 39"/>
                <a:gd name="T17" fmla="*/ 0 h 31"/>
                <a:gd name="T18" fmla="*/ 2147483647 w 39"/>
                <a:gd name="T19" fmla="*/ 0 h 31"/>
                <a:gd name="T20" fmla="*/ 2147483647 w 39"/>
                <a:gd name="T21" fmla="*/ 0 h 31"/>
                <a:gd name="T22" fmla="*/ 0 w 39"/>
                <a:gd name="T23" fmla="*/ 0 h 31"/>
                <a:gd name="T24" fmla="*/ 0 w 39"/>
                <a:gd name="T25" fmla="*/ 2147483647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31">
                  <a:moveTo>
                    <a:pt x="0" y="31"/>
                  </a:moveTo>
                  <a:lnTo>
                    <a:pt x="12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30" y="28"/>
                  </a:lnTo>
                  <a:lnTo>
                    <a:pt x="35" y="27"/>
                  </a:lnTo>
                  <a:lnTo>
                    <a:pt x="39" y="25"/>
                  </a:lnTo>
                  <a:lnTo>
                    <a:pt x="3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46" name="Freeform 382"/>
            <p:cNvSpPr>
              <a:spLocks/>
            </p:cNvSpPr>
            <p:nvPr>
              <p:custDataLst>
                <p:tags r:id="rId272"/>
              </p:custDataLst>
            </p:nvPr>
          </p:nvSpPr>
          <p:spPr bwMode="auto">
            <a:xfrm>
              <a:off x="6527546" y="5036832"/>
              <a:ext cx="395794" cy="399770"/>
            </a:xfrm>
            <a:custGeom>
              <a:avLst/>
              <a:gdLst>
                <a:gd name="T0" fmla="*/ 899 w 903"/>
                <a:gd name="T1" fmla="*/ 291 h 759"/>
                <a:gd name="T2" fmla="*/ 863 w 903"/>
                <a:gd name="T3" fmla="*/ 388 h 759"/>
                <a:gd name="T4" fmla="*/ 832 w 903"/>
                <a:gd name="T5" fmla="*/ 414 h 759"/>
                <a:gd name="T6" fmla="*/ 761 w 903"/>
                <a:gd name="T7" fmla="*/ 507 h 759"/>
                <a:gd name="T8" fmla="*/ 720 w 903"/>
                <a:gd name="T9" fmla="*/ 561 h 759"/>
                <a:gd name="T10" fmla="*/ 647 w 903"/>
                <a:gd name="T11" fmla="*/ 613 h 759"/>
                <a:gd name="T12" fmla="*/ 583 w 903"/>
                <a:gd name="T13" fmla="*/ 666 h 759"/>
                <a:gd name="T14" fmla="*/ 557 w 903"/>
                <a:gd name="T15" fmla="*/ 698 h 759"/>
                <a:gd name="T16" fmla="*/ 520 w 903"/>
                <a:gd name="T17" fmla="*/ 705 h 759"/>
                <a:gd name="T18" fmla="*/ 496 w 903"/>
                <a:gd name="T19" fmla="*/ 710 h 759"/>
                <a:gd name="T20" fmla="*/ 485 w 903"/>
                <a:gd name="T21" fmla="*/ 727 h 759"/>
                <a:gd name="T22" fmla="*/ 372 w 903"/>
                <a:gd name="T23" fmla="*/ 727 h 759"/>
                <a:gd name="T24" fmla="*/ 339 w 903"/>
                <a:gd name="T25" fmla="*/ 732 h 759"/>
                <a:gd name="T26" fmla="*/ 316 w 903"/>
                <a:gd name="T27" fmla="*/ 732 h 759"/>
                <a:gd name="T28" fmla="*/ 286 w 903"/>
                <a:gd name="T29" fmla="*/ 727 h 759"/>
                <a:gd name="T30" fmla="*/ 263 w 903"/>
                <a:gd name="T31" fmla="*/ 737 h 759"/>
                <a:gd name="T32" fmla="*/ 146 w 903"/>
                <a:gd name="T33" fmla="*/ 759 h 759"/>
                <a:gd name="T34" fmla="*/ 116 w 903"/>
                <a:gd name="T35" fmla="*/ 753 h 759"/>
                <a:gd name="T36" fmla="*/ 90 w 903"/>
                <a:gd name="T37" fmla="*/ 739 h 759"/>
                <a:gd name="T38" fmla="*/ 76 w 903"/>
                <a:gd name="T39" fmla="*/ 719 h 759"/>
                <a:gd name="T40" fmla="*/ 79 w 903"/>
                <a:gd name="T41" fmla="*/ 697 h 759"/>
                <a:gd name="T42" fmla="*/ 75 w 903"/>
                <a:gd name="T43" fmla="*/ 628 h 759"/>
                <a:gd name="T44" fmla="*/ 79 w 903"/>
                <a:gd name="T45" fmla="*/ 608 h 759"/>
                <a:gd name="T46" fmla="*/ 68 w 903"/>
                <a:gd name="T47" fmla="*/ 572 h 759"/>
                <a:gd name="T48" fmla="*/ 22 w 903"/>
                <a:gd name="T49" fmla="*/ 516 h 759"/>
                <a:gd name="T50" fmla="*/ 12 w 903"/>
                <a:gd name="T51" fmla="*/ 484 h 759"/>
                <a:gd name="T52" fmla="*/ 10 w 903"/>
                <a:gd name="T53" fmla="*/ 439 h 759"/>
                <a:gd name="T54" fmla="*/ 0 w 903"/>
                <a:gd name="T55" fmla="*/ 377 h 759"/>
                <a:gd name="T56" fmla="*/ 39 w 903"/>
                <a:gd name="T57" fmla="*/ 377 h 759"/>
                <a:gd name="T58" fmla="*/ 57 w 903"/>
                <a:gd name="T59" fmla="*/ 396 h 759"/>
                <a:gd name="T60" fmla="*/ 94 w 903"/>
                <a:gd name="T61" fmla="*/ 410 h 759"/>
                <a:gd name="T62" fmla="*/ 135 w 903"/>
                <a:gd name="T63" fmla="*/ 411 h 759"/>
                <a:gd name="T64" fmla="*/ 160 w 903"/>
                <a:gd name="T65" fmla="*/ 400 h 759"/>
                <a:gd name="T66" fmla="*/ 182 w 903"/>
                <a:gd name="T67" fmla="*/ 372 h 759"/>
                <a:gd name="T68" fmla="*/ 197 w 903"/>
                <a:gd name="T69" fmla="*/ 229 h 759"/>
                <a:gd name="T70" fmla="*/ 204 w 903"/>
                <a:gd name="T71" fmla="*/ 184 h 759"/>
                <a:gd name="T72" fmla="*/ 210 w 903"/>
                <a:gd name="T73" fmla="*/ 168 h 759"/>
                <a:gd name="T74" fmla="*/ 239 w 903"/>
                <a:gd name="T75" fmla="*/ 178 h 759"/>
                <a:gd name="T76" fmla="*/ 245 w 903"/>
                <a:gd name="T77" fmla="*/ 238 h 759"/>
                <a:gd name="T78" fmla="*/ 247 w 903"/>
                <a:gd name="T79" fmla="*/ 274 h 759"/>
                <a:gd name="T80" fmla="*/ 256 w 903"/>
                <a:gd name="T81" fmla="*/ 287 h 759"/>
                <a:gd name="T82" fmla="*/ 287 w 903"/>
                <a:gd name="T83" fmla="*/ 295 h 759"/>
                <a:gd name="T84" fmla="*/ 312 w 903"/>
                <a:gd name="T85" fmla="*/ 293 h 759"/>
                <a:gd name="T86" fmla="*/ 333 w 903"/>
                <a:gd name="T87" fmla="*/ 272 h 759"/>
                <a:gd name="T88" fmla="*/ 350 w 903"/>
                <a:gd name="T89" fmla="*/ 234 h 759"/>
                <a:gd name="T90" fmla="*/ 368 w 903"/>
                <a:gd name="T91" fmla="*/ 201 h 759"/>
                <a:gd name="T92" fmla="*/ 387 w 903"/>
                <a:gd name="T93" fmla="*/ 191 h 759"/>
                <a:gd name="T94" fmla="*/ 414 w 903"/>
                <a:gd name="T95" fmla="*/ 193 h 759"/>
                <a:gd name="T96" fmla="*/ 451 w 903"/>
                <a:gd name="T97" fmla="*/ 208 h 759"/>
                <a:gd name="T98" fmla="*/ 478 w 903"/>
                <a:gd name="T99" fmla="*/ 216 h 759"/>
                <a:gd name="T100" fmla="*/ 512 w 903"/>
                <a:gd name="T101" fmla="*/ 213 h 759"/>
                <a:gd name="T102" fmla="*/ 531 w 903"/>
                <a:gd name="T103" fmla="*/ 200 h 759"/>
                <a:gd name="T104" fmla="*/ 564 w 903"/>
                <a:gd name="T105" fmla="*/ 127 h 759"/>
                <a:gd name="T106" fmla="*/ 620 w 903"/>
                <a:gd name="T107" fmla="*/ 80 h 759"/>
                <a:gd name="T108" fmla="*/ 732 w 903"/>
                <a:gd name="T109" fmla="*/ 11 h 759"/>
                <a:gd name="T110" fmla="*/ 806 w 903"/>
                <a:gd name="T111" fmla="*/ 3 h 759"/>
                <a:gd name="T112" fmla="*/ 830 w 903"/>
                <a:gd name="T113" fmla="*/ 6 h 759"/>
                <a:gd name="T114" fmla="*/ 854 w 903"/>
                <a:gd name="T115" fmla="*/ 35 h 759"/>
                <a:gd name="T116" fmla="*/ 873 w 903"/>
                <a:gd name="T117" fmla="*/ 71 h 759"/>
                <a:gd name="T118" fmla="*/ 883 w 903"/>
                <a:gd name="T119" fmla="*/ 107 h 759"/>
                <a:gd name="T120" fmla="*/ 868 w 903"/>
                <a:gd name="T121" fmla="*/ 207 h 759"/>
                <a:gd name="T122" fmla="*/ 830 w 903"/>
                <a:gd name="T123" fmla="*/ 204 h 759"/>
                <a:gd name="T124" fmla="*/ 826 w 903"/>
                <a:gd name="T125" fmla="*/ 281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03" h="759">
                  <a:moveTo>
                    <a:pt x="870" y="296"/>
                  </a:moveTo>
                  <a:lnTo>
                    <a:pt x="875" y="295"/>
                  </a:lnTo>
                  <a:lnTo>
                    <a:pt x="886" y="293"/>
                  </a:lnTo>
                  <a:lnTo>
                    <a:pt x="899" y="291"/>
                  </a:lnTo>
                  <a:lnTo>
                    <a:pt x="903" y="290"/>
                  </a:lnTo>
                  <a:lnTo>
                    <a:pt x="863" y="364"/>
                  </a:lnTo>
                  <a:lnTo>
                    <a:pt x="863" y="376"/>
                  </a:lnTo>
                  <a:lnTo>
                    <a:pt x="863" y="388"/>
                  </a:lnTo>
                  <a:lnTo>
                    <a:pt x="857" y="392"/>
                  </a:lnTo>
                  <a:lnTo>
                    <a:pt x="849" y="397"/>
                  </a:lnTo>
                  <a:lnTo>
                    <a:pt x="840" y="405"/>
                  </a:lnTo>
                  <a:lnTo>
                    <a:pt x="832" y="414"/>
                  </a:lnTo>
                  <a:lnTo>
                    <a:pt x="813" y="436"/>
                  </a:lnTo>
                  <a:lnTo>
                    <a:pt x="794" y="460"/>
                  </a:lnTo>
                  <a:lnTo>
                    <a:pt x="776" y="485"/>
                  </a:lnTo>
                  <a:lnTo>
                    <a:pt x="761" y="507"/>
                  </a:lnTo>
                  <a:lnTo>
                    <a:pt x="749" y="525"/>
                  </a:lnTo>
                  <a:lnTo>
                    <a:pt x="744" y="537"/>
                  </a:lnTo>
                  <a:lnTo>
                    <a:pt x="732" y="550"/>
                  </a:lnTo>
                  <a:lnTo>
                    <a:pt x="720" y="561"/>
                  </a:lnTo>
                  <a:lnTo>
                    <a:pt x="706" y="571"/>
                  </a:lnTo>
                  <a:lnTo>
                    <a:pt x="694" y="581"/>
                  </a:lnTo>
                  <a:lnTo>
                    <a:pt x="670" y="598"/>
                  </a:lnTo>
                  <a:lnTo>
                    <a:pt x="647" y="613"/>
                  </a:lnTo>
                  <a:lnTo>
                    <a:pt x="624" y="628"/>
                  </a:lnTo>
                  <a:lnTo>
                    <a:pt x="603" y="646"/>
                  </a:lnTo>
                  <a:lnTo>
                    <a:pt x="592" y="655"/>
                  </a:lnTo>
                  <a:lnTo>
                    <a:pt x="583" y="666"/>
                  </a:lnTo>
                  <a:lnTo>
                    <a:pt x="574" y="677"/>
                  </a:lnTo>
                  <a:lnTo>
                    <a:pt x="565" y="690"/>
                  </a:lnTo>
                  <a:lnTo>
                    <a:pt x="561" y="694"/>
                  </a:lnTo>
                  <a:lnTo>
                    <a:pt x="557" y="698"/>
                  </a:lnTo>
                  <a:lnTo>
                    <a:pt x="553" y="700"/>
                  </a:lnTo>
                  <a:lnTo>
                    <a:pt x="546" y="702"/>
                  </a:lnTo>
                  <a:lnTo>
                    <a:pt x="534" y="704"/>
                  </a:lnTo>
                  <a:lnTo>
                    <a:pt x="520" y="705"/>
                  </a:lnTo>
                  <a:lnTo>
                    <a:pt x="513" y="705"/>
                  </a:lnTo>
                  <a:lnTo>
                    <a:pt x="507" y="706"/>
                  </a:lnTo>
                  <a:lnTo>
                    <a:pt x="501" y="708"/>
                  </a:lnTo>
                  <a:lnTo>
                    <a:pt x="496" y="710"/>
                  </a:lnTo>
                  <a:lnTo>
                    <a:pt x="491" y="713"/>
                  </a:lnTo>
                  <a:lnTo>
                    <a:pt x="488" y="716"/>
                  </a:lnTo>
                  <a:lnTo>
                    <a:pt x="486" y="721"/>
                  </a:lnTo>
                  <a:lnTo>
                    <a:pt x="485" y="727"/>
                  </a:lnTo>
                  <a:lnTo>
                    <a:pt x="444" y="727"/>
                  </a:lnTo>
                  <a:lnTo>
                    <a:pt x="415" y="727"/>
                  </a:lnTo>
                  <a:lnTo>
                    <a:pt x="395" y="727"/>
                  </a:lnTo>
                  <a:lnTo>
                    <a:pt x="372" y="727"/>
                  </a:lnTo>
                  <a:lnTo>
                    <a:pt x="359" y="727"/>
                  </a:lnTo>
                  <a:lnTo>
                    <a:pt x="348" y="729"/>
                  </a:lnTo>
                  <a:lnTo>
                    <a:pt x="344" y="730"/>
                  </a:lnTo>
                  <a:lnTo>
                    <a:pt x="339" y="732"/>
                  </a:lnTo>
                  <a:lnTo>
                    <a:pt x="332" y="735"/>
                  </a:lnTo>
                  <a:lnTo>
                    <a:pt x="325" y="739"/>
                  </a:lnTo>
                  <a:lnTo>
                    <a:pt x="320" y="735"/>
                  </a:lnTo>
                  <a:lnTo>
                    <a:pt x="316" y="732"/>
                  </a:lnTo>
                  <a:lnTo>
                    <a:pt x="310" y="730"/>
                  </a:lnTo>
                  <a:lnTo>
                    <a:pt x="306" y="729"/>
                  </a:lnTo>
                  <a:lnTo>
                    <a:pt x="296" y="727"/>
                  </a:lnTo>
                  <a:lnTo>
                    <a:pt x="286" y="727"/>
                  </a:lnTo>
                  <a:lnTo>
                    <a:pt x="283" y="730"/>
                  </a:lnTo>
                  <a:lnTo>
                    <a:pt x="278" y="732"/>
                  </a:lnTo>
                  <a:lnTo>
                    <a:pt x="272" y="735"/>
                  </a:lnTo>
                  <a:lnTo>
                    <a:pt x="263" y="737"/>
                  </a:lnTo>
                  <a:lnTo>
                    <a:pt x="242" y="742"/>
                  </a:lnTo>
                  <a:lnTo>
                    <a:pt x="218" y="747"/>
                  </a:lnTo>
                  <a:lnTo>
                    <a:pt x="173" y="756"/>
                  </a:lnTo>
                  <a:lnTo>
                    <a:pt x="146" y="759"/>
                  </a:lnTo>
                  <a:lnTo>
                    <a:pt x="139" y="758"/>
                  </a:lnTo>
                  <a:lnTo>
                    <a:pt x="131" y="757"/>
                  </a:lnTo>
                  <a:lnTo>
                    <a:pt x="123" y="756"/>
                  </a:lnTo>
                  <a:lnTo>
                    <a:pt x="116" y="753"/>
                  </a:lnTo>
                  <a:lnTo>
                    <a:pt x="109" y="750"/>
                  </a:lnTo>
                  <a:lnTo>
                    <a:pt x="103" y="746"/>
                  </a:lnTo>
                  <a:lnTo>
                    <a:pt x="96" y="743"/>
                  </a:lnTo>
                  <a:lnTo>
                    <a:pt x="90" y="739"/>
                  </a:lnTo>
                  <a:lnTo>
                    <a:pt x="85" y="734"/>
                  </a:lnTo>
                  <a:lnTo>
                    <a:pt x="82" y="730"/>
                  </a:lnTo>
                  <a:lnTo>
                    <a:pt x="78" y="725"/>
                  </a:lnTo>
                  <a:lnTo>
                    <a:pt x="76" y="719"/>
                  </a:lnTo>
                  <a:lnTo>
                    <a:pt x="75" y="714"/>
                  </a:lnTo>
                  <a:lnTo>
                    <a:pt x="75" y="708"/>
                  </a:lnTo>
                  <a:lnTo>
                    <a:pt x="76" y="703"/>
                  </a:lnTo>
                  <a:lnTo>
                    <a:pt x="79" y="697"/>
                  </a:lnTo>
                  <a:lnTo>
                    <a:pt x="60" y="648"/>
                  </a:lnTo>
                  <a:lnTo>
                    <a:pt x="65" y="639"/>
                  </a:lnTo>
                  <a:lnTo>
                    <a:pt x="72" y="632"/>
                  </a:lnTo>
                  <a:lnTo>
                    <a:pt x="75" y="628"/>
                  </a:lnTo>
                  <a:lnTo>
                    <a:pt x="77" y="625"/>
                  </a:lnTo>
                  <a:lnTo>
                    <a:pt x="79" y="621"/>
                  </a:lnTo>
                  <a:lnTo>
                    <a:pt x="79" y="616"/>
                  </a:lnTo>
                  <a:lnTo>
                    <a:pt x="79" y="608"/>
                  </a:lnTo>
                  <a:lnTo>
                    <a:pt x="78" y="600"/>
                  </a:lnTo>
                  <a:lnTo>
                    <a:pt x="76" y="592"/>
                  </a:lnTo>
                  <a:lnTo>
                    <a:pt x="74" y="584"/>
                  </a:lnTo>
                  <a:lnTo>
                    <a:pt x="68" y="572"/>
                  </a:lnTo>
                  <a:lnTo>
                    <a:pt x="61" y="561"/>
                  </a:lnTo>
                  <a:lnTo>
                    <a:pt x="43" y="542"/>
                  </a:lnTo>
                  <a:lnTo>
                    <a:pt x="27" y="524"/>
                  </a:lnTo>
                  <a:lnTo>
                    <a:pt x="22" y="516"/>
                  </a:lnTo>
                  <a:lnTo>
                    <a:pt x="18" y="509"/>
                  </a:lnTo>
                  <a:lnTo>
                    <a:pt x="16" y="502"/>
                  </a:lnTo>
                  <a:lnTo>
                    <a:pt x="14" y="496"/>
                  </a:lnTo>
                  <a:lnTo>
                    <a:pt x="12" y="484"/>
                  </a:lnTo>
                  <a:lnTo>
                    <a:pt x="11" y="472"/>
                  </a:lnTo>
                  <a:lnTo>
                    <a:pt x="11" y="461"/>
                  </a:lnTo>
                  <a:lnTo>
                    <a:pt x="11" y="450"/>
                  </a:lnTo>
                  <a:lnTo>
                    <a:pt x="10" y="439"/>
                  </a:lnTo>
                  <a:lnTo>
                    <a:pt x="7" y="426"/>
                  </a:lnTo>
                  <a:lnTo>
                    <a:pt x="6" y="412"/>
                  </a:lnTo>
                  <a:lnTo>
                    <a:pt x="4" y="395"/>
                  </a:lnTo>
                  <a:lnTo>
                    <a:pt x="0" y="377"/>
                  </a:lnTo>
                  <a:lnTo>
                    <a:pt x="0" y="364"/>
                  </a:lnTo>
                  <a:lnTo>
                    <a:pt x="33" y="364"/>
                  </a:lnTo>
                  <a:lnTo>
                    <a:pt x="36" y="371"/>
                  </a:lnTo>
                  <a:lnTo>
                    <a:pt x="39" y="377"/>
                  </a:lnTo>
                  <a:lnTo>
                    <a:pt x="43" y="382"/>
                  </a:lnTo>
                  <a:lnTo>
                    <a:pt x="48" y="387"/>
                  </a:lnTo>
                  <a:lnTo>
                    <a:pt x="52" y="392"/>
                  </a:lnTo>
                  <a:lnTo>
                    <a:pt x="57" y="396"/>
                  </a:lnTo>
                  <a:lnTo>
                    <a:pt x="63" y="399"/>
                  </a:lnTo>
                  <a:lnTo>
                    <a:pt x="68" y="402"/>
                  </a:lnTo>
                  <a:lnTo>
                    <a:pt x="81" y="407"/>
                  </a:lnTo>
                  <a:lnTo>
                    <a:pt x="94" y="410"/>
                  </a:lnTo>
                  <a:lnTo>
                    <a:pt x="107" y="412"/>
                  </a:lnTo>
                  <a:lnTo>
                    <a:pt x="119" y="413"/>
                  </a:lnTo>
                  <a:lnTo>
                    <a:pt x="128" y="412"/>
                  </a:lnTo>
                  <a:lnTo>
                    <a:pt x="135" y="411"/>
                  </a:lnTo>
                  <a:lnTo>
                    <a:pt x="142" y="409"/>
                  </a:lnTo>
                  <a:lnTo>
                    <a:pt x="149" y="407"/>
                  </a:lnTo>
                  <a:lnTo>
                    <a:pt x="154" y="404"/>
                  </a:lnTo>
                  <a:lnTo>
                    <a:pt x="160" y="400"/>
                  </a:lnTo>
                  <a:lnTo>
                    <a:pt x="164" y="396"/>
                  </a:lnTo>
                  <a:lnTo>
                    <a:pt x="168" y="392"/>
                  </a:lnTo>
                  <a:lnTo>
                    <a:pt x="176" y="382"/>
                  </a:lnTo>
                  <a:lnTo>
                    <a:pt x="182" y="372"/>
                  </a:lnTo>
                  <a:lnTo>
                    <a:pt x="187" y="361"/>
                  </a:lnTo>
                  <a:lnTo>
                    <a:pt x="193" y="351"/>
                  </a:lnTo>
                  <a:lnTo>
                    <a:pt x="193" y="240"/>
                  </a:lnTo>
                  <a:lnTo>
                    <a:pt x="197" y="229"/>
                  </a:lnTo>
                  <a:lnTo>
                    <a:pt x="199" y="217"/>
                  </a:lnTo>
                  <a:lnTo>
                    <a:pt x="201" y="206"/>
                  </a:lnTo>
                  <a:lnTo>
                    <a:pt x="202" y="194"/>
                  </a:lnTo>
                  <a:lnTo>
                    <a:pt x="204" y="184"/>
                  </a:lnTo>
                  <a:lnTo>
                    <a:pt x="206" y="176"/>
                  </a:lnTo>
                  <a:lnTo>
                    <a:pt x="207" y="173"/>
                  </a:lnTo>
                  <a:lnTo>
                    <a:pt x="208" y="170"/>
                  </a:lnTo>
                  <a:lnTo>
                    <a:pt x="210" y="168"/>
                  </a:lnTo>
                  <a:lnTo>
                    <a:pt x="212" y="167"/>
                  </a:lnTo>
                  <a:lnTo>
                    <a:pt x="220" y="171"/>
                  </a:lnTo>
                  <a:lnTo>
                    <a:pt x="229" y="175"/>
                  </a:lnTo>
                  <a:lnTo>
                    <a:pt x="239" y="178"/>
                  </a:lnTo>
                  <a:lnTo>
                    <a:pt x="245" y="179"/>
                  </a:lnTo>
                  <a:lnTo>
                    <a:pt x="245" y="201"/>
                  </a:lnTo>
                  <a:lnTo>
                    <a:pt x="245" y="219"/>
                  </a:lnTo>
                  <a:lnTo>
                    <a:pt x="245" y="238"/>
                  </a:lnTo>
                  <a:lnTo>
                    <a:pt x="245" y="259"/>
                  </a:lnTo>
                  <a:lnTo>
                    <a:pt x="246" y="265"/>
                  </a:lnTo>
                  <a:lnTo>
                    <a:pt x="246" y="270"/>
                  </a:lnTo>
                  <a:lnTo>
                    <a:pt x="247" y="274"/>
                  </a:lnTo>
                  <a:lnTo>
                    <a:pt x="250" y="278"/>
                  </a:lnTo>
                  <a:lnTo>
                    <a:pt x="252" y="281"/>
                  </a:lnTo>
                  <a:lnTo>
                    <a:pt x="254" y="284"/>
                  </a:lnTo>
                  <a:lnTo>
                    <a:pt x="256" y="287"/>
                  </a:lnTo>
                  <a:lnTo>
                    <a:pt x="260" y="289"/>
                  </a:lnTo>
                  <a:lnTo>
                    <a:pt x="267" y="292"/>
                  </a:lnTo>
                  <a:lnTo>
                    <a:pt x="276" y="294"/>
                  </a:lnTo>
                  <a:lnTo>
                    <a:pt x="287" y="295"/>
                  </a:lnTo>
                  <a:lnTo>
                    <a:pt x="299" y="296"/>
                  </a:lnTo>
                  <a:lnTo>
                    <a:pt x="303" y="295"/>
                  </a:lnTo>
                  <a:lnTo>
                    <a:pt x="308" y="295"/>
                  </a:lnTo>
                  <a:lnTo>
                    <a:pt x="312" y="293"/>
                  </a:lnTo>
                  <a:lnTo>
                    <a:pt x="316" y="291"/>
                  </a:lnTo>
                  <a:lnTo>
                    <a:pt x="322" y="286"/>
                  </a:lnTo>
                  <a:lnTo>
                    <a:pt x="329" y="280"/>
                  </a:lnTo>
                  <a:lnTo>
                    <a:pt x="333" y="272"/>
                  </a:lnTo>
                  <a:lnTo>
                    <a:pt x="337" y="263"/>
                  </a:lnTo>
                  <a:lnTo>
                    <a:pt x="342" y="254"/>
                  </a:lnTo>
                  <a:lnTo>
                    <a:pt x="345" y="243"/>
                  </a:lnTo>
                  <a:lnTo>
                    <a:pt x="350" y="234"/>
                  </a:lnTo>
                  <a:lnTo>
                    <a:pt x="353" y="224"/>
                  </a:lnTo>
                  <a:lnTo>
                    <a:pt x="357" y="216"/>
                  </a:lnTo>
                  <a:lnTo>
                    <a:pt x="363" y="208"/>
                  </a:lnTo>
                  <a:lnTo>
                    <a:pt x="368" y="201"/>
                  </a:lnTo>
                  <a:lnTo>
                    <a:pt x="375" y="195"/>
                  </a:lnTo>
                  <a:lnTo>
                    <a:pt x="378" y="193"/>
                  </a:lnTo>
                  <a:lnTo>
                    <a:pt x="382" y="192"/>
                  </a:lnTo>
                  <a:lnTo>
                    <a:pt x="387" y="191"/>
                  </a:lnTo>
                  <a:lnTo>
                    <a:pt x="392" y="191"/>
                  </a:lnTo>
                  <a:lnTo>
                    <a:pt x="400" y="191"/>
                  </a:lnTo>
                  <a:lnTo>
                    <a:pt x="408" y="192"/>
                  </a:lnTo>
                  <a:lnTo>
                    <a:pt x="414" y="193"/>
                  </a:lnTo>
                  <a:lnTo>
                    <a:pt x="421" y="195"/>
                  </a:lnTo>
                  <a:lnTo>
                    <a:pt x="431" y="200"/>
                  </a:lnTo>
                  <a:lnTo>
                    <a:pt x="441" y="204"/>
                  </a:lnTo>
                  <a:lnTo>
                    <a:pt x="451" y="208"/>
                  </a:lnTo>
                  <a:lnTo>
                    <a:pt x="460" y="212"/>
                  </a:lnTo>
                  <a:lnTo>
                    <a:pt x="466" y="214"/>
                  </a:lnTo>
                  <a:lnTo>
                    <a:pt x="471" y="215"/>
                  </a:lnTo>
                  <a:lnTo>
                    <a:pt x="478" y="216"/>
                  </a:lnTo>
                  <a:lnTo>
                    <a:pt x="485" y="216"/>
                  </a:lnTo>
                  <a:lnTo>
                    <a:pt x="496" y="216"/>
                  </a:lnTo>
                  <a:lnTo>
                    <a:pt x="504" y="215"/>
                  </a:lnTo>
                  <a:lnTo>
                    <a:pt x="512" y="213"/>
                  </a:lnTo>
                  <a:lnTo>
                    <a:pt x="518" y="211"/>
                  </a:lnTo>
                  <a:lnTo>
                    <a:pt x="523" y="208"/>
                  </a:lnTo>
                  <a:lnTo>
                    <a:pt x="527" y="204"/>
                  </a:lnTo>
                  <a:lnTo>
                    <a:pt x="531" y="200"/>
                  </a:lnTo>
                  <a:lnTo>
                    <a:pt x="534" y="194"/>
                  </a:lnTo>
                  <a:lnTo>
                    <a:pt x="544" y="169"/>
                  </a:lnTo>
                  <a:lnTo>
                    <a:pt x="558" y="135"/>
                  </a:lnTo>
                  <a:lnTo>
                    <a:pt x="564" y="127"/>
                  </a:lnTo>
                  <a:lnTo>
                    <a:pt x="572" y="119"/>
                  </a:lnTo>
                  <a:lnTo>
                    <a:pt x="582" y="110"/>
                  </a:lnTo>
                  <a:lnTo>
                    <a:pt x="593" y="100"/>
                  </a:lnTo>
                  <a:lnTo>
                    <a:pt x="620" y="80"/>
                  </a:lnTo>
                  <a:lnTo>
                    <a:pt x="649" y="61"/>
                  </a:lnTo>
                  <a:lnTo>
                    <a:pt x="679" y="43"/>
                  </a:lnTo>
                  <a:lnTo>
                    <a:pt x="708" y="25"/>
                  </a:lnTo>
                  <a:lnTo>
                    <a:pt x="732" y="11"/>
                  </a:lnTo>
                  <a:lnTo>
                    <a:pt x="750" y="0"/>
                  </a:lnTo>
                  <a:lnTo>
                    <a:pt x="777" y="1"/>
                  </a:lnTo>
                  <a:lnTo>
                    <a:pt x="798" y="3"/>
                  </a:lnTo>
                  <a:lnTo>
                    <a:pt x="806" y="3"/>
                  </a:lnTo>
                  <a:lnTo>
                    <a:pt x="815" y="3"/>
                  </a:lnTo>
                  <a:lnTo>
                    <a:pt x="823" y="2"/>
                  </a:lnTo>
                  <a:lnTo>
                    <a:pt x="830" y="0"/>
                  </a:lnTo>
                  <a:lnTo>
                    <a:pt x="830" y="6"/>
                  </a:lnTo>
                  <a:lnTo>
                    <a:pt x="850" y="6"/>
                  </a:lnTo>
                  <a:lnTo>
                    <a:pt x="850" y="17"/>
                  </a:lnTo>
                  <a:lnTo>
                    <a:pt x="851" y="26"/>
                  </a:lnTo>
                  <a:lnTo>
                    <a:pt x="854" y="35"/>
                  </a:lnTo>
                  <a:lnTo>
                    <a:pt x="856" y="41"/>
                  </a:lnTo>
                  <a:lnTo>
                    <a:pt x="861" y="52"/>
                  </a:lnTo>
                  <a:lnTo>
                    <a:pt x="867" y="62"/>
                  </a:lnTo>
                  <a:lnTo>
                    <a:pt x="873" y="71"/>
                  </a:lnTo>
                  <a:lnTo>
                    <a:pt x="879" y="82"/>
                  </a:lnTo>
                  <a:lnTo>
                    <a:pt x="880" y="90"/>
                  </a:lnTo>
                  <a:lnTo>
                    <a:pt x="882" y="98"/>
                  </a:lnTo>
                  <a:lnTo>
                    <a:pt x="883" y="107"/>
                  </a:lnTo>
                  <a:lnTo>
                    <a:pt x="883" y="117"/>
                  </a:lnTo>
                  <a:lnTo>
                    <a:pt x="883" y="204"/>
                  </a:lnTo>
                  <a:lnTo>
                    <a:pt x="875" y="206"/>
                  </a:lnTo>
                  <a:lnTo>
                    <a:pt x="868" y="207"/>
                  </a:lnTo>
                  <a:lnTo>
                    <a:pt x="860" y="207"/>
                  </a:lnTo>
                  <a:lnTo>
                    <a:pt x="852" y="206"/>
                  </a:lnTo>
                  <a:lnTo>
                    <a:pt x="838" y="205"/>
                  </a:lnTo>
                  <a:lnTo>
                    <a:pt x="830" y="204"/>
                  </a:lnTo>
                  <a:lnTo>
                    <a:pt x="826" y="236"/>
                  </a:lnTo>
                  <a:lnTo>
                    <a:pt x="825" y="262"/>
                  </a:lnTo>
                  <a:lnTo>
                    <a:pt x="826" y="272"/>
                  </a:lnTo>
                  <a:lnTo>
                    <a:pt x="826" y="281"/>
                  </a:lnTo>
                  <a:lnTo>
                    <a:pt x="828" y="289"/>
                  </a:lnTo>
                  <a:lnTo>
                    <a:pt x="830" y="296"/>
                  </a:lnTo>
                  <a:lnTo>
                    <a:pt x="870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888" name="Freeform 383"/>
            <p:cNvSpPr>
              <a:spLocks/>
            </p:cNvSpPr>
            <p:nvPr>
              <p:custDataLst>
                <p:tags r:id="rId273"/>
              </p:custDataLst>
            </p:nvPr>
          </p:nvSpPr>
          <p:spPr bwMode="auto">
            <a:xfrm>
              <a:off x="6674482" y="3605652"/>
              <a:ext cx="411162" cy="611187"/>
            </a:xfrm>
            <a:custGeom>
              <a:avLst/>
              <a:gdLst>
                <a:gd name="T0" fmla="*/ 2147483647 w 943"/>
                <a:gd name="T1" fmla="*/ 2147483647 h 1172"/>
                <a:gd name="T2" fmla="*/ 2147483647 w 943"/>
                <a:gd name="T3" fmla="*/ 2147483647 h 1172"/>
                <a:gd name="T4" fmla="*/ 2147483647 w 943"/>
                <a:gd name="T5" fmla="*/ 2147483647 h 1172"/>
                <a:gd name="T6" fmla="*/ 2147483647 w 943"/>
                <a:gd name="T7" fmla="*/ 2147483647 h 1172"/>
                <a:gd name="T8" fmla="*/ 2147483647 w 943"/>
                <a:gd name="T9" fmla="*/ 2147483647 h 1172"/>
                <a:gd name="T10" fmla="*/ 2147483647 w 943"/>
                <a:gd name="T11" fmla="*/ 2147483647 h 1172"/>
                <a:gd name="T12" fmla="*/ 2147483647 w 943"/>
                <a:gd name="T13" fmla="*/ 2147483647 h 1172"/>
                <a:gd name="T14" fmla="*/ 2147483647 w 943"/>
                <a:gd name="T15" fmla="*/ 2147483647 h 1172"/>
                <a:gd name="T16" fmla="*/ 2147483647 w 943"/>
                <a:gd name="T17" fmla="*/ 2147483647 h 1172"/>
                <a:gd name="T18" fmla="*/ 2147483647 w 943"/>
                <a:gd name="T19" fmla="*/ 2147483647 h 1172"/>
                <a:gd name="T20" fmla="*/ 2147483647 w 943"/>
                <a:gd name="T21" fmla="*/ 2147483647 h 1172"/>
                <a:gd name="T22" fmla="*/ 2147483647 w 943"/>
                <a:gd name="T23" fmla="*/ 2147483647 h 1172"/>
                <a:gd name="T24" fmla="*/ 2147483647 w 943"/>
                <a:gd name="T25" fmla="*/ 2147483647 h 1172"/>
                <a:gd name="T26" fmla="*/ 2147483647 w 943"/>
                <a:gd name="T27" fmla="*/ 2147483647 h 1172"/>
                <a:gd name="T28" fmla="*/ 2147483647 w 943"/>
                <a:gd name="T29" fmla="*/ 2147483647 h 1172"/>
                <a:gd name="T30" fmla="*/ 2147483647 w 943"/>
                <a:gd name="T31" fmla="*/ 2147483647 h 1172"/>
                <a:gd name="T32" fmla="*/ 2147483647 w 943"/>
                <a:gd name="T33" fmla="*/ 2147483647 h 1172"/>
                <a:gd name="T34" fmla="*/ 2147483647 w 943"/>
                <a:gd name="T35" fmla="*/ 2147483647 h 1172"/>
                <a:gd name="T36" fmla="*/ 2147483647 w 943"/>
                <a:gd name="T37" fmla="*/ 2147483647 h 1172"/>
                <a:gd name="T38" fmla="*/ 2147483647 w 943"/>
                <a:gd name="T39" fmla="*/ 2147483647 h 1172"/>
                <a:gd name="T40" fmla="*/ 2147483647 w 943"/>
                <a:gd name="T41" fmla="*/ 2147483647 h 1172"/>
                <a:gd name="T42" fmla="*/ 2147483647 w 943"/>
                <a:gd name="T43" fmla="*/ 2147483647 h 1172"/>
                <a:gd name="T44" fmla="*/ 2147483647 w 943"/>
                <a:gd name="T45" fmla="*/ 2147483647 h 1172"/>
                <a:gd name="T46" fmla="*/ 2147483647 w 943"/>
                <a:gd name="T47" fmla="*/ 2147483647 h 1172"/>
                <a:gd name="T48" fmla="*/ 2147483647 w 943"/>
                <a:gd name="T49" fmla="*/ 2147483647 h 1172"/>
                <a:gd name="T50" fmla="*/ 2147483647 w 943"/>
                <a:gd name="T51" fmla="*/ 2147483647 h 1172"/>
                <a:gd name="T52" fmla="*/ 2147483647 w 943"/>
                <a:gd name="T53" fmla="*/ 2147483647 h 1172"/>
                <a:gd name="T54" fmla="*/ 2147483647 w 943"/>
                <a:gd name="T55" fmla="*/ 2147483647 h 1172"/>
                <a:gd name="T56" fmla="*/ 2147483647 w 943"/>
                <a:gd name="T57" fmla="*/ 2147483647 h 1172"/>
                <a:gd name="T58" fmla="*/ 2147483647 w 943"/>
                <a:gd name="T59" fmla="*/ 2147483647 h 1172"/>
                <a:gd name="T60" fmla="*/ 2147483647 w 943"/>
                <a:gd name="T61" fmla="*/ 2147483647 h 1172"/>
                <a:gd name="T62" fmla="*/ 2147483647 w 943"/>
                <a:gd name="T63" fmla="*/ 2147483647 h 1172"/>
                <a:gd name="T64" fmla="*/ 2147483647 w 943"/>
                <a:gd name="T65" fmla="*/ 2147483647 h 1172"/>
                <a:gd name="T66" fmla="*/ 2147483647 w 943"/>
                <a:gd name="T67" fmla="*/ 2147483647 h 1172"/>
                <a:gd name="T68" fmla="*/ 2147483647 w 943"/>
                <a:gd name="T69" fmla="*/ 2147483647 h 1172"/>
                <a:gd name="T70" fmla="*/ 2147483647 w 943"/>
                <a:gd name="T71" fmla="*/ 2147483647 h 1172"/>
                <a:gd name="T72" fmla="*/ 2147483647 w 943"/>
                <a:gd name="T73" fmla="*/ 2147483647 h 1172"/>
                <a:gd name="T74" fmla="*/ 2147483647 w 943"/>
                <a:gd name="T75" fmla="*/ 2147483647 h 1172"/>
                <a:gd name="T76" fmla="*/ 2147483647 w 943"/>
                <a:gd name="T77" fmla="*/ 2147483647 h 1172"/>
                <a:gd name="T78" fmla="*/ 2147483647 w 943"/>
                <a:gd name="T79" fmla="*/ 2147483647 h 1172"/>
                <a:gd name="T80" fmla="*/ 2147483647 w 943"/>
                <a:gd name="T81" fmla="*/ 2147483647 h 1172"/>
                <a:gd name="T82" fmla="*/ 2147483647 w 943"/>
                <a:gd name="T83" fmla="*/ 2147483647 h 1172"/>
                <a:gd name="T84" fmla="*/ 2147483647 w 943"/>
                <a:gd name="T85" fmla="*/ 2147483647 h 1172"/>
                <a:gd name="T86" fmla="*/ 2147483647 w 943"/>
                <a:gd name="T87" fmla="*/ 2147483647 h 1172"/>
                <a:gd name="T88" fmla="*/ 2147483647 w 943"/>
                <a:gd name="T89" fmla="*/ 2147483647 h 1172"/>
                <a:gd name="T90" fmla="*/ 2147483647 w 943"/>
                <a:gd name="T91" fmla="*/ 2147483647 h 1172"/>
                <a:gd name="T92" fmla="*/ 2147483647 w 943"/>
                <a:gd name="T93" fmla="*/ 2147483647 h 1172"/>
                <a:gd name="T94" fmla="*/ 2147483647 w 943"/>
                <a:gd name="T95" fmla="*/ 2147483647 h 1172"/>
                <a:gd name="T96" fmla="*/ 2147483647 w 943"/>
                <a:gd name="T97" fmla="*/ 2147483647 h 1172"/>
                <a:gd name="T98" fmla="*/ 2147483647 w 943"/>
                <a:gd name="T99" fmla="*/ 2147483647 h 1172"/>
                <a:gd name="T100" fmla="*/ 2147483647 w 943"/>
                <a:gd name="T101" fmla="*/ 2147483647 h 1172"/>
                <a:gd name="T102" fmla="*/ 2147483647 w 943"/>
                <a:gd name="T103" fmla="*/ 2147483647 h 1172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943" h="1172">
                  <a:moveTo>
                    <a:pt x="711" y="30"/>
                  </a:moveTo>
                  <a:lnTo>
                    <a:pt x="715" y="25"/>
                  </a:lnTo>
                  <a:lnTo>
                    <a:pt x="728" y="15"/>
                  </a:lnTo>
                  <a:lnTo>
                    <a:pt x="735" y="9"/>
                  </a:lnTo>
                  <a:lnTo>
                    <a:pt x="742" y="5"/>
                  </a:lnTo>
                  <a:lnTo>
                    <a:pt x="747" y="1"/>
                  </a:lnTo>
                  <a:lnTo>
                    <a:pt x="751" y="0"/>
                  </a:lnTo>
                  <a:lnTo>
                    <a:pt x="755" y="10"/>
                  </a:lnTo>
                  <a:lnTo>
                    <a:pt x="759" y="17"/>
                  </a:lnTo>
                  <a:lnTo>
                    <a:pt x="765" y="23"/>
                  </a:lnTo>
                  <a:lnTo>
                    <a:pt x="769" y="26"/>
                  </a:lnTo>
                  <a:lnTo>
                    <a:pt x="776" y="28"/>
                  </a:lnTo>
                  <a:lnTo>
                    <a:pt x="784" y="30"/>
                  </a:lnTo>
                  <a:lnTo>
                    <a:pt x="792" y="30"/>
                  </a:lnTo>
                  <a:lnTo>
                    <a:pt x="803" y="30"/>
                  </a:lnTo>
                  <a:lnTo>
                    <a:pt x="804" y="40"/>
                  </a:lnTo>
                  <a:lnTo>
                    <a:pt x="808" y="48"/>
                  </a:lnTo>
                  <a:lnTo>
                    <a:pt x="810" y="51"/>
                  </a:lnTo>
                  <a:lnTo>
                    <a:pt x="812" y="53"/>
                  </a:lnTo>
                  <a:lnTo>
                    <a:pt x="814" y="55"/>
                  </a:lnTo>
                  <a:lnTo>
                    <a:pt x="816" y="55"/>
                  </a:lnTo>
                  <a:lnTo>
                    <a:pt x="823" y="76"/>
                  </a:lnTo>
                  <a:lnTo>
                    <a:pt x="830" y="94"/>
                  </a:lnTo>
                  <a:lnTo>
                    <a:pt x="832" y="102"/>
                  </a:lnTo>
                  <a:lnTo>
                    <a:pt x="835" y="109"/>
                  </a:lnTo>
                  <a:lnTo>
                    <a:pt x="836" y="116"/>
                  </a:lnTo>
                  <a:lnTo>
                    <a:pt x="837" y="123"/>
                  </a:lnTo>
                  <a:lnTo>
                    <a:pt x="836" y="150"/>
                  </a:lnTo>
                  <a:lnTo>
                    <a:pt x="836" y="175"/>
                  </a:lnTo>
                  <a:lnTo>
                    <a:pt x="837" y="187"/>
                  </a:lnTo>
                  <a:lnTo>
                    <a:pt x="838" y="200"/>
                  </a:lnTo>
                  <a:lnTo>
                    <a:pt x="842" y="211"/>
                  </a:lnTo>
                  <a:lnTo>
                    <a:pt x="845" y="222"/>
                  </a:lnTo>
                  <a:lnTo>
                    <a:pt x="851" y="232"/>
                  </a:lnTo>
                  <a:lnTo>
                    <a:pt x="857" y="243"/>
                  </a:lnTo>
                  <a:lnTo>
                    <a:pt x="866" y="253"/>
                  </a:lnTo>
                  <a:lnTo>
                    <a:pt x="876" y="264"/>
                  </a:lnTo>
                  <a:lnTo>
                    <a:pt x="889" y="273"/>
                  </a:lnTo>
                  <a:lnTo>
                    <a:pt x="904" y="283"/>
                  </a:lnTo>
                  <a:lnTo>
                    <a:pt x="922" y="292"/>
                  </a:lnTo>
                  <a:lnTo>
                    <a:pt x="943" y="301"/>
                  </a:lnTo>
                  <a:lnTo>
                    <a:pt x="928" y="314"/>
                  </a:lnTo>
                  <a:lnTo>
                    <a:pt x="913" y="328"/>
                  </a:lnTo>
                  <a:lnTo>
                    <a:pt x="896" y="344"/>
                  </a:lnTo>
                  <a:lnTo>
                    <a:pt x="879" y="361"/>
                  </a:lnTo>
                  <a:lnTo>
                    <a:pt x="871" y="370"/>
                  </a:lnTo>
                  <a:lnTo>
                    <a:pt x="865" y="380"/>
                  </a:lnTo>
                  <a:lnTo>
                    <a:pt x="859" y="389"/>
                  </a:lnTo>
                  <a:lnTo>
                    <a:pt x="854" y="399"/>
                  </a:lnTo>
                  <a:lnTo>
                    <a:pt x="851" y="410"/>
                  </a:lnTo>
                  <a:lnTo>
                    <a:pt x="849" y="420"/>
                  </a:lnTo>
                  <a:lnTo>
                    <a:pt x="848" y="432"/>
                  </a:lnTo>
                  <a:lnTo>
                    <a:pt x="851" y="443"/>
                  </a:lnTo>
                  <a:lnTo>
                    <a:pt x="830" y="616"/>
                  </a:lnTo>
                  <a:lnTo>
                    <a:pt x="809" y="635"/>
                  </a:lnTo>
                  <a:lnTo>
                    <a:pt x="787" y="652"/>
                  </a:lnTo>
                  <a:lnTo>
                    <a:pt x="782" y="658"/>
                  </a:lnTo>
                  <a:lnTo>
                    <a:pt x="778" y="663"/>
                  </a:lnTo>
                  <a:lnTo>
                    <a:pt x="774" y="670"/>
                  </a:lnTo>
                  <a:lnTo>
                    <a:pt x="770" y="677"/>
                  </a:lnTo>
                  <a:lnTo>
                    <a:pt x="767" y="686"/>
                  </a:lnTo>
                  <a:lnTo>
                    <a:pt x="766" y="696"/>
                  </a:lnTo>
                  <a:lnTo>
                    <a:pt x="764" y="708"/>
                  </a:lnTo>
                  <a:lnTo>
                    <a:pt x="764" y="721"/>
                  </a:lnTo>
                  <a:lnTo>
                    <a:pt x="763" y="721"/>
                  </a:lnTo>
                  <a:lnTo>
                    <a:pt x="758" y="721"/>
                  </a:lnTo>
                  <a:lnTo>
                    <a:pt x="755" y="723"/>
                  </a:lnTo>
                  <a:lnTo>
                    <a:pt x="752" y="726"/>
                  </a:lnTo>
                  <a:lnTo>
                    <a:pt x="748" y="730"/>
                  </a:lnTo>
                  <a:lnTo>
                    <a:pt x="745" y="735"/>
                  </a:lnTo>
                  <a:lnTo>
                    <a:pt x="741" y="743"/>
                  </a:lnTo>
                  <a:lnTo>
                    <a:pt x="736" y="752"/>
                  </a:lnTo>
                  <a:lnTo>
                    <a:pt x="732" y="766"/>
                  </a:lnTo>
                  <a:lnTo>
                    <a:pt x="728" y="780"/>
                  </a:lnTo>
                  <a:lnTo>
                    <a:pt x="723" y="798"/>
                  </a:lnTo>
                  <a:lnTo>
                    <a:pt x="719" y="821"/>
                  </a:lnTo>
                  <a:lnTo>
                    <a:pt x="714" y="845"/>
                  </a:lnTo>
                  <a:lnTo>
                    <a:pt x="711" y="875"/>
                  </a:lnTo>
                  <a:lnTo>
                    <a:pt x="701" y="875"/>
                  </a:lnTo>
                  <a:lnTo>
                    <a:pt x="692" y="877"/>
                  </a:lnTo>
                  <a:lnTo>
                    <a:pt x="684" y="880"/>
                  </a:lnTo>
                  <a:lnTo>
                    <a:pt x="677" y="884"/>
                  </a:lnTo>
                  <a:lnTo>
                    <a:pt x="670" y="890"/>
                  </a:lnTo>
                  <a:lnTo>
                    <a:pt x="665" y="896"/>
                  </a:lnTo>
                  <a:lnTo>
                    <a:pt x="662" y="903"/>
                  </a:lnTo>
                  <a:lnTo>
                    <a:pt x="659" y="910"/>
                  </a:lnTo>
                  <a:lnTo>
                    <a:pt x="658" y="917"/>
                  </a:lnTo>
                  <a:lnTo>
                    <a:pt x="658" y="924"/>
                  </a:lnTo>
                  <a:lnTo>
                    <a:pt x="661" y="929"/>
                  </a:lnTo>
                  <a:lnTo>
                    <a:pt x="664" y="934"/>
                  </a:lnTo>
                  <a:lnTo>
                    <a:pt x="666" y="936"/>
                  </a:lnTo>
                  <a:lnTo>
                    <a:pt x="669" y="937"/>
                  </a:lnTo>
                  <a:lnTo>
                    <a:pt x="673" y="938"/>
                  </a:lnTo>
                  <a:lnTo>
                    <a:pt x="677" y="939"/>
                  </a:lnTo>
                  <a:lnTo>
                    <a:pt x="686" y="939"/>
                  </a:lnTo>
                  <a:lnTo>
                    <a:pt x="697" y="936"/>
                  </a:lnTo>
                  <a:lnTo>
                    <a:pt x="700" y="941"/>
                  </a:lnTo>
                  <a:lnTo>
                    <a:pt x="702" y="944"/>
                  </a:lnTo>
                  <a:lnTo>
                    <a:pt x="706" y="947"/>
                  </a:lnTo>
                  <a:lnTo>
                    <a:pt x="709" y="950"/>
                  </a:lnTo>
                  <a:lnTo>
                    <a:pt x="717" y="955"/>
                  </a:lnTo>
                  <a:lnTo>
                    <a:pt x="724" y="958"/>
                  </a:lnTo>
                  <a:lnTo>
                    <a:pt x="731" y="963"/>
                  </a:lnTo>
                  <a:lnTo>
                    <a:pt x="739" y="968"/>
                  </a:lnTo>
                  <a:lnTo>
                    <a:pt x="742" y="971"/>
                  </a:lnTo>
                  <a:lnTo>
                    <a:pt x="745" y="975"/>
                  </a:lnTo>
                  <a:lnTo>
                    <a:pt x="747" y="981"/>
                  </a:lnTo>
                  <a:lnTo>
                    <a:pt x="751" y="986"/>
                  </a:lnTo>
                  <a:lnTo>
                    <a:pt x="753" y="996"/>
                  </a:lnTo>
                  <a:lnTo>
                    <a:pt x="756" y="1007"/>
                  </a:lnTo>
                  <a:lnTo>
                    <a:pt x="759" y="1018"/>
                  </a:lnTo>
                  <a:lnTo>
                    <a:pt x="765" y="1028"/>
                  </a:lnTo>
                  <a:lnTo>
                    <a:pt x="767" y="1033"/>
                  </a:lnTo>
                  <a:lnTo>
                    <a:pt x="771" y="1039"/>
                  </a:lnTo>
                  <a:lnTo>
                    <a:pt x="775" y="1043"/>
                  </a:lnTo>
                  <a:lnTo>
                    <a:pt x="779" y="1046"/>
                  </a:lnTo>
                  <a:lnTo>
                    <a:pt x="785" y="1049"/>
                  </a:lnTo>
                  <a:lnTo>
                    <a:pt x="790" y="1052"/>
                  </a:lnTo>
                  <a:lnTo>
                    <a:pt x="797" y="1053"/>
                  </a:lnTo>
                  <a:lnTo>
                    <a:pt x="803" y="1053"/>
                  </a:lnTo>
                  <a:lnTo>
                    <a:pt x="810" y="1063"/>
                  </a:lnTo>
                  <a:lnTo>
                    <a:pt x="814" y="1071"/>
                  </a:lnTo>
                  <a:lnTo>
                    <a:pt x="815" y="1076"/>
                  </a:lnTo>
                  <a:lnTo>
                    <a:pt x="815" y="1081"/>
                  </a:lnTo>
                  <a:lnTo>
                    <a:pt x="809" y="1094"/>
                  </a:lnTo>
                  <a:lnTo>
                    <a:pt x="797" y="1115"/>
                  </a:lnTo>
                  <a:lnTo>
                    <a:pt x="776" y="1115"/>
                  </a:lnTo>
                  <a:lnTo>
                    <a:pt x="755" y="1115"/>
                  </a:lnTo>
                  <a:lnTo>
                    <a:pt x="734" y="1115"/>
                  </a:lnTo>
                  <a:lnTo>
                    <a:pt x="718" y="1115"/>
                  </a:lnTo>
                  <a:lnTo>
                    <a:pt x="718" y="1127"/>
                  </a:lnTo>
                  <a:lnTo>
                    <a:pt x="718" y="1139"/>
                  </a:lnTo>
                  <a:lnTo>
                    <a:pt x="711" y="1143"/>
                  </a:lnTo>
                  <a:lnTo>
                    <a:pt x="697" y="1152"/>
                  </a:lnTo>
                  <a:lnTo>
                    <a:pt x="687" y="1157"/>
                  </a:lnTo>
                  <a:lnTo>
                    <a:pt x="675" y="1161"/>
                  </a:lnTo>
                  <a:lnTo>
                    <a:pt x="663" y="1163"/>
                  </a:lnTo>
                  <a:lnTo>
                    <a:pt x="651" y="1164"/>
                  </a:lnTo>
                  <a:lnTo>
                    <a:pt x="628" y="1166"/>
                  </a:lnTo>
                  <a:lnTo>
                    <a:pt x="598" y="1170"/>
                  </a:lnTo>
                  <a:lnTo>
                    <a:pt x="583" y="1171"/>
                  </a:lnTo>
                  <a:lnTo>
                    <a:pt x="566" y="1172"/>
                  </a:lnTo>
                  <a:lnTo>
                    <a:pt x="549" y="1172"/>
                  </a:lnTo>
                  <a:lnTo>
                    <a:pt x="531" y="1170"/>
                  </a:lnTo>
                  <a:lnTo>
                    <a:pt x="515" y="1158"/>
                  </a:lnTo>
                  <a:lnTo>
                    <a:pt x="496" y="1141"/>
                  </a:lnTo>
                  <a:lnTo>
                    <a:pt x="486" y="1133"/>
                  </a:lnTo>
                  <a:lnTo>
                    <a:pt x="475" y="1127"/>
                  </a:lnTo>
                  <a:lnTo>
                    <a:pt x="470" y="1124"/>
                  </a:lnTo>
                  <a:lnTo>
                    <a:pt x="464" y="1123"/>
                  </a:lnTo>
                  <a:lnTo>
                    <a:pt x="457" y="1121"/>
                  </a:lnTo>
                  <a:lnTo>
                    <a:pt x="452" y="1121"/>
                  </a:lnTo>
                  <a:lnTo>
                    <a:pt x="432" y="1122"/>
                  </a:lnTo>
                  <a:lnTo>
                    <a:pt x="405" y="1124"/>
                  </a:lnTo>
                  <a:lnTo>
                    <a:pt x="390" y="1125"/>
                  </a:lnTo>
                  <a:lnTo>
                    <a:pt x="375" y="1126"/>
                  </a:lnTo>
                  <a:lnTo>
                    <a:pt x="360" y="1126"/>
                  </a:lnTo>
                  <a:lnTo>
                    <a:pt x="345" y="1125"/>
                  </a:lnTo>
                  <a:lnTo>
                    <a:pt x="331" y="1123"/>
                  </a:lnTo>
                  <a:lnTo>
                    <a:pt x="319" y="1120"/>
                  </a:lnTo>
                  <a:lnTo>
                    <a:pt x="314" y="1117"/>
                  </a:lnTo>
                  <a:lnTo>
                    <a:pt x="308" y="1115"/>
                  </a:lnTo>
                  <a:lnTo>
                    <a:pt x="304" y="1112"/>
                  </a:lnTo>
                  <a:lnTo>
                    <a:pt x="300" y="1108"/>
                  </a:lnTo>
                  <a:lnTo>
                    <a:pt x="297" y="1104"/>
                  </a:lnTo>
                  <a:lnTo>
                    <a:pt x="295" y="1100"/>
                  </a:lnTo>
                  <a:lnTo>
                    <a:pt x="293" y="1095"/>
                  </a:lnTo>
                  <a:lnTo>
                    <a:pt x="292" y="1088"/>
                  </a:lnTo>
                  <a:lnTo>
                    <a:pt x="293" y="1082"/>
                  </a:lnTo>
                  <a:lnTo>
                    <a:pt x="294" y="1075"/>
                  </a:lnTo>
                  <a:lnTo>
                    <a:pt x="295" y="1068"/>
                  </a:lnTo>
                  <a:lnTo>
                    <a:pt x="298" y="1060"/>
                  </a:lnTo>
                  <a:lnTo>
                    <a:pt x="291" y="1049"/>
                  </a:lnTo>
                  <a:lnTo>
                    <a:pt x="283" y="1039"/>
                  </a:lnTo>
                  <a:lnTo>
                    <a:pt x="274" y="1029"/>
                  </a:lnTo>
                  <a:lnTo>
                    <a:pt x="265" y="1021"/>
                  </a:lnTo>
                  <a:lnTo>
                    <a:pt x="248" y="1005"/>
                  </a:lnTo>
                  <a:lnTo>
                    <a:pt x="230" y="990"/>
                  </a:lnTo>
                  <a:lnTo>
                    <a:pt x="222" y="983"/>
                  </a:lnTo>
                  <a:lnTo>
                    <a:pt x="216" y="974"/>
                  </a:lnTo>
                  <a:lnTo>
                    <a:pt x="209" y="966"/>
                  </a:lnTo>
                  <a:lnTo>
                    <a:pt x="204" y="957"/>
                  </a:lnTo>
                  <a:lnTo>
                    <a:pt x="198" y="947"/>
                  </a:lnTo>
                  <a:lnTo>
                    <a:pt x="195" y="937"/>
                  </a:lnTo>
                  <a:lnTo>
                    <a:pt x="193" y="925"/>
                  </a:lnTo>
                  <a:lnTo>
                    <a:pt x="193" y="911"/>
                  </a:lnTo>
                  <a:lnTo>
                    <a:pt x="180" y="911"/>
                  </a:lnTo>
                  <a:lnTo>
                    <a:pt x="169" y="909"/>
                  </a:lnTo>
                  <a:lnTo>
                    <a:pt x="160" y="907"/>
                  </a:lnTo>
                  <a:lnTo>
                    <a:pt x="152" y="903"/>
                  </a:lnTo>
                  <a:lnTo>
                    <a:pt x="146" y="898"/>
                  </a:lnTo>
                  <a:lnTo>
                    <a:pt x="140" y="893"/>
                  </a:lnTo>
                  <a:lnTo>
                    <a:pt x="136" y="887"/>
                  </a:lnTo>
                  <a:lnTo>
                    <a:pt x="131" y="880"/>
                  </a:lnTo>
                  <a:lnTo>
                    <a:pt x="120" y="846"/>
                  </a:lnTo>
                  <a:lnTo>
                    <a:pt x="106" y="806"/>
                  </a:lnTo>
                  <a:lnTo>
                    <a:pt x="105" y="801"/>
                  </a:lnTo>
                  <a:lnTo>
                    <a:pt x="103" y="796"/>
                  </a:lnTo>
                  <a:lnTo>
                    <a:pt x="99" y="792"/>
                  </a:lnTo>
                  <a:lnTo>
                    <a:pt x="97" y="788"/>
                  </a:lnTo>
                  <a:lnTo>
                    <a:pt x="90" y="780"/>
                  </a:lnTo>
                  <a:lnTo>
                    <a:pt x="83" y="774"/>
                  </a:lnTo>
                  <a:lnTo>
                    <a:pt x="75" y="768"/>
                  </a:lnTo>
                  <a:lnTo>
                    <a:pt x="69" y="761"/>
                  </a:lnTo>
                  <a:lnTo>
                    <a:pt x="65" y="758"/>
                  </a:lnTo>
                  <a:lnTo>
                    <a:pt x="63" y="753"/>
                  </a:lnTo>
                  <a:lnTo>
                    <a:pt x="61" y="749"/>
                  </a:lnTo>
                  <a:lnTo>
                    <a:pt x="60" y="745"/>
                  </a:lnTo>
                  <a:lnTo>
                    <a:pt x="46" y="711"/>
                  </a:lnTo>
                  <a:lnTo>
                    <a:pt x="33" y="676"/>
                  </a:lnTo>
                  <a:lnTo>
                    <a:pt x="25" y="659"/>
                  </a:lnTo>
                  <a:lnTo>
                    <a:pt x="17" y="643"/>
                  </a:lnTo>
                  <a:lnTo>
                    <a:pt x="9" y="628"/>
                  </a:lnTo>
                  <a:lnTo>
                    <a:pt x="0" y="616"/>
                  </a:lnTo>
                  <a:lnTo>
                    <a:pt x="4" y="611"/>
                  </a:lnTo>
                  <a:lnTo>
                    <a:pt x="8" y="607"/>
                  </a:lnTo>
                  <a:lnTo>
                    <a:pt x="11" y="602"/>
                  </a:lnTo>
                  <a:lnTo>
                    <a:pt x="13" y="598"/>
                  </a:lnTo>
                  <a:lnTo>
                    <a:pt x="16" y="587"/>
                  </a:lnTo>
                  <a:lnTo>
                    <a:pt x="18" y="577"/>
                  </a:lnTo>
                  <a:lnTo>
                    <a:pt x="19" y="567"/>
                  </a:lnTo>
                  <a:lnTo>
                    <a:pt x="20" y="555"/>
                  </a:lnTo>
                  <a:lnTo>
                    <a:pt x="23" y="543"/>
                  </a:lnTo>
                  <a:lnTo>
                    <a:pt x="26" y="529"/>
                  </a:lnTo>
                  <a:lnTo>
                    <a:pt x="29" y="521"/>
                  </a:lnTo>
                  <a:lnTo>
                    <a:pt x="33" y="514"/>
                  </a:lnTo>
                  <a:lnTo>
                    <a:pt x="37" y="507"/>
                  </a:lnTo>
                  <a:lnTo>
                    <a:pt x="41" y="500"/>
                  </a:lnTo>
                  <a:lnTo>
                    <a:pt x="52" y="487"/>
                  </a:lnTo>
                  <a:lnTo>
                    <a:pt x="64" y="474"/>
                  </a:lnTo>
                  <a:lnTo>
                    <a:pt x="78" y="464"/>
                  </a:lnTo>
                  <a:lnTo>
                    <a:pt x="90" y="456"/>
                  </a:lnTo>
                  <a:lnTo>
                    <a:pt x="102" y="449"/>
                  </a:lnTo>
                  <a:lnTo>
                    <a:pt x="113" y="443"/>
                  </a:lnTo>
                  <a:lnTo>
                    <a:pt x="113" y="222"/>
                  </a:lnTo>
                  <a:lnTo>
                    <a:pt x="113" y="212"/>
                  </a:lnTo>
                  <a:lnTo>
                    <a:pt x="113" y="200"/>
                  </a:lnTo>
                  <a:lnTo>
                    <a:pt x="113" y="188"/>
                  </a:lnTo>
                  <a:lnTo>
                    <a:pt x="113" y="178"/>
                  </a:lnTo>
                  <a:lnTo>
                    <a:pt x="123" y="179"/>
                  </a:lnTo>
                  <a:lnTo>
                    <a:pt x="131" y="179"/>
                  </a:lnTo>
                  <a:lnTo>
                    <a:pt x="139" y="178"/>
                  </a:lnTo>
                  <a:lnTo>
                    <a:pt x="146" y="176"/>
                  </a:lnTo>
                  <a:lnTo>
                    <a:pt x="150" y="174"/>
                  </a:lnTo>
                  <a:lnTo>
                    <a:pt x="153" y="171"/>
                  </a:lnTo>
                  <a:lnTo>
                    <a:pt x="157" y="167"/>
                  </a:lnTo>
                  <a:lnTo>
                    <a:pt x="159" y="162"/>
                  </a:lnTo>
                  <a:lnTo>
                    <a:pt x="160" y="152"/>
                  </a:lnTo>
                  <a:lnTo>
                    <a:pt x="160" y="137"/>
                  </a:lnTo>
                  <a:lnTo>
                    <a:pt x="160" y="122"/>
                  </a:lnTo>
                  <a:lnTo>
                    <a:pt x="159" y="105"/>
                  </a:lnTo>
                  <a:lnTo>
                    <a:pt x="159" y="93"/>
                  </a:lnTo>
                  <a:lnTo>
                    <a:pt x="159" y="83"/>
                  </a:lnTo>
                  <a:lnTo>
                    <a:pt x="159" y="76"/>
                  </a:lnTo>
                  <a:lnTo>
                    <a:pt x="159" y="67"/>
                  </a:lnTo>
                  <a:lnTo>
                    <a:pt x="664" y="73"/>
                  </a:lnTo>
                  <a:lnTo>
                    <a:pt x="668" y="74"/>
                  </a:lnTo>
                  <a:lnTo>
                    <a:pt x="672" y="73"/>
                  </a:lnTo>
                  <a:lnTo>
                    <a:pt x="676" y="72"/>
                  </a:lnTo>
                  <a:lnTo>
                    <a:pt x="679" y="69"/>
                  </a:lnTo>
                  <a:lnTo>
                    <a:pt x="688" y="63"/>
                  </a:lnTo>
                  <a:lnTo>
                    <a:pt x="695" y="54"/>
                  </a:lnTo>
                  <a:lnTo>
                    <a:pt x="707" y="38"/>
                  </a:lnTo>
                  <a:lnTo>
                    <a:pt x="711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1348" name="Group 384"/>
            <p:cNvGrpSpPr>
              <a:grpSpLocks/>
            </p:cNvGrpSpPr>
            <p:nvPr>
              <p:custDataLst>
                <p:tags r:id="rId274"/>
              </p:custDataLst>
            </p:nvPr>
          </p:nvGrpSpPr>
          <p:grpSpPr bwMode="auto">
            <a:xfrm>
              <a:off x="5458457" y="3807264"/>
              <a:ext cx="80962" cy="82550"/>
              <a:chOff x="2352" y="2343"/>
              <a:chExt cx="65" cy="53"/>
            </a:xfrm>
            <a:solidFill>
              <a:srgbClr val="19194D"/>
            </a:solidFill>
          </p:grpSpPr>
          <p:sp>
            <p:nvSpPr>
              <p:cNvPr id="1505" name="Freeform 385"/>
              <p:cNvSpPr>
                <a:spLocks/>
              </p:cNvSpPr>
              <p:nvPr/>
            </p:nvSpPr>
            <p:spPr bwMode="auto">
              <a:xfrm>
                <a:off x="2352" y="2343"/>
                <a:ext cx="16" cy="11"/>
              </a:xfrm>
              <a:custGeom>
                <a:avLst/>
                <a:gdLst>
                  <a:gd name="T0" fmla="*/ 46 w 51"/>
                  <a:gd name="T1" fmla="*/ 0 h 33"/>
                  <a:gd name="T2" fmla="*/ 0 w 51"/>
                  <a:gd name="T3" fmla="*/ 5 h 33"/>
                  <a:gd name="T4" fmla="*/ 4 w 51"/>
                  <a:gd name="T5" fmla="*/ 28 h 33"/>
                  <a:gd name="T6" fmla="*/ 10 w 51"/>
                  <a:gd name="T7" fmla="*/ 33 h 33"/>
                  <a:gd name="T8" fmla="*/ 35 w 51"/>
                  <a:gd name="T9" fmla="*/ 25 h 33"/>
                  <a:gd name="T10" fmla="*/ 48 w 51"/>
                  <a:gd name="T11" fmla="*/ 15 h 33"/>
                  <a:gd name="T12" fmla="*/ 51 w 51"/>
                  <a:gd name="T13" fmla="*/ 8 h 33"/>
                  <a:gd name="T14" fmla="*/ 46 w 51"/>
                  <a:gd name="T15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1" h="33">
                    <a:moveTo>
                      <a:pt x="46" y="0"/>
                    </a:moveTo>
                    <a:lnTo>
                      <a:pt x="0" y="5"/>
                    </a:lnTo>
                    <a:lnTo>
                      <a:pt x="4" y="28"/>
                    </a:lnTo>
                    <a:lnTo>
                      <a:pt x="10" y="33"/>
                    </a:lnTo>
                    <a:lnTo>
                      <a:pt x="35" y="25"/>
                    </a:lnTo>
                    <a:lnTo>
                      <a:pt x="48" y="15"/>
                    </a:lnTo>
                    <a:lnTo>
                      <a:pt x="51" y="8"/>
                    </a:lnTo>
                    <a:lnTo>
                      <a:pt x="46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06" name="Freeform 386"/>
              <p:cNvSpPr>
                <a:spLocks/>
              </p:cNvSpPr>
              <p:nvPr/>
            </p:nvSpPr>
            <p:spPr bwMode="auto">
              <a:xfrm>
                <a:off x="2372" y="2354"/>
                <a:ext cx="20" cy="7"/>
              </a:xfrm>
              <a:custGeom>
                <a:avLst/>
                <a:gdLst>
                  <a:gd name="T0" fmla="*/ 61 w 61"/>
                  <a:gd name="T1" fmla="*/ 6 h 20"/>
                  <a:gd name="T2" fmla="*/ 53 w 61"/>
                  <a:gd name="T3" fmla="*/ 2 h 20"/>
                  <a:gd name="T4" fmla="*/ 0 w 61"/>
                  <a:gd name="T5" fmla="*/ 0 h 20"/>
                  <a:gd name="T6" fmla="*/ 2 w 61"/>
                  <a:gd name="T7" fmla="*/ 14 h 20"/>
                  <a:gd name="T8" fmla="*/ 7 w 61"/>
                  <a:gd name="T9" fmla="*/ 20 h 20"/>
                  <a:gd name="T10" fmla="*/ 18 w 61"/>
                  <a:gd name="T11" fmla="*/ 13 h 20"/>
                  <a:gd name="T12" fmla="*/ 61 w 61"/>
                  <a:gd name="T13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20">
                    <a:moveTo>
                      <a:pt x="61" y="6"/>
                    </a:moveTo>
                    <a:lnTo>
                      <a:pt x="53" y="2"/>
                    </a:lnTo>
                    <a:lnTo>
                      <a:pt x="0" y="0"/>
                    </a:lnTo>
                    <a:lnTo>
                      <a:pt x="2" y="14"/>
                    </a:lnTo>
                    <a:lnTo>
                      <a:pt x="7" y="20"/>
                    </a:lnTo>
                    <a:lnTo>
                      <a:pt x="18" y="13"/>
                    </a:lnTo>
                    <a:lnTo>
                      <a:pt x="61" y="6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07" name="Freeform 387"/>
              <p:cNvSpPr>
                <a:spLocks/>
              </p:cNvSpPr>
              <p:nvPr/>
            </p:nvSpPr>
            <p:spPr bwMode="auto">
              <a:xfrm>
                <a:off x="2407" y="2346"/>
                <a:ext cx="5" cy="12"/>
              </a:xfrm>
              <a:custGeom>
                <a:avLst/>
                <a:gdLst>
                  <a:gd name="T0" fmla="*/ 2 w 15"/>
                  <a:gd name="T1" fmla="*/ 0 h 36"/>
                  <a:gd name="T2" fmla="*/ 0 w 15"/>
                  <a:gd name="T3" fmla="*/ 20 h 36"/>
                  <a:gd name="T4" fmla="*/ 0 w 15"/>
                  <a:gd name="T5" fmla="*/ 36 h 36"/>
                  <a:gd name="T6" fmla="*/ 11 w 15"/>
                  <a:gd name="T7" fmla="*/ 35 h 36"/>
                  <a:gd name="T8" fmla="*/ 15 w 15"/>
                  <a:gd name="T9" fmla="*/ 14 h 36"/>
                  <a:gd name="T10" fmla="*/ 2 w 15"/>
                  <a:gd name="T11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36">
                    <a:moveTo>
                      <a:pt x="2" y="0"/>
                    </a:moveTo>
                    <a:lnTo>
                      <a:pt x="0" y="20"/>
                    </a:lnTo>
                    <a:lnTo>
                      <a:pt x="0" y="36"/>
                    </a:lnTo>
                    <a:lnTo>
                      <a:pt x="11" y="35"/>
                    </a:lnTo>
                    <a:lnTo>
                      <a:pt x="15" y="14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08" name="Freeform 388"/>
              <p:cNvSpPr>
                <a:spLocks/>
              </p:cNvSpPr>
              <p:nvPr/>
            </p:nvSpPr>
            <p:spPr bwMode="auto">
              <a:xfrm>
                <a:off x="2406" y="2361"/>
                <a:ext cx="11" cy="11"/>
              </a:xfrm>
              <a:custGeom>
                <a:avLst/>
                <a:gdLst>
                  <a:gd name="T0" fmla="*/ 4 w 37"/>
                  <a:gd name="T1" fmla="*/ 4 h 33"/>
                  <a:gd name="T2" fmla="*/ 22 w 37"/>
                  <a:gd name="T3" fmla="*/ 0 h 33"/>
                  <a:gd name="T4" fmla="*/ 35 w 37"/>
                  <a:gd name="T5" fmla="*/ 6 h 33"/>
                  <a:gd name="T6" fmla="*/ 37 w 37"/>
                  <a:gd name="T7" fmla="*/ 22 h 33"/>
                  <a:gd name="T8" fmla="*/ 24 w 37"/>
                  <a:gd name="T9" fmla="*/ 33 h 33"/>
                  <a:gd name="T10" fmla="*/ 11 w 37"/>
                  <a:gd name="T11" fmla="*/ 33 h 33"/>
                  <a:gd name="T12" fmla="*/ 2 w 37"/>
                  <a:gd name="T13" fmla="*/ 24 h 33"/>
                  <a:gd name="T14" fmla="*/ 0 w 37"/>
                  <a:gd name="T15" fmla="*/ 16 h 33"/>
                  <a:gd name="T16" fmla="*/ 4 w 37"/>
                  <a:gd name="T17" fmla="*/ 4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3">
                    <a:moveTo>
                      <a:pt x="4" y="4"/>
                    </a:moveTo>
                    <a:lnTo>
                      <a:pt x="22" y="0"/>
                    </a:lnTo>
                    <a:lnTo>
                      <a:pt x="35" y="6"/>
                    </a:lnTo>
                    <a:lnTo>
                      <a:pt x="37" y="22"/>
                    </a:lnTo>
                    <a:lnTo>
                      <a:pt x="24" y="33"/>
                    </a:lnTo>
                    <a:lnTo>
                      <a:pt x="11" y="33"/>
                    </a:lnTo>
                    <a:lnTo>
                      <a:pt x="2" y="24"/>
                    </a:lnTo>
                    <a:lnTo>
                      <a:pt x="0" y="16"/>
                    </a:lnTo>
                    <a:lnTo>
                      <a:pt x="4" y="4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09" name="Freeform 389"/>
              <p:cNvSpPr>
                <a:spLocks/>
              </p:cNvSpPr>
              <p:nvPr/>
            </p:nvSpPr>
            <p:spPr bwMode="auto">
              <a:xfrm>
                <a:off x="2388" y="2378"/>
                <a:ext cx="16" cy="18"/>
              </a:xfrm>
              <a:custGeom>
                <a:avLst/>
                <a:gdLst>
                  <a:gd name="T0" fmla="*/ 2 w 49"/>
                  <a:gd name="T1" fmla="*/ 0 h 54"/>
                  <a:gd name="T2" fmla="*/ 0 w 49"/>
                  <a:gd name="T3" fmla="*/ 0 h 54"/>
                  <a:gd name="T4" fmla="*/ 2 w 49"/>
                  <a:gd name="T5" fmla="*/ 50 h 54"/>
                  <a:gd name="T6" fmla="*/ 18 w 49"/>
                  <a:gd name="T7" fmla="*/ 54 h 54"/>
                  <a:gd name="T8" fmla="*/ 44 w 49"/>
                  <a:gd name="T9" fmla="*/ 45 h 54"/>
                  <a:gd name="T10" fmla="*/ 49 w 49"/>
                  <a:gd name="T11" fmla="*/ 31 h 54"/>
                  <a:gd name="T12" fmla="*/ 40 w 49"/>
                  <a:gd name="T13" fmla="*/ 21 h 54"/>
                  <a:gd name="T14" fmla="*/ 19 w 49"/>
                  <a:gd name="T15" fmla="*/ 8 h 54"/>
                  <a:gd name="T16" fmla="*/ 2 w 49"/>
                  <a:gd name="T17" fmla="*/ 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54">
                    <a:moveTo>
                      <a:pt x="2" y="0"/>
                    </a:moveTo>
                    <a:lnTo>
                      <a:pt x="0" y="0"/>
                    </a:lnTo>
                    <a:lnTo>
                      <a:pt x="2" y="50"/>
                    </a:lnTo>
                    <a:lnTo>
                      <a:pt x="18" y="54"/>
                    </a:lnTo>
                    <a:lnTo>
                      <a:pt x="44" y="45"/>
                    </a:lnTo>
                    <a:lnTo>
                      <a:pt x="49" y="31"/>
                    </a:lnTo>
                    <a:lnTo>
                      <a:pt x="40" y="21"/>
                    </a:lnTo>
                    <a:lnTo>
                      <a:pt x="19" y="8"/>
                    </a:lnTo>
                    <a:lnTo>
                      <a:pt x="2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10" name="Freeform 390"/>
              <p:cNvSpPr>
                <a:spLocks/>
              </p:cNvSpPr>
              <p:nvPr/>
            </p:nvSpPr>
            <p:spPr bwMode="auto">
              <a:xfrm>
                <a:off x="2374" y="2388"/>
                <a:ext cx="9" cy="7"/>
              </a:xfrm>
              <a:custGeom>
                <a:avLst/>
                <a:gdLst>
                  <a:gd name="T0" fmla="*/ 18 w 26"/>
                  <a:gd name="T1" fmla="*/ 0 h 22"/>
                  <a:gd name="T2" fmla="*/ 3 w 26"/>
                  <a:gd name="T3" fmla="*/ 2 h 22"/>
                  <a:gd name="T4" fmla="*/ 0 w 26"/>
                  <a:gd name="T5" fmla="*/ 15 h 22"/>
                  <a:gd name="T6" fmla="*/ 6 w 26"/>
                  <a:gd name="T7" fmla="*/ 21 h 22"/>
                  <a:gd name="T8" fmla="*/ 19 w 26"/>
                  <a:gd name="T9" fmla="*/ 22 h 22"/>
                  <a:gd name="T10" fmla="*/ 26 w 26"/>
                  <a:gd name="T11" fmla="*/ 11 h 22"/>
                  <a:gd name="T12" fmla="*/ 18 w 26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22">
                    <a:moveTo>
                      <a:pt x="18" y="0"/>
                    </a:moveTo>
                    <a:lnTo>
                      <a:pt x="3" y="2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9" y="22"/>
                    </a:lnTo>
                    <a:lnTo>
                      <a:pt x="26" y="11"/>
                    </a:lnTo>
                    <a:lnTo>
                      <a:pt x="18" y="0"/>
                    </a:lnTo>
                  </a:path>
                </a:pathLst>
              </a:custGeom>
              <a:grpFill/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</p:grpSp>
        <p:grpSp>
          <p:nvGrpSpPr>
            <p:cNvPr id="1349" name="Group 391"/>
            <p:cNvGrpSpPr>
              <a:grpSpLocks/>
            </p:cNvGrpSpPr>
            <p:nvPr>
              <p:custDataLst>
                <p:tags r:id="rId275"/>
              </p:custDataLst>
            </p:nvPr>
          </p:nvGrpSpPr>
          <p:grpSpPr bwMode="auto">
            <a:xfrm>
              <a:off x="3304219" y="1867339"/>
              <a:ext cx="1897063" cy="1133475"/>
              <a:chOff x="527" y="1110"/>
              <a:chExt cx="1410" cy="709"/>
            </a:xfrm>
            <a:solidFill>
              <a:srgbClr val="FF0000"/>
            </a:solidFill>
          </p:grpSpPr>
          <p:sp>
            <p:nvSpPr>
              <p:cNvPr id="1463" name="Freeform 392"/>
              <p:cNvSpPr>
                <a:spLocks/>
              </p:cNvSpPr>
              <p:nvPr/>
            </p:nvSpPr>
            <p:spPr bwMode="auto">
              <a:xfrm>
                <a:off x="1401" y="1427"/>
                <a:ext cx="31" cy="17"/>
              </a:xfrm>
              <a:custGeom>
                <a:avLst/>
                <a:gdLst>
                  <a:gd name="T0" fmla="*/ 0 w 98"/>
                  <a:gd name="T1" fmla="*/ 41 h 54"/>
                  <a:gd name="T2" fmla="*/ 5 w 98"/>
                  <a:gd name="T3" fmla="*/ 46 h 54"/>
                  <a:gd name="T4" fmla="*/ 13 w 98"/>
                  <a:gd name="T5" fmla="*/ 50 h 54"/>
                  <a:gd name="T6" fmla="*/ 23 w 98"/>
                  <a:gd name="T7" fmla="*/ 53 h 54"/>
                  <a:gd name="T8" fmla="*/ 32 w 98"/>
                  <a:gd name="T9" fmla="*/ 54 h 54"/>
                  <a:gd name="T10" fmla="*/ 38 w 98"/>
                  <a:gd name="T11" fmla="*/ 54 h 54"/>
                  <a:gd name="T12" fmla="*/ 45 w 98"/>
                  <a:gd name="T13" fmla="*/ 53 h 54"/>
                  <a:gd name="T14" fmla="*/ 50 w 98"/>
                  <a:gd name="T15" fmla="*/ 51 h 54"/>
                  <a:gd name="T16" fmla="*/ 56 w 98"/>
                  <a:gd name="T17" fmla="*/ 49 h 54"/>
                  <a:gd name="T18" fmla="*/ 67 w 98"/>
                  <a:gd name="T19" fmla="*/ 42 h 54"/>
                  <a:gd name="T20" fmla="*/ 75 w 98"/>
                  <a:gd name="T21" fmla="*/ 35 h 54"/>
                  <a:gd name="T22" fmla="*/ 84 w 98"/>
                  <a:gd name="T23" fmla="*/ 28 h 54"/>
                  <a:gd name="T24" fmla="*/ 91 w 98"/>
                  <a:gd name="T25" fmla="*/ 20 h 54"/>
                  <a:gd name="T26" fmla="*/ 95 w 98"/>
                  <a:gd name="T27" fmla="*/ 12 h 54"/>
                  <a:gd name="T28" fmla="*/ 98 w 98"/>
                  <a:gd name="T29" fmla="*/ 4 h 54"/>
                  <a:gd name="T30" fmla="*/ 91 w 98"/>
                  <a:gd name="T31" fmla="*/ 2 h 54"/>
                  <a:gd name="T32" fmla="*/ 83 w 98"/>
                  <a:gd name="T33" fmla="*/ 0 h 54"/>
                  <a:gd name="T34" fmla="*/ 75 w 98"/>
                  <a:gd name="T35" fmla="*/ 0 h 54"/>
                  <a:gd name="T36" fmla="*/ 68 w 98"/>
                  <a:gd name="T37" fmla="*/ 0 h 54"/>
                  <a:gd name="T38" fmla="*/ 59 w 98"/>
                  <a:gd name="T39" fmla="*/ 1 h 54"/>
                  <a:gd name="T40" fmla="*/ 51 w 98"/>
                  <a:gd name="T41" fmla="*/ 3 h 54"/>
                  <a:gd name="T42" fmla="*/ 43 w 98"/>
                  <a:gd name="T43" fmla="*/ 6 h 54"/>
                  <a:gd name="T44" fmla="*/ 37 w 98"/>
                  <a:gd name="T45" fmla="*/ 9 h 54"/>
                  <a:gd name="T46" fmla="*/ 23 w 98"/>
                  <a:gd name="T47" fmla="*/ 17 h 54"/>
                  <a:gd name="T48" fmla="*/ 12 w 98"/>
                  <a:gd name="T49" fmla="*/ 25 h 54"/>
                  <a:gd name="T50" fmla="*/ 7 w 98"/>
                  <a:gd name="T51" fmla="*/ 29 h 54"/>
                  <a:gd name="T52" fmla="*/ 4 w 98"/>
                  <a:gd name="T53" fmla="*/ 33 h 54"/>
                  <a:gd name="T54" fmla="*/ 1 w 98"/>
                  <a:gd name="T55" fmla="*/ 37 h 54"/>
                  <a:gd name="T56" fmla="*/ 0 w 98"/>
                  <a:gd name="T57" fmla="*/ 4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98" h="54">
                    <a:moveTo>
                      <a:pt x="0" y="41"/>
                    </a:moveTo>
                    <a:lnTo>
                      <a:pt x="5" y="46"/>
                    </a:lnTo>
                    <a:lnTo>
                      <a:pt x="13" y="50"/>
                    </a:lnTo>
                    <a:lnTo>
                      <a:pt x="23" y="53"/>
                    </a:lnTo>
                    <a:lnTo>
                      <a:pt x="32" y="54"/>
                    </a:lnTo>
                    <a:lnTo>
                      <a:pt x="38" y="54"/>
                    </a:lnTo>
                    <a:lnTo>
                      <a:pt x="45" y="53"/>
                    </a:lnTo>
                    <a:lnTo>
                      <a:pt x="50" y="51"/>
                    </a:lnTo>
                    <a:lnTo>
                      <a:pt x="56" y="49"/>
                    </a:lnTo>
                    <a:lnTo>
                      <a:pt x="67" y="42"/>
                    </a:lnTo>
                    <a:lnTo>
                      <a:pt x="75" y="35"/>
                    </a:lnTo>
                    <a:lnTo>
                      <a:pt x="84" y="28"/>
                    </a:lnTo>
                    <a:lnTo>
                      <a:pt x="91" y="20"/>
                    </a:lnTo>
                    <a:lnTo>
                      <a:pt x="95" y="12"/>
                    </a:lnTo>
                    <a:lnTo>
                      <a:pt x="98" y="4"/>
                    </a:lnTo>
                    <a:lnTo>
                      <a:pt x="91" y="2"/>
                    </a:lnTo>
                    <a:lnTo>
                      <a:pt x="83" y="0"/>
                    </a:lnTo>
                    <a:lnTo>
                      <a:pt x="75" y="0"/>
                    </a:lnTo>
                    <a:lnTo>
                      <a:pt x="68" y="0"/>
                    </a:lnTo>
                    <a:lnTo>
                      <a:pt x="59" y="1"/>
                    </a:lnTo>
                    <a:lnTo>
                      <a:pt x="51" y="3"/>
                    </a:lnTo>
                    <a:lnTo>
                      <a:pt x="43" y="6"/>
                    </a:lnTo>
                    <a:lnTo>
                      <a:pt x="37" y="9"/>
                    </a:lnTo>
                    <a:lnTo>
                      <a:pt x="23" y="17"/>
                    </a:lnTo>
                    <a:lnTo>
                      <a:pt x="12" y="25"/>
                    </a:lnTo>
                    <a:lnTo>
                      <a:pt x="7" y="29"/>
                    </a:lnTo>
                    <a:lnTo>
                      <a:pt x="4" y="33"/>
                    </a:lnTo>
                    <a:lnTo>
                      <a:pt x="1" y="37"/>
                    </a:lnTo>
                    <a:lnTo>
                      <a:pt x="0" y="4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64" name="Freeform 393"/>
              <p:cNvSpPr>
                <a:spLocks/>
              </p:cNvSpPr>
              <p:nvPr/>
            </p:nvSpPr>
            <p:spPr bwMode="auto">
              <a:xfrm>
                <a:off x="1387" y="1551"/>
                <a:ext cx="21" cy="8"/>
              </a:xfrm>
              <a:custGeom>
                <a:avLst/>
                <a:gdLst>
                  <a:gd name="T0" fmla="*/ 0 w 67"/>
                  <a:gd name="T1" fmla="*/ 27 h 28"/>
                  <a:gd name="T2" fmla="*/ 11 w 67"/>
                  <a:gd name="T3" fmla="*/ 28 h 28"/>
                  <a:gd name="T4" fmla="*/ 21 w 67"/>
                  <a:gd name="T5" fmla="*/ 27 h 28"/>
                  <a:gd name="T6" fmla="*/ 31 w 67"/>
                  <a:gd name="T7" fmla="*/ 25 h 28"/>
                  <a:gd name="T8" fmla="*/ 41 w 67"/>
                  <a:gd name="T9" fmla="*/ 21 h 28"/>
                  <a:gd name="T10" fmla="*/ 49 w 67"/>
                  <a:gd name="T11" fmla="*/ 17 h 28"/>
                  <a:gd name="T12" fmla="*/ 57 w 67"/>
                  <a:gd name="T13" fmla="*/ 12 h 28"/>
                  <a:gd name="T14" fmla="*/ 63 w 67"/>
                  <a:gd name="T15" fmla="*/ 7 h 28"/>
                  <a:gd name="T16" fmla="*/ 67 w 67"/>
                  <a:gd name="T17" fmla="*/ 3 h 28"/>
                  <a:gd name="T18" fmla="*/ 57 w 67"/>
                  <a:gd name="T19" fmla="*/ 1 h 28"/>
                  <a:gd name="T20" fmla="*/ 46 w 67"/>
                  <a:gd name="T21" fmla="*/ 0 h 28"/>
                  <a:gd name="T22" fmla="*/ 36 w 67"/>
                  <a:gd name="T23" fmla="*/ 1 h 28"/>
                  <a:gd name="T24" fmla="*/ 26 w 67"/>
                  <a:gd name="T25" fmla="*/ 3 h 28"/>
                  <a:gd name="T26" fmla="*/ 17 w 67"/>
                  <a:gd name="T27" fmla="*/ 7 h 28"/>
                  <a:gd name="T28" fmla="*/ 10 w 67"/>
                  <a:gd name="T29" fmla="*/ 12 h 28"/>
                  <a:gd name="T30" fmla="*/ 7 w 67"/>
                  <a:gd name="T31" fmla="*/ 15 h 28"/>
                  <a:gd name="T32" fmla="*/ 4 w 67"/>
                  <a:gd name="T33" fmla="*/ 19 h 28"/>
                  <a:gd name="T34" fmla="*/ 2 w 67"/>
                  <a:gd name="T35" fmla="*/ 22 h 28"/>
                  <a:gd name="T36" fmla="*/ 0 w 67"/>
                  <a:gd name="T37" fmla="*/ 2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67" h="28">
                    <a:moveTo>
                      <a:pt x="0" y="27"/>
                    </a:moveTo>
                    <a:lnTo>
                      <a:pt x="11" y="28"/>
                    </a:lnTo>
                    <a:lnTo>
                      <a:pt x="21" y="27"/>
                    </a:lnTo>
                    <a:lnTo>
                      <a:pt x="31" y="25"/>
                    </a:lnTo>
                    <a:lnTo>
                      <a:pt x="41" y="21"/>
                    </a:lnTo>
                    <a:lnTo>
                      <a:pt x="49" y="17"/>
                    </a:lnTo>
                    <a:lnTo>
                      <a:pt x="57" y="12"/>
                    </a:lnTo>
                    <a:lnTo>
                      <a:pt x="63" y="7"/>
                    </a:lnTo>
                    <a:lnTo>
                      <a:pt x="67" y="3"/>
                    </a:lnTo>
                    <a:lnTo>
                      <a:pt x="57" y="1"/>
                    </a:lnTo>
                    <a:lnTo>
                      <a:pt x="46" y="0"/>
                    </a:lnTo>
                    <a:lnTo>
                      <a:pt x="36" y="1"/>
                    </a:lnTo>
                    <a:lnTo>
                      <a:pt x="26" y="3"/>
                    </a:lnTo>
                    <a:lnTo>
                      <a:pt x="17" y="7"/>
                    </a:lnTo>
                    <a:lnTo>
                      <a:pt x="10" y="12"/>
                    </a:lnTo>
                    <a:lnTo>
                      <a:pt x="7" y="15"/>
                    </a:lnTo>
                    <a:lnTo>
                      <a:pt x="4" y="19"/>
                    </a:lnTo>
                    <a:lnTo>
                      <a:pt x="2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65" name="Freeform 394"/>
              <p:cNvSpPr>
                <a:spLocks/>
              </p:cNvSpPr>
              <p:nvPr/>
            </p:nvSpPr>
            <p:spPr bwMode="auto">
              <a:xfrm>
                <a:off x="1332" y="1608"/>
                <a:ext cx="11" cy="11"/>
              </a:xfrm>
              <a:custGeom>
                <a:avLst/>
                <a:gdLst>
                  <a:gd name="T0" fmla="*/ 0 w 32"/>
                  <a:gd name="T1" fmla="*/ 18 h 36"/>
                  <a:gd name="T2" fmla="*/ 1 w 32"/>
                  <a:gd name="T3" fmla="*/ 24 h 36"/>
                  <a:gd name="T4" fmla="*/ 4 w 32"/>
                  <a:gd name="T5" fmla="*/ 29 h 36"/>
                  <a:gd name="T6" fmla="*/ 6 w 32"/>
                  <a:gd name="T7" fmla="*/ 32 h 36"/>
                  <a:gd name="T8" fmla="*/ 8 w 32"/>
                  <a:gd name="T9" fmla="*/ 34 h 36"/>
                  <a:gd name="T10" fmla="*/ 11 w 32"/>
                  <a:gd name="T11" fmla="*/ 36 h 36"/>
                  <a:gd name="T12" fmla="*/ 13 w 32"/>
                  <a:gd name="T13" fmla="*/ 36 h 36"/>
                  <a:gd name="T14" fmla="*/ 32 w 32"/>
                  <a:gd name="T15" fmla="*/ 36 h 36"/>
                  <a:gd name="T16" fmla="*/ 32 w 32"/>
                  <a:gd name="T17" fmla="*/ 22 h 36"/>
                  <a:gd name="T18" fmla="*/ 31 w 32"/>
                  <a:gd name="T19" fmla="*/ 14 h 36"/>
                  <a:gd name="T20" fmla="*/ 30 w 32"/>
                  <a:gd name="T21" fmla="*/ 7 h 36"/>
                  <a:gd name="T22" fmla="*/ 26 w 32"/>
                  <a:gd name="T23" fmla="*/ 0 h 36"/>
                  <a:gd name="T24" fmla="*/ 19 w 32"/>
                  <a:gd name="T25" fmla="*/ 2 h 36"/>
                  <a:gd name="T26" fmla="*/ 11 w 32"/>
                  <a:gd name="T27" fmla="*/ 7 h 36"/>
                  <a:gd name="T28" fmla="*/ 6 w 32"/>
                  <a:gd name="T29" fmla="*/ 10 h 36"/>
                  <a:gd name="T30" fmla="*/ 3 w 32"/>
                  <a:gd name="T31" fmla="*/ 13 h 36"/>
                  <a:gd name="T32" fmla="*/ 1 w 32"/>
                  <a:gd name="T33" fmla="*/ 16 h 36"/>
                  <a:gd name="T34" fmla="*/ 0 w 32"/>
                  <a:gd name="T35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2" h="36">
                    <a:moveTo>
                      <a:pt x="0" y="18"/>
                    </a:moveTo>
                    <a:lnTo>
                      <a:pt x="1" y="24"/>
                    </a:lnTo>
                    <a:lnTo>
                      <a:pt x="4" y="29"/>
                    </a:lnTo>
                    <a:lnTo>
                      <a:pt x="6" y="32"/>
                    </a:lnTo>
                    <a:lnTo>
                      <a:pt x="8" y="34"/>
                    </a:lnTo>
                    <a:lnTo>
                      <a:pt x="11" y="36"/>
                    </a:lnTo>
                    <a:lnTo>
                      <a:pt x="13" y="36"/>
                    </a:lnTo>
                    <a:lnTo>
                      <a:pt x="32" y="36"/>
                    </a:lnTo>
                    <a:lnTo>
                      <a:pt x="32" y="22"/>
                    </a:lnTo>
                    <a:lnTo>
                      <a:pt x="31" y="14"/>
                    </a:lnTo>
                    <a:lnTo>
                      <a:pt x="30" y="7"/>
                    </a:lnTo>
                    <a:lnTo>
                      <a:pt x="26" y="0"/>
                    </a:lnTo>
                    <a:lnTo>
                      <a:pt x="19" y="2"/>
                    </a:lnTo>
                    <a:lnTo>
                      <a:pt x="11" y="7"/>
                    </a:lnTo>
                    <a:lnTo>
                      <a:pt x="6" y="10"/>
                    </a:lnTo>
                    <a:lnTo>
                      <a:pt x="3" y="13"/>
                    </a:lnTo>
                    <a:lnTo>
                      <a:pt x="1" y="16"/>
                    </a:lnTo>
                    <a:lnTo>
                      <a:pt x="0" y="1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66" name="Freeform 395"/>
              <p:cNvSpPr>
                <a:spLocks/>
              </p:cNvSpPr>
              <p:nvPr/>
            </p:nvSpPr>
            <p:spPr bwMode="auto">
              <a:xfrm>
                <a:off x="1279" y="1314"/>
                <a:ext cx="46" cy="17"/>
              </a:xfrm>
              <a:custGeom>
                <a:avLst/>
                <a:gdLst>
                  <a:gd name="T0" fmla="*/ 0 w 146"/>
                  <a:gd name="T1" fmla="*/ 43 h 52"/>
                  <a:gd name="T2" fmla="*/ 11 w 146"/>
                  <a:gd name="T3" fmla="*/ 46 h 52"/>
                  <a:gd name="T4" fmla="*/ 22 w 146"/>
                  <a:gd name="T5" fmla="*/ 48 h 52"/>
                  <a:gd name="T6" fmla="*/ 33 w 146"/>
                  <a:gd name="T7" fmla="*/ 51 h 52"/>
                  <a:gd name="T8" fmla="*/ 43 w 146"/>
                  <a:gd name="T9" fmla="*/ 52 h 52"/>
                  <a:gd name="T10" fmla="*/ 63 w 146"/>
                  <a:gd name="T11" fmla="*/ 52 h 52"/>
                  <a:gd name="T12" fmla="*/ 82 w 146"/>
                  <a:gd name="T13" fmla="*/ 51 h 52"/>
                  <a:gd name="T14" fmla="*/ 117 w 146"/>
                  <a:gd name="T15" fmla="*/ 46 h 52"/>
                  <a:gd name="T16" fmla="*/ 146 w 146"/>
                  <a:gd name="T17" fmla="*/ 43 h 52"/>
                  <a:gd name="T18" fmla="*/ 144 w 146"/>
                  <a:gd name="T19" fmla="*/ 36 h 52"/>
                  <a:gd name="T20" fmla="*/ 142 w 146"/>
                  <a:gd name="T21" fmla="*/ 30 h 52"/>
                  <a:gd name="T22" fmla="*/ 139 w 146"/>
                  <a:gd name="T23" fmla="*/ 24 h 52"/>
                  <a:gd name="T24" fmla="*/ 137 w 146"/>
                  <a:gd name="T25" fmla="*/ 19 h 52"/>
                  <a:gd name="T26" fmla="*/ 134 w 146"/>
                  <a:gd name="T27" fmla="*/ 15 h 52"/>
                  <a:gd name="T28" fmla="*/ 129 w 146"/>
                  <a:gd name="T29" fmla="*/ 11 h 52"/>
                  <a:gd name="T30" fmla="*/ 125 w 146"/>
                  <a:gd name="T31" fmla="*/ 8 h 52"/>
                  <a:gd name="T32" fmla="*/ 121 w 146"/>
                  <a:gd name="T33" fmla="*/ 6 h 52"/>
                  <a:gd name="T34" fmla="*/ 111 w 146"/>
                  <a:gd name="T35" fmla="*/ 2 h 52"/>
                  <a:gd name="T36" fmla="*/ 101 w 146"/>
                  <a:gd name="T37" fmla="*/ 0 h 52"/>
                  <a:gd name="T38" fmla="*/ 89 w 146"/>
                  <a:gd name="T39" fmla="*/ 1 h 52"/>
                  <a:gd name="T40" fmla="*/ 78 w 146"/>
                  <a:gd name="T41" fmla="*/ 2 h 52"/>
                  <a:gd name="T42" fmla="*/ 66 w 146"/>
                  <a:gd name="T43" fmla="*/ 5 h 52"/>
                  <a:gd name="T44" fmla="*/ 54 w 146"/>
                  <a:gd name="T45" fmla="*/ 9 h 52"/>
                  <a:gd name="T46" fmla="*/ 43 w 146"/>
                  <a:gd name="T47" fmla="*/ 14 h 52"/>
                  <a:gd name="T48" fmla="*/ 32 w 146"/>
                  <a:gd name="T49" fmla="*/ 19 h 52"/>
                  <a:gd name="T50" fmla="*/ 22 w 146"/>
                  <a:gd name="T51" fmla="*/ 25 h 52"/>
                  <a:gd name="T52" fmla="*/ 13 w 146"/>
                  <a:gd name="T53" fmla="*/ 31 h 52"/>
                  <a:gd name="T54" fmla="*/ 5 w 146"/>
                  <a:gd name="T55" fmla="*/ 37 h 52"/>
                  <a:gd name="T56" fmla="*/ 0 w 146"/>
                  <a:gd name="T57" fmla="*/ 43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46" h="52">
                    <a:moveTo>
                      <a:pt x="0" y="43"/>
                    </a:moveTo>
                    <a:lnTo>
                      <a:pt x="11" y="46"/>
                    </a:lnTo>
                    <a:lnTo>
                      <a:pt x="22" y="48"/>
                    </a:lnTo>
                    <a:lnTo>
                      <a:pt x="33" y="51"/>
                    </a:lnTo>
                    <a:lnTo>
                      <a:pt x="43" y="52"/>
                    </a:lnTo>
                    <a:lnTo>
                      <a:pt x="63" y="52"/>
                    </a:lnTo>
                    <a:lnTo>
                      <a:pt x="82" y="51"/>
                    </a:lnTo>
                    <a:lnTo>
                      <a:pt x="117" y="46"/>
                    </a:lnTo>
                    <a:lnTo>
                      <a:pt x="146" y="43"/>
                    </a:lnTo>
                    <a:lnTo>
                      <a:pt x="144" y="36"/>
                    </a:lnTo>
                    <a:lnTo>
                      <a:pt x="142" y="30"/>
                    </a:lnTo>
                    <a:lnTo>
                      <a:pt x="139" y="24"/>
                    </a:lnTo>
                    <a:lnTo>
                      <a:pt x="137" y="19"/>
                    </a:lnTo>
                    <a:lnTo>
                      <a:pt x="134" y="15"/>
                    </a:lnTo>
                    <a:lnTo>
                      <a:pt x="129" y="11"/>
                    </a:lnTo>
                    <a:lnTo>
                      <a:pt x="125" y="8"/>
                    </a:lnTo>
                    <a:lnTo>
                      <a:pt x="121" y="6"/>
                    </a:lnTo>
                    <a:lnTo>
                      <a:pt x="111" y="2"/>
                    </a:lnTo>
                    <a:lnTo>
                      <a:pt x="101" y="0"/>
                    </a:lnTo>
                    <a:lnTo>
                      <a:pt x="89" y="1"/>
                    </a:lnTo>
                    <a:lnTo>
                      <a:pt x="78" y="2"/>
                    </a:lnTo>
                    <a:lnTo>
                      <a:pt x="66" y="5"/>
                    </a:lnTo>
                    <a:lnTo>
                      <a:pt x="54" y="9"/>
                    </a:lnTo>
                    <a:lnTo>
                      <a:pt x="43" y="14"/>
                    </a:lnTo>
                    <a:lnTo>
                      <a:pt x="32" y="19"/>
                    </a:lnTo>
                    <a:lnTo>
                      <a:pt x="22" y="25"/>
                    </a:lnTo>
                    <a:lnTo>
                      <a:pt x="13" y="31"/>
                    </a:lnTo>
                    <a:lnTo>
                      <a:pt x="5" y="37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67" name="Freeform 396"/>
              <p:cNvSpPr>
                <a:spLocks/>
              </p:cNvSpPr>
              <p:nvPr/>
            </p:nvSpPr>
            <p:spPr bwMode="auto">
              <a:xfrm>
                <a:off x="1261" y="1252"/>
                <a:ext cx="20" cy="10"/>
              </a:xfrm>
              <a:custGeom>
                <a:avLst/>
                <a:gdLst>
                  <a:gd name="T0" fmla="*/ 60 w 60"/>
                  <a:gd name="T1" fmla="*/ 0 h 31"/>
                  <a:gd name="T2" fmla="*/ 49 w 60"/>
                  <a:gd name="T3" fmla="*/ 0 h 31"/>
                  <a:gd name="T4" fmla="*/ 38 w 60"/>
                  <a:gd name="T5" fmla="*/ 0 h 31"/>
                  <a:gd name="T6" fmla="*/ 31 w 60"/>
                  <a:gd name="T7" fmla="*/ 0 h 31"/>
                  <a:gd name="T8" fmla="*/ 27 w 60"/>
                  <a:gd name="T9" fmla="*/ 0 h 31"/>
                  <a:gd name="T10" fmla="*/ 18 w 60"/>
                  <a:gd name="T11" fmla="*/ 0 h 31"/>
                  <a:gd name="T12" fmla="*/ 9 w 60"/>
                  <a:gd name="T13" fmla="*/ 2 h 31"/>
                  <a:gd name="T14" fmla="*/ 5 w 60"/>
                  <a:gd name="T15" fmla="*/ 3 h 31"/>
                  <a:gd name="T16" fmla="*/ 2 w 60"/>
                  <a:gd name="T17" fmla="*/ 5 h 31"/>
                  <a:gd name="T18" fmla="*/ 1 w 60"/>
                  <a:gd name="T19" fmla="*/ 8 h 31"/>
                  <a:gd name="T20" fmla="*/ 0 w 60"/>
                  <a:gd name="T21" fmla="*/ 12 h 31"/>
                  <a:gd name="T22" fmla="*/ 1 w 60"/>
                  <a:gd name="T23" fmla="*/ 15 h 31"/>
                  <a:gd name="T24" fmla="*/ 2 w 60"/>
                  <a:gd name="T25" fmla="*/ 18 h 31"/>
                  <a:gd name="T26" fmla="*/ 5 w 60"/>
                  <a:gd name="T27" fmla="*/ 22 h 31"/>
                  <a:gd name="T28" fmla="*/ 9 w 60"/>
                  <a:gd name="T29" fmla="*/ 24 h 31"/>
                  <a:gd name="T30" fmla="*/ 12 w 60"/>
                  <a:gd name="T31" fmla="*/ 27 h 31"/>
                  <a:gd name="T32" fmla="*/ 18 w 60"/>
                  <a:gd name="T33" fmla="*/ 29 h 31"/>
                  <a:gd name="T34" fmla="*/ 22 w 60"/>
                  <a:gd name="T35" fmla="*/ 31 h 31"/>
                  <a:gd name="T36" fmla="*/ 27 w 60"/>
                  <a:gd name="T37" fmla="*/ 31 h 31"/>
                  <a:gd name="T38" fmla="*/ 32 w 60"/>
                  <a:gd name="T39" fmla="*/ 30 h 31"/>
                  <a:gd name="T40" fmla="*/ 37 w 60"/>
                  <a:gd name="T41" fmla="*/ 28 h 31"/>
                  <a:gd name="T42" fmla="*/ 43 w 60"/>
                  <a:gd name="T43" fmla="*/ 24 h 31"/>
                  <a:gd name="T44" fmla="*/ 48 w 60"/>
                  <a:gd name="T45" fmla="*/ 18 h 31"/>
                  <a:gd name="T46" fmla="*/ 57 w 60"/>
                  <a:gd name="T47" fmla="*/ 10 h 31"/>
                  <a:gd name="T48" fmla="*/ 60 w 60"/>
                  <a:gd name="T49" fmla="*/ 6 h 31"/>
                  <a:gd name="T50" fmla="*/ 60 w 60"/>
                  <a:gd name="T5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0" h="31">
                    <a:moveTo>
                      <a:pt x="60" y="0"/>
                    </a:moveTo>
                    <a:lnTo>
                      <a:pt x="49" y="0"/>
                    </a:lnTo>
                    <a:lnTo>
                      <a:pt x="38" y="0"/>
                    </a:lnTo>
                    <a:lnTo>
                      <a:pt x="31" y="0"/>
                    </a:lnTo>
                    <a:lnTo>
                      <a:pt x="27" y="0"/>
                    </a:lnTo>
                    <a:lnTo>
                      <a:pt x="18" y="0"/>
                    </a:lnTo>
                    <a:lnTo>
                      <a:pt x="9" y="2"/>
                    </a:lnTo>
                    <a:lnTo>
                      <a:pt x="5" y="3"/>
                    </a:lnTo>
                    <a:lnTo>
                      <a:pt x="2" y="5"/>
                    </a:lnTo>
                    <a:lnTo>
                      <a:pt x="1" y="8"/>
                    </a:lnTo>
                    <a:lnTo>
                      <a:pt x="0" y="12"/>
                    </a:lnTo>
                    <a:lnTo>
                      <a:pt x="1" y="15"/>
                    </a:lnTo>
                    <a:lnTo>
                      <a:pt x="2" y="18"/>
                    </a:lnTo>
                    <a:lnTo>
                      <a:pt x="5" y="22"/>
                    </a:lnTo>
                    <a:lnTo>
                      <a:pt x="9" y="24"/>
                    </a:lnTo>
                    <a:lnTo>
                      <a:pt x="12" y="27"/>
                    </a:lnTo>
                    <a:lnTo>
                      <a:pt x="18" y="29"/>
                    </a:lnTo>
                    <a:lnTo>
                      <a:pt x="22" y="31"/>
                    </a:lnTo>
                    <a:lnTo>
                      <a:pt x="27" y="31"/>
                    </a:lnTo>
                    <a:lnTo>
                      <a:pt x="32" y="30"/>
                    </a:lnTo>
                    <a:lnTo>
                      <a:pt x="37" y="28"/>
                    </a:lnTo>
                    <a:lnTo>
                      <a:pt x="43" y="24"/>
                    </a:lnTo>
                    <a:lnTo>
                      <a:pt x="48" y="18"/>
                    </a:lnTo>
                    <a:lnTo>
                      <a:pt x="57" y="10"/>
                    </a:lnTo>
                    <a:lnTo>
                      <a:pt x="60" y="6"/>
                    </a:lnTo>
                    <a:lnTo>
                      <a:pt x="6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68" name="Freeform 397"/>
              <p:cNvSpPr>
                <a:spLocks/>
              </p:cNvSpPr>
              <p:nvPr/>
            </p:nvSpPr>
            <p:spPr bwMode="auto">
              <a:xfrm>
                <a:off x="1730" y="1713"/>
                <a:ext cx="26" cy="20"/>
              </a:xfrm>
              <a:custGeom>
                <a:avLst/>
                <a:gdLst>
                  <a:gd name="T0" fmla="*/ 0 w 80"/>
                  <a:gd name="T1" fmla="*/ 43 h 62"/>
                  <a:gd name="T2" fmla="*/ 1 w 80"/>
                  <a:gd name="T3" fmla="*/ 46 h 62"/>
                  <a:gd name="T4" fmla="*/ 1 w 80"/>
                  <a:gd name="T5" fmla="*/ 49 h 62"/>
                  <a:gd name="T6" fmla="*/ 3 w 80"/>
                  <a:gd name="T7" fmla="*/ 51 h 62"/>
                  <a:gd name="T8" fmla="*/ 4 w 80"/>
                  <a:gd name="T9" fmla="*/ 53 h 62"/>
                  <a:gd name="T10" fmla="*/ 10 w 80"/>
                  <a:gd name="T11" fmla="*/ 57 h 62"/>
                  <a:gd name="T12" fmla="*/ 15 w 80"/>
                  <a:gd name="T13" fmla="*/ 59 h 62"/>
                  <a:gd name="T14" fmla="*/ 28 w 80"/>
                  <a:gd name="T15" fmla="*/ 62 h 62"/>
                  <a:gd name="T16" fmla="*/ 40 w 80"/>
                  <a:gd name="T17" fmla="*/ 62 h 62"/>
                  <a:gd name="T18" fmla="*/ 45 w 80"/>
                  <a:gd name="T19" fmla="*/ 62 h 62"/>
                  <a:gd name="T20" fmla="*/ 49 w 80"/>
                  <a:gd name="T21" fmla="*/ 59 h 62"/>
                  <a:gd name="T22" fmla="*/ 54 w 80"/>
                  <a:gd name="T23" fmla="*/ 57 h 62"/>
                  <a:gd name="T24" fmla="*/ 58 w 80"/>
                  <a:gd name="T25" fmla="*/ 54 h 62"/>
                  <a:gd name="T26" fmla="*/ 65 w 80"/>
                  <a:gd name="T27" fmla="*/ 47 h 62"/>
                  <a:gd name="T28" fmla="*/ 70 w 80"/>
                  <a:gd name="T29" fmla="*/ 38 h 62"/>
                  <a:gd name="T30" fmla="*/ 74 w 80"/>
                  <a:gd name="T31" fmla="*/ 28 h 62"/>
                  <a:gd name="T32" fmla="*/ 78 w 80"/>
                  <a:gd name="T33" fmla="*/ 18 h 62"/>
                  <a:gd name="T34" fmla="*/ 79 w 80"/>
                  <a:gd name="T35" fmla="*/ 8 h 62"/>
                  <a:gd name="T36" fmla="*/ 80 w 80"/>
                  <a:gd name="T37" fmla="*/ 0 h 62"/>
                  <a:gd name="T38" fmla="*/ 71 w 80"/>
                  <a:gd name="T39" fmla="*/ 0 h 62"/>
                  <a:gd name="T40" fmla="*/ 59 w 80"/>
                  <a:gd name="T41" fmla="*/ 3 h 62"/>
                  <a:gd name="T42" fmla="*/ 46 w 80"/>
                  <a:gd name="T43" fmla="*/ 8 h 62"/>
                  <a:gd name="T44" fmla="*/ 33 w 80"/>
                  <a:gd name="T45" fmla="*/ 13 h 62"/>
                  <a:gd name="T46" fmla="*/ 21 w 80"/>
                  <a:gd name="T47" fmla="*/ 19 h 62"/>
                  <a:gd name="T48" fmla="*/ 10 w 80"/>
                  <a:gd name="T49" fmla="*/ 26 h 62"/>
                  <a:gd name="T50" fmla="*/ 6 w 80"/>
                  <a:gd name="T51" fmla="*/ 30 h 62"/>
                  <a:gd name="T52" fmla="*/ 3 w 80"/>
                  <a:gd name="T53" fmla="*/ 34 h 62"/>
                  <a:gd name="T54" fmla="*/ 1 w 80"/>
                  <a:gd name="T55" fmla="*/ 39 h 62"/>
                  <a:gd name="T56" fmla="*/ 0 w 80"/>
                  <a:gd name="T57" fmla="*/ 43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0" h="62">
                    <a:moveTo>
                      <a:pt x="0" y="43"/>
                    </a:moveTo>
                    <a:lnTo>
                      <a:pt x="1" y="46"/>
                    </a:lnTo>
                    <a:lnTo>
                      <a:pt x="1" y="49"/>
                    </a:lnTo>
                    <a:lnTo>
                      <a:pt x="3" y="51"/>
                    </a:lnTo>
                    <a:lnTo>
                      <a:pt x="4" y="53"/>
                    </a:lnTo>
                    <a:lnTo>
                      <a:pt x="10" y="57"/>
                    </a:lnTo>
                    <a:lnTo>
                      <a:pt x="15" y="59"/>
                    </a:lnTo>
                    <a:lnTo>
                      <a:pt x="28" y="62"/>
                    </a:lnTo>
                    <a:lnTo>
                      <a:pt x="40" y="62"/>
                    </a:lnTo>
                    <a:lnTo>
                      <a:pt x="45" y="62"/>
                    </a:lnTo>
                    <a:lnTo>
                      <a:pt x="49" y="59"/>
                    </a:lnTo>
                    <a:lnTo>
                      <a:pt x="54" y="57"/>
                    </a:lnTo>
                    <a:lnTo>
                      <a:pt x="58" y="54"/>
                    </a:lnTo>
                    <a:lnTo>
                      <a:pt x="65" y="47"/>
                    </a:lnTo>
                    <a:lnTo>
                      <a:pt x="70" y="38"/>
                    </a:lnTo>
                    <a:lnTo>
                      <a:pt x="74" y="28"/>
                    </a:lnTo>
                    <a:lnTo>
                      <a:pt x="78" y="18"/>
                    </a:lnTo>
                    <a:lnTo>
                      <a:pt x="79" y="8"/>
                    </a:lnTo>
                    <a:lnTo>
                      <a:pt x="80" y="0"/>
                    </a:lnTo>
                    <a:lnTo>
                      <a:pt x="71" y="0"/>
                    </a:lnTo>
                    <a:lnTo>
                      <a:pt x="59" y="3"/>
                    </a:lnTo>
                    <a:lnTo>
                      <a:pt x="46" y="8"/>
                    </a:lnTo>
                    <a:lnTo>
                      <a:pt x="33" y="13"/>
                    </a:lnTo>
                    <a:lnTo>
                      <a:pt x="21" y="19"/>
                    </a:lnTo>
                    <a:lnTo>
                      <a:pt x="10" y="26"/>
                    </a:lnTo>
                    <a:lnTo>
                      <a:pt x="6" y="30"/>
                    </a:lnTo>
                    <a:lnTo>
                      <a:pt x="3" y="34"/>
                    </a:lnTo>
                    <a:lnTo>
                      <a:pt x="1" y="39"/>
                    </a:lnTo>
                    <a:lnTo>
                      <a:pt x="0" y="4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69" name="Freeform 398"/>
              <p:cNvSpPr>
                <a:spLocks/>
              </p:cNvSpPr>
              <p:nvPr/>
            </p:nvSpPr>
            <p:spPr bwMode="auto">
              <a:xfrm>
                <a:off x="1583" y="1674"/>
                <a:ext cx="33" cy="16"/>
              </a:xfrm>
              <a:custGeom>
                <a:avLst/>
                <a:gdLst>
                  <a:gd name="T0" fmla="*/ 80 w 106"/>
                  <a:gd name="T1" fmla="*/ 13 h 49"/>
                  <a:gd name="T2" fmla="*/ 72 w 106"/>
                  <a:gd name="T3" fmla="*/ 12 h 49"/>
                  <a:gd name="T4" fmla="*/ 66 w 106"/>
                  <a:gd name="T5" fmla="*/ 11 h 49"/>
                  <a:gd name="T6" fmla="*/ 59 w 106"/>
                  <a:gd name="T7" fmla="*/ 8 h 49"/>
                  <a:gd name="T8" fmla="*/ 53 w 106"/>
                  <a:gd name="T9" fmla="*/ 6 h 49"/>
                  <a:gd name="T10" fmla="*/ 47 w 106"/>
                  <a:gd name="T11" fmla="*/ 4 h 49"/>
                  <a:gd name="T12" fmla="*/ 41 w 106"/>
                  <a:gd name="T13" fmla="*/ 2 h 49"/>
                  <a:gd name="T14" fmla="*/ 34 w 106"/>
                  <a:gd name="T15" fmla="*/ 0 h 49"/>
                  <a:gd name="T16" fmla="*/ 26 w 106"/>
                  <a:gd name="T17" fmla="*/ 0 h 49"/>
                  <a:gd name="T18" fmla="*/ 15 w 106"/>
                  <a:gd name="T19" fmla="*/ 0 h 49"/>
                  <a:gd name="T20" fmla="*/ 0 w 106"/>
                  <a:gd name="T21" fmla="*/ 0 h 49"/>
                  <a:gd name="T22" fmla="*/ 9 w 106"/>
                  <a:gd name="T23" fmla="*/ 11 h 49"/>
                  <a:gd name="T24" fmla="*/ 17 w 106"/>
                  <a:gd name="T25" fmla="*/ 21 h 49"/>
                  <a:gd name="T26" fmla="*/ 26 w 106"/>
                  <a:gd name="T27" fmla="*/ 29 h 49"/>
                  <a:gd name="T28" fmla="*/ 34 w 106"/>
                  <a:gd name="T29" fmla="*/ 36 h 49"/>
                  <a:gd name="T30" fmla="*/ 42 w 106"/>
                  <a:gd name="T31" fmla="*/ 42 h 49"/>
                  <a:gd name="T32" fmla="*/ 52 w 106"/>
                  <a:gd name="T33" fmla="*/ 46 h 49"/>
                  <a:gd name="T34" fmla="*/ 61 w 106"/>
                  <a:gd name="T35" fmla="*/ 48 h 49"/>
                  <a:gd name="T36" fmla="*/ 72 w 106"/>
                  <a:gd name="T37" fmla="*/ 49 h 49"/>
                  <a:gd name="T38" fmla="*/ 79 w 106"/>
                  <a:gd name="T39" fmla="*/ 48 h 49"/>
                  <a:gd name="T40" fmla="*/ 87 w 106"/>
                  <a:gd name="T41" fmla="*/ 45 h 49"/>
                  <a:gd name="T42" fmla="*/ 97 w 106"/>
                  <a:gd name="T43" fmla="*/ 39 h 49"/>
                  <a:gd name="T44" fmla="*/ 106 w 106"/>
                  <a:gd name="T45" fmla="*/ 31 h 49"/>
                  <a:gd name="T46" fmla="*/ 101 w 106"/>
                  <a:gd name="T47" fmla="*/ 30 h 49"/>
                  <a:gd name="T48" fmla="*/ 98 w 106"/>
                  <a:gd name="T49" fmla="*/ 28 h 49"/>
                  <a:gd name="T50" fmla="*/ 93 w 106"/>
                  <a:gd name="T51" fmla="*/ 25 h 49"/>
                  <a:gd name="T52" fmla="*/ 90 w 106"/>
                  <a:gd name="T53" fmla="*/ 22 h 49"/>
                  <a:gd name="T54" fmla="*/ 88 w 106"/>
                  <a:gd name="T55" fmla="*/ 19 h 49"/>
                  <a:gd name="T56" fmla="*/ 84 w 106"/>
                  <a:gd name="T57" fmla="*/ 16 h 49"/>
                  <a:gd name="T58" fmla="*/ 82 w 106"/>
                  <a:gd name="T59" fmla="*/ 14 h 49"/>
                  <a:gd name="T60" fmla="*/ 80 w 106"/>
                  <a:gd name="T61" fmla="*/ 13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06" h="49">
                    <a:moveTo>
                      <a:pt x="80" y="13"/>
                    </a:moveTo>
                    <a:lnTo>
                      <a:pt x="72" y="12"/>
                    </a:lnTo>
                    <a:lnTo>
                      <a:pt x="66" y="11"/>
                    </a:lnTo>
                    <a:lnTo>
                      <a:pt x="59" y="8"/>
                    </a:lnTo>
                    <a:lnTo>
                      <a:pt x="53" y="6"/>
                    </a:lnTo>
                    <a:lnTo>
                      <a:pt x="47" y="4"/>
                    </a:lnTo>
                    <a:lnTo>
                      <a:pt x="41" y="2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  <a:lnTo>
                      <a:pt x="9" y="11"/>
                    </a:lnTo>
                    <a:lnTo>
                      <a:pt x="17" y="21"/>
                    </a:lnTo>
                    <a:lnTo>
                      <a:pt x="26" y="29"/>
                    </a:lnTo>
                    <a:lnTo>
                      <a:pt x="34" y="36"/>
                    </a:lnTo>
                    <a:lnTo>
                      <a:pt x="42" y="42"/>
                    </a:lnTo>
                    <a:lnTo>
                      <a:pt x="52" y="46"/>
                    </a:lnTo>
                    <a:lnTo>
                      <a:pt x="61" y="48"/>
                    </a:lnTo>
                    <a:lnTo>
                      <a:pt x="72" y="49"/>
                    </a:lnTo>
                    <a:lnTo>
                      <a:pt x="79" y="48"/>
                    </a:lnTo>
                    <a:lnTo>
                      <a:pt x="87" y="45"/>
                    </a:lnTo>
                    <a:lnTo>
                      <a:pt x="97" y="39"/>
                    </a:lnTo>
                    <a:lnTo>
                      <a:pt x="106" y="31"/>
                    </a:lnTo>
                    <a:lnTo>
                      <a:pt x="101" y="30"/>
                    </a:lnTo>
                    <a:lnTo>
                      <a:pt x="98" y="28"/>
                    </a:lnTo>
                    <a:lnTo>
                      <a:pt x="93" y="25"/>
                    </a:lnTo>
                    <a:lnTo>
                      <a:pt x="90" y="22"/>
                    </a:lnTo>
                    <a:lnTo>
                      <a:pt x="88" y="19"/>
                    </a:lnTo>
                    <a:lnTo>
                      <a:pt x="84" y="16"/>
                    </a:lnTo>
                    <a:lnTo>
                      <a:pt x="82" y="14"/>
                    </a:lnTo>
                    <a:lnTo>
                      <a:pt x="8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0" name="Freeform 399"/>
              <p:cNvSpPr>
                <a:spLocks/>
              </p:cNvSpPr>
              <p:nvPr/>
            </p:nvSpPr>
            <p:spPr bwMode="auto">
              <a:xfrm>
                <a:off x="1599" y="1713"/>
                <a:ext cx="15" cy="7"/>
              </a:xfrm>
              <a:custGeom>
                <a:avLst/>
                <a:gdLst>
                  <a:gd name="T0" fmla="*/ 0 w 47"/>
                  <a:gd name="T1" fmla="*/ 19 h 22"/>
                  <a:gd name="T2" fmla="*/ 5 w 47"/>
                  <a:gd name="T3" fmla="*/ 21 h 22"/>
                  <a:gd name="T4" fmla="*/ 12 w 47"/>
                  <a:gd name="T5" fmla="*/ 22 h 22"/>
                  <a:gd name="T6" fmla="*/ 18 w 47"/>
                  <a:gd name="T7" fmla="*/ 22 h 22"/>
                  <a:gd name="T8" fmla="*/ 26 w 47"/>
                  <a:gd name="T9" fmla="*/ 21 h 22"/>
                  <a:gd name="T10" fmla="*/ 33 w 47"/>
                  <a:gd name="T11" fmla="*/ 19 h 22"/>
                  <a:gd name="T12" fmla="*/ 38 w 47"/>
                  <a:gd name="T13" fmla="*/ 15 h 22"/>
                  <a:gd name="T14" fmla="*/ 41 w 47"/>
                  <a:gd name="T15" fmla="*/ 12 h 22"/>
                  <a:gd name="T16" fmla="*/ 44 w 47"/>
                  <a:gd name="T17" fmla="*/ 9 h 22"/>
                  <a:gd name="T18" fmla="*/ 45 w 47"/>
                  <a:gd name="T19" fmla="*/ 5 h 22"/>
                  <a:gd name="T20" fmla="*/ 47 w 47"/>
                  <a:gd name="T21" fmla="*/ 0 h 22"/>
                  <a:gd name="T22" fmla="*/ 0 w 47"/>
                  <a:gd name="T23" fmla="*/ 1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22">
                    <a:moveTo>
                      <a:pt x="0" y="19"/>
                    </a:moveTo>
                    <a:lnTo>
                      <a:pt x="5" y="21"/>
                    </a:lnTo>
                    <a:lnTo>
                      <a:pt x="12" y="22"/>
                    </a:lnTo>
                    <a:lnTo>
                      <a:pt x="18" y="22"/>
                    </a:lnTo>
                    <a:lnTo>
                      <a:pt x="26" y="21"/>
                    </a:lnTo>
                    <a:lnTo>
                      <a:pt x="33" y="19"/>
                    </a:lnTo>
                    <a:lnTo>
                      <a:pt x="38" y="15"/>
                    </a:lnTo>
                    <a:lnTo>
                      <a:pt x="41" y="12"/>
                    </a:lnTo>
                    <a:lnTo>
                      <a:pt x="44" y="9"/>
                    </a:lnTo>
                    <a:lnTo>
                      <a:pt x="45" y="5"/>
                    </a:lnTo>
                    <a:lnTo>
                      <a:pt x="47" y="0"/>
                    </a:lnTo>
                    <a:lnTo>
                      <a:pt x="0" y="1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1" name="Freeform 400"/>
              <p:cNvSpPr>
                <a:spLocks/>
              </p:cNvSpPr>
              <p:nvPr/>
            </p:nvSpPr>
            <p:spPr bwMode="auto">
              <a:xfrm>
                <a:off x="1608" y="1742"/>
                <a:ext cx="17" cy="11"/>
              </a:xfrm>
              <a:custGeom>
                <a:avLst/>
                <a:gdLst>
                  <a:gd name="T0" fmla="*/ 53 w 53"/>
                  <a:gd name="T1" fmla="*/ 0 h 32"/>
                  <a:gd name="T2" fmla="*/ 37 w 53"/>
                  <a:gd name="T3" fmla="*/ 9 h 32"/>
                  <a:gd name="T4" fmla="*/ 23 w 53"/>
                  <a:gd name="T5" fmla="*/ 18 h 32"/>
                  <a:gd name="T6" fmla="*/ 11 w 53"/>
                  <a:gd name="T7" fmla="*/ 26 h 32"/>
                  <a:gd name="T8" fmla="*/ 0 w 53"/>
                  <a:gd name="T9" fmla="*/ 32 h 32"/>
                  <a:gd name="T10" fmla="*/ 13 w 53"/>
                  <a:gd name="T11" fmla="*/ 32 h 32"/>
                  <a:gd name="T12" fmla="*/ 26 w 53"/>
                  <a:gd name="T13" fmla="*/ 32 h 32"/>
                  <a:gd name="T14" fmla="*/ 39 w 53"/>
                  <a:gd name="T15" fmla="*/ 32 h 32"/>
                  <a:gd name="T16" fmla="*/ 53 w 53"/>
                  <a:gd name="T17" fmla="*/ 32 h 32"/>
                  <a:gd name="T18" fmla="*/ 53 w 53"/>
                  <a:gd name="T19" fmla="*/ 24 h 32"/>
                  <a:gd name="T20" fmla="*/ 53 w 53"/>
                  <a:gd name="T21" fmla="*/ 16 h 32"/>
                  <a:gd name="T22" fmla="*/ 53 w 53"/>
                  <a:gd name="T23" fmla="*/ 9 h 32"/>
                  <a:gd name="T24" fmla="*/ 53 w 53"/>
                  <a:gd name="T25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32">
                    <a:moveTo>
                      <a:pt x="53" y="0"/>
                    </a:moveTo>
                    <a:lnTo>
                      <a:pt x="37" y="9"/>
                    </a:lnTo>
                    <a:lnTo>
                      <a:pt x="23" y="18"/>
                    </a:lnTo>
                    <a:lnTo>
                      <a:pt x="11" y="26"/>
                    </a:lnTo>
                    <a:lnTo>
                      <a:pt x="0" y="32"/>
                    </a:lnTo>
                    <a:lnTo>
                      <a:pt x="13" y="32"/>
                    </a:lnTo>
                    <a:lnTo>
                      <a:pt x="26" y="32"/>
                    </a:lnTo>
                    <a:lnTo>
                      <a:pt x="39" y="32"/>
                    </a:lnTo>
                    <a:lnTo>
                      <a:pt x="53" y="32"/>
                    </a:lnTo>
                    <a:lnTo>
                      <a:pt x="53" y="24"/>
                    </a:lnTo>
                    <a:lnTo>
                      <a:pt x="53" y="16"/>
                    </a:lnTo>
                    <a:lnTo>
                      <a:pt x="53" y="9"/>
                    </a:lnTo>
                    <a:lnTo>
                      <a:pt x="5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2" name="Freeform 401"/>
              <p:cNvSpPr>
                <a:spLocks/>
              </p:cNvSpPr>
              <p:nvPr/>
            </p:nvSpPr>
            <p:spPr bwMode="auto">
              <a:xfrm>
                <a:off x="1450" y="1438"/>
                <a:ext cx="14" cy="12"/>
              </a:xfrm>
              <a:custGeom>
                <a:avLst/>
                <a:gdLst>
                  <a:gd name="T0" fmla="*/ 27 w 46"/>
                  <a:gd name="T1" fmla="*/ 3 h 34"/>
                  <a:gd name="T2" fmla="*/ 0 w 46"/>
                  <a:gd name="T3" fmla="*/ 16 h 34"/>
                  <a:gd name="T4" fmla="*/ 0 w 46"/>
                  <a:gd name="T5" fmla="*/ 34 h 34"/>
                  <a:gd name="T6" fmla="*/ 27 w 46"/>
                  <a:gd name="T7" fmla="*/ 34 h 34"/>
                  <a:gd name="T8" fmla="*/ 31 w 46"/>
                  <a:gd name="T9" fmla="*/ 32 h 34"/>
                  <a:gd name="T10" fmla="*/ 35 w 46"/>
                  <a:gd name="T11" fmla="*/ 28 h 34"/>
                  <a:gd name="T12" fmla="*/ 39 w 46"/>
                  <a:gd name="T13" fmla="*/ 25 h 34"/>
                  <a:gd name="T14" fmla="*/ 42 w 46"/>
                  <a:gd name="T15" fmla="*/ 21 h 34"/>
                  <a:gd name="T16" fmla="*/ 44 w 46"/>
                  <a:gd name="T17" fmla="*/ 17 h 34"/>
                  <a:gd name="T18" fmla="*/ 45 w 46"/>
                  <a:gd name="T19" fmla="*/ 13 h 34"/>
                  <a:gd name="T20" fmla="*/ 46 w 46"/>
                  <a:gd name="T21" fmla="*/ 8 h 34"/>
                  <a:gd name="T22" fmla="*/ 46 w 46"/>
                  <a:gd name="T23" fmla="*/ 3 h 34"/>
                  <a:gd name="T24" fmla="*/ 46 w 46"/>
                  <a:gd name="T25" fmla="*/ 1 h 34"/>
                  <a:gd name="T26" fmla="*/ 44 w 46"/>
                  <a:gd name="T27" fmla="*/ 0 h 34"/>
                  <a:gd name="T28" fmla="*/ 42 w 46"/>
                  <a:gd name="T29" fmla="*/ 0 h 34"/>
                  <a:gd name="T30" fmla="*/ 39 w 46"/>
                  <a:gd name="T31" fmla="*/ 0 h 34"/>
                  <a:gd name="T32" fmla="*/ 32 w 46"/>
                  <a:gd name="T33" fmla="*/ 2 h 34"/>
                  <a:gd name="T34" fmla="*/ 27 w 46"/>
                  <a:gd name="T35" fmla="*/ 3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6" h="34">
                    <a:moveTo>
                      <a:pt x="27" y="3"/>
                    </a:moveTo>
                    <a:lnTo>
                      <a:pt x="0" y="16"/>
                    </a:lnTo>
                    <a:lnTo>
                      <a:pt x="0" y="34"/>
                    </a:lnTo>
                    <a:lnTo>
                      <a:pt x="27" y="34"/>
                    </a:lnTo>
                    <a:lnTo>
                      <a:pt x="31" y="32"/>
                    </a:lnTo>
                    <a:lnTo>
                      <a:pt x="35" y="28"/>
                    </a:lnTo>
                    <a:lnTo>
                      <a:pt x="39" y="25"/>
                    </a:lnTo>
                    <a:lnTo>
                      <a:pt x="42" y="21"/>
                    </a:lnTo>
                    <a:lnTo>
                      <a:pt x="44" y="17"/>
                    </a:lnTo>
                    <a:lnTo>
                      <a:pt x="45" y="13"/>
                    </a:lnTo>
                    <a:lnTo>
                      <a:pt x="46" y="8"/>
                    </a:lnTo>
                    <a:lnTo>
                      <a:pt x="46" y="3"/>
                    </a:lnTo>
                    <a:lnTo>
                      <a:pt x="46" y="1"/>
                    </a:lnTo>
                    <a:lnTo>
                      <a:pt x="44" y="0"/>
                    </a:lnTo>
                    <a:lnTo>
                      <a:pt x="42" y="0"/>
                    </a:lnTo>
                    <a:lnTo>
                      <a:pt x="39" y="0"/>
                    </a:lnTo>
                    <a:lnTo>
                      <a:pt x="32" y="2"/>
                    </a:lnTo>
                    <a:lnTo>
                      <a:pt x="27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3" name="Freeform 402"/>
              <p:cNvSpPr>
                <a:spLocks/>
              </p:cNvSpPr>
              <p:nvPr/>
            </p:nvSpPr>
            <p:spPr bwMode="auto">
              <a:xfrm>
                <a:off x="1305" y="1224"/>
                <a:ext cx="16" cy="8"/>
              </a:xfrm>
              <a:custGeom>
                <a:avLst/>
                <a:gdLst>
                  <a:gd name="T0" fmla="*/ 0 w 48"/>
                  <a:gd name="T1" fmla="*/ 25 h 25"/>
                  <a:gd name="T2" fmla="*/ 14 w 48"/>
                  <a:gd name="T3" fmla="*/ 25 h 25"/>
                  <a:gd name="T4" fmla="*/ 28 w 48"/>
                  <a:gd name="T5" fmla="*/ 25 h 25"/>
                  <a:gd name="T6" fmla="*/ 30 w 48"/>
                  <a:gd name="T7" fmla="*/ 24 h 25"/>
                  <a:gd name="T8" fmla="*/ 33 w 48"/>
                  <a:gd name="T9" fmla="*/ 22 h 25"/>
                  <a:gd name="T10" fmla="*/ 37 w 48"/>
                  <a:gd name="T11" fmla="*/ 18 h 25"/>
                  <a:gd name="T12" fmla="*/ 40 w 48"/>
                  <a:gd name="T13" fmla="*/ 15 h 25"/>
                  <a:gd name="T14" fmla="*/ 45 w 48"/>
                  <a:gd name="T15" fmla="*/ 7 h 25"/>
                  <a:gd name="T16" fmla="*/ 48 w 48"/>
                  <a:gd name="T17" fmla="*/ 0 h 25"/>
                  <a:gd name="T18" fmla="*/ 40 w 48"/>
                  <a:gd name="T19" fmla="*/ 1 h 25"/>
                  <a:gd name="T20" fmla="*/ 33 w 48"/>
                  <a:gd name="T21" fmla="*/ 2 h 25"/>
                  <a:gd name="T22" fmla="*/ 28 w 48"/>
                  <a:gd name="T23" fmla="*/ 5 h 25"/>
                  <a:gd name="T24" fmla="*/ 21 w 48"/>
                  <a:gd name="T25" fmla="*/ 8 h 25"/>
                  <a:gd name="T26" fmla="*/ 11 w 48"/>
                  <a:gd name="T27" fmla="*/ 16 h 25"/>
                  <a:gd name="T28" fmla="*/ 0 w 48"/>
                  <a:gd name="T2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48" h="25">
                    <a:moveTo>
                      <a:pt x="0" y="25"/>
                    </a:moveTo>
                    <a:lnTo>
                      <a:pt x="14" y="25"/>
                    </a:lnTo>
                    <a:lnTo>
                      <a:pt x="28" y="25"/>
                    </a:lnTo>
                    <a:lnTo>
                      <a:pt x="30" y="24"/>
                    </a:lnTo>
                    <a:lnTo>
                      <a:pt x="33" y="22"/>
                    </a:lnTo>
                    <a:lnTo>
                      <a:pt x="37" y="18"/>
                    </a:lnTo>
                    <a:lnTo>
                      <a:pt x="40" y="15"/>
                    </a:lnTo>
                    <a:lnTo>
                      <a:pt x="45" y="7"/>
                    </a:lnTo>
                    <a:lnTo>
                      <a:pt x="48" y="0"/>
                    </a:lnTo>
                    <a:lnTo>
                      <a:pt x="40" y="1"/>
                    </a:lnTo>
                    <a:lnTo>
                      <a:pt x="33" y="2"/>
                    </a:lnTo>
                    <a:lnTo>
                      <a:pt x="28" y="5"/>
                    </a:lnTo>
                    <a:lnTo>
                      <a:pt x="21" y="8"/>
                    </a:lnTo>
                    <a:lnTo>
                      <a:pt x="11" y="16"/>
                    </a:lnTo>
                    <a:lnTo>
                      <a:pt x="0" y="2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4" name="Freeform 403"/>
              <p:cNvSpPr>
                <a:spLocks/>
              </p:cNvSpPr>
              <p:nvPr/>
            </p:nvSpPr>
            <p:spPr bwMode="auto">
              <a:xfrm>
                <a:off x="1343" y="1188"/>
                <a:ext cx="8" cy="11"/>
              </a:xfrm>
              <a:custGeom>
                <a:avLst/>
                <a:gdLst>
                  <a:gd name="T0" fmla="*/ 0 w 30"/>
                  <a:gd name="T1" fmla="*/ 0 h 37"/>
                  <a:gd name="T2" fmla="*/ 0 w 30"/>
                  <a:gd name="T3" fmla="*/ 37 h 37"/>
                  <a:gd name="T4" fmla="*/ 11 w 30"/>
                  <a:gd name="T5" fmla="*/ 36 h 37"/>
                  <a:gd name="T6" fmla="*/ 20 w 30"/>
                  <a:gd name="T7" fmla="*/ 34 h 37"/>
                  <a:gd name="T8" fmla="*/ 22 w 30"/>
                  <a:gd name="T9" fmla="*/ 33 h 37"/>
                  <a:gd name="T10" fmla="*/ 26 w 30"/>
                  <a:gd name="T11" fmla="*/ 32 h 37"/>
                  <a:gd name="T12" fmla="*/ 28 w 30"/>
                  <a:gd name="T13" fmla="*/ 30 h 37"/>
                  <a:gd name="T14" fmla="*/ 29 w 30"/>
                  <a:gd name="T15" fmla="*/ 28 h 37"/>
                  <a:gd name="T16" fmla="*/ 30 w 30"/>
                  <a:gd name="T17" fmla="*/ 23 h 37"/>
                  <a:gd name="T18" fmla="*/ 30 w 30"/>
                  <a:gd name="T19" fmla="*/ 16 h 37"/>
                  <a:gd name="T20" fmla="*/ 29 w 30"/>
                  <a:gd name="T21" fmla="*/ 9 h 37"/>
                  <a:gd name="T22" fmla="*/ 27 w 30"/>
                  <a:gd name="T23" fmla="*/ 0 h 37"/>
                  <a:gd name="T24" fmla="*/ 0 w 30"/>
                  <a:gd name="T25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" h="37">
                    <a:moveTo>
                      <a:pt x="0" y="0"/>
                    </a:moveTo>
                    <a:lnTo>
                      <a:pt x="0" y="37"/>
                    </a:lnTo>
                    <a:lnTo>
                      <a:pt x="11" y="36"/>
                    </a:lnTo>
                    <a:lnTo>
                      <a:pt x="20" y="34"/>
                    </a:lnTo>
                    <a:lnTo>
                      <a:pt x="22" y="33"/>
                    </a:lnTo>
                    <a:lnTo>
                      <a:pt x="26" y="32"/>
                    </a:lnTo>
                    <a:lnTo>
                      <a:pt x="28" y="30"/>
                    </a:lnTo>
                    <a:lnTo>
                      <a:pt x="29" y="28"/>
                    </a:lnTo>
                    <a:lnTo>
                      <a:pt x="30" y="23"/>
                    </a:lnTo>
                    <a:lnTo>
                      <a:pt x="30" y="16"/>
                    </a:lnTo>
                    <a:lnTo>
                      <a:pt x="29" y="9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5" name="Freeform 404"/>
              <p:cNvSpPr>
                <a:spLocks/>
              </p:cNvSpPr>
              <p:nvPr/>
            </p:nvSpPr>
            <p:spPr bwMode="auto">
              <a:xfrm>
                <a:off x="1334" y="1208"/>
                <a:ext cx="36" cy="16"/>
              </a:xfrm>
              <a:custGeom>
                <a:avLst/>
                <a:gdLst>
                  <a:gd name="T0" fmla="*/ 33 w 113"/>
                  <a:gd name="T1" fmla="*/ 3 h 46"/>
                  <a:gd name="T2" fmla="*/ 22 w 113"/>
                  <a:gd name="T3" fmla="*/ 3 h 46"/>
                  <a:gd name="T4" fmla="*/ 12 w 113"/>
                  <a:gd name="T5" fmla="*/ 5 h 46"/>
                  <a:gd name="T6" fmla="*/ 7 w 113"/>
                  <a:gd name="T7" fmla="*/ 7 h 46"/>
                  <a:gd name="T8" fmla="*/ 3 w 113"/>
                  <a:gd name="T9" fmla="*/ 11 h 46"/>
                  <a:gd name="T10" fmla="*/ 1 w 113"/>
                  <a:gd name="T11" fmla="*/ 15 h 46"/>
                  <a:gd name="T12" fmla="*/ 0 w 113"/>
                  <a:gd name="T13" fmla="*/ 21 h 46"/>
                  <a:gd name="T14" fmla="*/ 6 w 113"/>
                  <a:gd name="T15" fmla="*/ 27 h 46"/>
                  <a:gd name="T16" fmla="*/ 10 w 113"/>
                  <a:gd name="T17" fmla="*/ 33 h 46"/>
                  <a:gd name="T18" fmla="*/ 16 w 113"/>
                  <a:gd name="T19" fmla="*/ 37 h 46"/>
                  <a:gd name="T20" fmla="*/ 20 w 113"/>
                  <a:gd name="T21" fmla="*/ 41 h 46"/>
                  <a:gd name="T22" fmla="*/ 25 w 113"/>
                  <a:gd name="T23" fmla="*/ 43 h 46"/>
                  <a:gd name="T24" fmla="*/ 30 w 113"/>
                  <a:gd name="T25" fmla="*/ 45 h 46"/>
                  <a:gd name="T26" fmla="*/ 35 w 113"/>
                  <a:gd name="T27" fmla="*/ 46 h 46"/>
                  <a:gd name="T28" fmla="*/ 40 w 113"/>
                  <a:gd name="T29" fmla="*/ 46 h 46"/>
                  <a:gd name="T30" fmla="*/ 56 w 113"/>
                  <a:gd name="T31" fmla="*/ 46 h 46"/>
                  <a:gd name="T32" fmla="*/ 70 w 113"/>
                  <a:gd name="T33" fmla="*/ 43 h 46"/>
                  <a:gd name="T34" fmla="*/ 76 w 113"/>
                  <a:gd name="T35" fmla="*/ 41 h 46"/>
                  <a:gd name="T36" fmla="*/ 81 w 113"/>
                  <a:gd name="T37" fmla="*/ 38 h 46"/>
                  <a:gd name="T38" fmla="*/ 87 w 113"/>
                  <a:gd name="T39" fmla="*/ 36 h 46"/>
                  <a:gd name="T40" fmla="*/ 91 w 113"/>
                  <a:gd name="T41" fmla="*/ 33 h 46"/>
                  <a:gd name="T42" fmla="*/ 99 w 113"/>
                  <a:gd name="T43" fmla="*/ 27 h 46"/>
                  <a:gd name="T44" fmla="*/ 106 w 113"/>
                  <a:gd name="T45" fmla="*/ 20 h 46"/>
                  <a:gd name="T46" fmla="*/ 110 w 113"/>
                  <a:gd name="T47" fmla="*/ 12 h 46"/>
                  <a:gd name="T48" fmla="*/ 113 w 113"/>
                  <a:gd name="T49" fmla="*/ 3 h 46"/>
                  <a:gd name="T50" fmla="*/ 99 w 113"/>
                  <a:gd name="T51" fmla="*/ 1 h 46"/>
                  <a:gd name="T52" fmla="*/ 87 w 113"/>
                  <a:gd name="T53" fmla="*/ 0 h 46"/>
                  <a:gd name="T54" fmla="*/ 76 w 113"/>
                  <a:gd name="T55" fmla="*/ 0 h 46"/>
                  <a:gd name="T56" fmla="*/ 66 w 113"/>
                  <a:gd name="T57" fmla="*/ 1 h 46"/>
                  <a:gd name="T58" fmla="*/ 48 w 113"/>
                  <a:gd name="T59" fmla="*/ 2 h 46"/>
                  <a:gd name="T60" fmla="*/ 33 w 113"/>
                  <a:gd name="T61" fmla="*/ 3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13" h="46">
                    <a:moveTo>
                      <a:pt x="33" y="3"/>
                    </a:moveTo>
                    <a:lnTo>
                      <a:pt x="22" y="3"/>
                    </a:lnTo>
                    <a:lnTo>
                      <a:pt x="12" y="5"/>
                    </a:lnTo>
                    <a:lnTo>
                      <a:pt x="7" y="7"/>
                    </a:lnTo>
                    <a:lnTo>
                      <a:pt x="3" y="11"/>
                    </a:lnTo>
                    <a:lnTo>
                      <a:pt x="1" y="15"/>
                    </a:lnTo>
                    <a:lnTo>
                      <a:pt x="0" y="21"/>
                    </a:lnTo>
                    <a:lnTo>
                      <a:pt x="6" y="27"/>
                    </a:lnTo>
                    <a:lnTo>
                      <a:pt x="10" y="33"/>
                    </a:lnTo>
                    <a:lnTo>
                      <a:pt x="16" y="37"/>
                    </a:lnTo>
                    <a:lnTo>
                      <a:pt x="20" y="41"/>
                    </a:lnTo>
                    <a:lnTo>
                      <a:pt x="25" y="43"/>
                    </a:lnTo>
                    <a:lnTo>
                      <a:pt x="30" y="45"/>
                    </a:lnTo>
                    <a:lnTo>
                      <a:pt x="35" y="46"/>
                    </a:lnTo>
                    <a:lnTo>
                      <a:pt x="40" y="46"/>
                    </a:lnTo>
                    <a:lnTo>
                      <a:pt x="56" y="46"/>
                    </a:lnTo>
                    <a:lnTo>
                      <a:pt x="70" y="43"/>
                    </a:lnTo>
                    <a:lnTo>
                      <a:pt x="76" y="41"/>
                    </a:lnTo>
                    <a:lnTo>
                      <a:pt x="81" y="38"/>
                    </a:lnTo>
                    <a:lnTo>
                      <a:pt x="87" y="36"/>
                    </a:lnTo>
                    <a:lnTo>
                      <a:pt x="91" y="33"/>
                    </a:lnTo>
                    <a:lnTo>
                      <a:pt x="99" y="27"/>
                    </a:lnTo>
                    <a:lnTo>
                      <a:pt x="106" y="20"/>
                    </a:lnTo>
                    <a:lnTo>
                      <a:pt x="110" y="12"/>
                    </a:lnTo>
                    <a:lnTo>
                      <a:pt x="113" y="3"/>
                    </a:lnTo>
                    <a:lnTo>
                      <a:pt x="99" y="1"/>
                    </a:lnTo>
                    <a:lnTo>
                      <a:pt x="87" y="0"/>
                    </a:lnTo>
                    <a:lnTo>
                      <a:pt x="76" y="0"/>
                    </a:lnTo>
                    <a:lnTo>
                      <a:pt x="66" y="1"/>
                    </a:lnTo>
                    <a:lnTo>
                      <a:pt x="48" y="2"/>
                    </a:lnTo>
                    <a:lnTo>
                      <a:pt x="33" y="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6" name="Freeform 405"/>
              <p:cNvSpPr>
                <a:spLocks/>
              </p:cNvSpPr>
              <p:nvPr/>
            </p:nvSpPr>
            <p:spPr bwMode="auto">
              <a:xfrm>
                <a:off x="1365" y="1201"/>
                <a:ext cx="49" cy="28"/>
              </a:xfrm>
              <a:custGeom>
                <a:avLst/>
                <a:gdLst>
                  <a:gd name="T0" fmla="*/ 0 w 153"/>
                  <a:gd name="T1" fmla="*/ 79 h 82"/>
                  <a:gd name="T2" fmla="*/ 2 w 153"/>
                  <a:gd name="T3" fmla="*/ 81 h 82"/>
                  <a:gd name="T4" fmla="*/ 6 w 153"/>
                  <a:gd name="T5" fmla="*/ 82 h 82"/>
                  <a:gd name="T6" fmla="*/ 10 w 153"/>
                  <a:gd name="T7" fmla="*/ 82 h 82"/>
                  <a:gd name="T8" fmla="*/ 14 w 153"/>
                  <a:gd name="T9" fmla="*/ 82 h 82"/>
                  <a:gd name="T10" fmla="*/ 23 w 153"/>
                  <a:gd name="T11" fmla="*/ 80 h 82"/>
                  <a:gd name="T12" fmla="*/ 33 w 153"/>
                  <a:gd name="T13" fmla="*/ 79 h 82"/>
                  <a:gd name="T14" fmla="*/ 40 w 153"/>
                  <a:gd name="T15" fmla="*/ 79 h 82"/>
                  <a:gd name="T16" fmla="*/ 47 w 153"/>
                  <a:gd name="T17" fmla="*/ 78 h 82"/>
                  <a:gd name="T18" fmla="*/ 56 w 153"/>
                  <a:gd name="T19" fmla="*/ 76 h 82"/>
                  <a:gd name="T20" fmla="*/ 65 w 153"/>
                  <a:gd name="T21" fmla="*/ 74 h 82"/>
                  <a:gd name="T22" fmla="*/ 83 w 153"/>
                  <a:gd name="T23" fmla="*/ 68 h 82"/>
                  <a:gd name="T24" fmla="*/ 103 w 153"/>
                  <a:gd name="T25" fmla="*/ 59 h 82"/>
                  <a:gd name="T26" fmla="*/ 112 w 153"/>
                  <a:gd name="T27" fmla="*/ 54 h 82"/>
                  <a:gd name="T28" fmla="*/ 121 w 153"/>
                  <a:gd name="T29" fmla="*/ 49 h 82"/>
                  <a:gd name="T30" fmla="*/ 129 w 153"/>
                  <a:gd name="T31" fmla="*/ 43 h 82"/>
                  <a:gd name="T32" fmla="*/ 136 w 153"/>
                  <a:gd name="T33" fmla="*/ 38 h 82"/>
                  <a:gd name="T34" fmla="*/ 142 w 153"/>
                  <a:gd name="T35" fmla="*/ 32 h 82"/>
                  <a:gd name="T36" fmla="*/ 147 w 153"/>
                  <a:gd name="T37" fmla="*/ 25 h 82"/>
                  <a:gd name="T38" fmla="*/ 150 w 153"/>
                  <a:gd name="T39" fmla="*/ 19 h 82"/>
                  <a:gd name="T40" fmla="*/ 153 w 153"/>
                  <a:gd name="T41" fmla="*/ 12 h 82"/>
                  <a:gd name="T42" fmla="*/ 134 w 153"/>
                  <a:gd name="T43" fmla="*/ 8 h 82"/>
                  <a:gd name="T44" fmla="*/ 115 w 153"/>
                  <a:gd name="T45" fmla="*/ 3 h 82"/>
                  <a:gd name="T46" fmla="*/ 96 w 153"/>
                  <a:gd name="T47" fmla="*/ 1 h 82"/>
                  <a:gd name="T48" fmla="*/ 77 w 153"/>
                  <a:gd name="T49" fmla="*/ 0 h 82"/>
                  <a:gd name="T50" fmla="*/ 68 w 153"/>
                  <a:gd name="T51" fmla="*/ 1 h 82"/>
                  <a:gd name="T52" fmla="*/ 60 w 153"/>
                  <a:gd name="T53" fmla="*/ 1 h 82"/>
                  <a:gd name="T54" fmla="*/ 52 w 153"/>
                  <a:gd name="T55" fmla="*/ 2 h 82"/>
                  <a:gd name="T56" fmla="*/ 45 w 153"/>
                  <a:gd name="T57" fmla="*/ 4 h 82"/>
                  <a:gd name="T58" fmla="*/ 38 w 153"/>
                  <a:gd name="T59" fmla="*/ 7 h 82"/>
                  <a:gd name="T60" fmla="*/ 34 w 153"/>
                  <a:gd name="T61" fmla="*/ 10 h 82"/>
                  <a:gd name="T62" fmla="*/ 30 w 153"/>
                  <a:gd name="T63" fmla="*/ 14 h 82"/>
                  <a:gd name="T64" fmla="*/ 26 w 153"/>
                  <a:gd name="T65" fmla="*/ 18 h 82"/>
                  <a:gd name="T66" fmla="*/ 32 w 153"/>
                  <a:gd name="T67" fmla="*/ 23 h 82"/>
                  <a:gd name="T68" fmla="*/ 36 w 153"/>
                  <a:gd name="T69" fmla="*/ 29 h 82"/>
                  <a:gd name="T70" fmla="*/ 38 w 153"/>
                  <a:gd name="T71" fmla="*/ 32 h 82"/>
                  <a:gd name="T72" fmla="*/ 42 w 153"/>
                  <a:gd name="T73" fmla="*/ 34 h 82"/>
                  <a:gd name="T74" fmla="*/ 44 w 153"/>
                  <a:gd name="T75" fmla="*/ 36 h 82"/>
                  <a:gd name="T76" fmla="*/ 46 w 153"/>
                  <a:gd name="T77" fmla="*/ 36 h 82"/>
                  <a:gd name="T78" fmla="*/ 40 w 153"/>
                  <a:gd name="T79" fmla="*/ 41 h 82"/>
                  <a:gd name="T80" fmla="*/ 33 w 153"/>
                  <a:gd name="T81" fmla="*/ 46 h 82"/>
                  <a:gd name="T82" fmla="*/ 29 w 153"/>
                  <a:gd name="T83" fmla="*/ 52 h 82"/>
                  <a:gd name="T84" fmla="*/ 23 w 153"/>
                  <a:gd name="T85" fmla="*/ 57 h 82"/>
                  <a:gd name="T86" fmla="*/ 18 w 153"/>
                  <a:gd name="T87" fmla="*/ 64 h 82"/>
                  <a:gd name="T88" fmla="*/ 13 w 153"/>
                  <a:gd name="T89" fmla="*/ 69 h 82"/>
                  <a:gd name="T90" fmla="*/ 7 w 153"/>
                  <a:gd name="T91" fmla="*/ 75 h 82"/>
                  <a:gd name="T92" fmla="*/ 0 w 153"/>
                  <a:gd name="T93" fmla="*/ 79 h 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53" h="82">
                    <a:moveTo>
                      <a:pt x="0" y="79"/>
                    </a:moveTo>
                    <a:lnTo>
                      <a:pt x="2" y="81"/>
                    </a:lnTo>
                    <a:lnTo>
                      <a:pt x="6" y="82"/>
                    </a:lnTo>
                    <a:lnTo>
                      <a:pt x="10" y="82"/>
                    </a:lnTo>
                    <a:lnTo>
                      <a:pt x="14" y="82"/>
                    </a:lnTo>
                    <a:lnTo>
                      <a:pt x="23" y="80"/>
                    </a:lnTo>
                    <a:lnTo>
                      <a:pt x="33" y="79"/>
                    </a:lnTo>
                    <a:lnTo>
                      <a:pt x="40" y="79"/>
                    </a:lnTo>
                    <a:lnTo>
                      <a:pt x="47" y="78"/>
                    </a:lnTo>
                    <a:lnTo>
                      <a:pt x="56" y="76"/>
                    </a:lnTo>
                    <a:lnTo>
                      <a:pt x="65" y="74"/>
                    </a:lnTo>
                    <a:lnTo>
                      <a:pt x="83" y="68"/>
                    </a:lnTo>
                    <a:lnTo>
                      <a:pt x="103" y="59"/>
                    </a:lnTo>
                    <a:lnTo>
                      <a:pt x="112" y="54"/>
                    </a:lnTo>
                    <a:lnTo>
                      <a:pt x="121" y="49"/>
                    </a:lnTo>
                    <a:lnTo>
                      <a:pt x="129" y="43"/>
                    </a:lnTo>
                    <a:lnTo>
                      <a:pt x="136" y="38"/>
                    </a:lnTo>
                    <a:lnTo>
                      <a:pt x="142" y="32"/>
                    </a:lnTo>
                    <a:lnTo>
                      <a:pt x="147" y="25"/>
                    </a:lnTo>
                    <a:lnTo>
                      <a:pt x="150" y="19"/>
                    </a:lnTo>
                    <a:lnTo>
                      <a:pt x="153" y="12"/>
                    </a:lnTo>
                    <a:lnTo>
                      <a:pt x="134" y="8"/>
                    </a:lnTo>
                    <a:lnTo>
                      <a:pt x="115" y="3"/>
                    </a:lnTo>
                    <a:lnTo>
                      <a:pt x="96" y="1"/>
                    </a:lnTo>
                    <a:lnTo>
                      <a:pt x="77" y="0"/>
                    </a:lnTo>
                    <a:lnTo>
                      <a:pt x="68" y="1"/>
                    </a:lnTo>
                    <a:lnTo>
                      <a:pt x="60" y="1"/>
                    </a:lnTo>
                    <a:lnTo>
                      <a:pt x="52" y="2"/>
                    </a:lnTo>
                    <a:lnTo>
                      <a:pt x="45" y="4"/>
                    </a:lnTo>
                    <a:lnTo>
                      <a:pt x="38" y="7"/>
                    </a:lnTo>
                    <a:lnTo>
                      <a:pt x="34" y="10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32" y="23"/>
                    </a:lnTo>
                    <a:lnTo>
                      <a:pt x="36" y="29"/>
                    </a:lnTo>
                    <a:lnTo>
                      <a:pt x="38" y="32"/>
                    </a:lnTo>
                    <a:lnTo>
                      <a:pt x="42" y="34"/>
                    </a:lnTo>
                    <a:lnTo>
                      <a:pt x="44" y="36"/>
                    </a:lnTo>
                    <a:lnTo>
                      <a:pt x="46" y="36"/>
                    </a:lnTo>
                    <a:lnTo>
                      <a:pt x="40" y="41"/>
                    </a:lnTo>
                    <a:lnTo>
                      <a:pt x="33" y="46"/>
                    </a:lnTo>
                    <a:lnTo>
                      <a:pt x="29" y="52"/>
                    </a:lnTo>
                    <a:lnTo>
                      <a:pt x="23" y="57"/>
                    </a:lnTo>
                    <a:lnTo>
                      <a:pt x="18" y="64"/>
                    </a:lnTo>
                    <a:lnTo>
                      <a:pt x="13" y="69"/>
                    </a:lnTo>
                    <a:lnTo>
                      <a:pt x="7" y="75"/>
                    </a:lnTo>
                    <a:lnTo>
                      <a:pt x="0" y="7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7" name="Freeform 406"/>
              <p:cNvSpPr>
                <a:spLocks/>
              </p:cNvSpPr>
              <p:nvPr/>
            </p:nvSpPr>
            <p:spPr bwMode="auto">
              <a:xfrm>
                <a:off x="1414" y="1217"/>
                <a:ext cx="29" cy="17"/>
              </a:xfrm>
              <a:custGeom>
                <a:avLst/>
                <a:gdLst>
                  <a:gd name="T0" fmla="*/ 0 w 86"/>
                  <a:gd name="T1" fmla="*/ 37 h 50"/>
                  <a:gd name="T2" fmla="*/ 5 w 86"/>
                  <a:gd name="T3" fmla="*/ 41 h 50"/>
                  <a:gd name="T4" fmla="*/ 11 w 86"/>
                  <a:gd name="T5" fmla="*/ 44 h 50"/>
                  <a:gd name="T6" fmla="*/ 16 w 86"/>
                  <a:gd name="T7" fmla="*/ 47 h 50"/>
                  <a:gd name="T8" fmla="*/ 23 w 86"/>
                  <a:gd name="T9" fmla="*/ 48 h 50"/>
                  <a:gd name="T10" fmla="*/ 35 w 86"/>
                  <a:gd name="T11" fmla="*/ 49 h 50"/>
                  <a:gd name="T12" fmla="*/ 46 w 86"/>
                  <a:gd name="T13" fmla="*/ 50 h 50"/>
                  <a:gd name="T14" fmla="*/ 58 w 86"/>
                  <a:gd name="T15" fmla="*/ 49 h 50"/>
                  <a:gd name="T16" fmla="*/ 67 w 86"/>
                  <a:gd name="T17" fmla="*/ 48 h 50"/>
                  <a:gd name="T18" fmla="*/ 73 w 86"/>
                  <a:gd name="T19" fmla="*/ 47 h 50"/>
                  <a:gd name="T20" fmla="*/ 79 w 86"/>
                  <a:gd name="T21" fmla="*/ 44 h 50"/>
                  <a:gd name="T22" fmla="*/ 82 w 86"/>
                  <a:gd name="T23" fmla="*/ 41 h 50"/>
                  <a:gd name="T24" fmla="*/ 84 w 86"/>
                  <a:gd name="T25" fmla="*/ 37 h 50"/>
                  <a:gd name="T26" fmla="*/ 85 w 86"/>
                  <a:gd name="T27" fmla="*/ 32 h 50"/>
                  <a:gd name="T28" fmla="*/ 86 w 86"/>
                  <a:gd name="T29" fmla="*/ 25 h 50"/>
                  <a:gd name="T30" fmla="*/ 85 w 86"/>
                  <a:gd name="T31" fmla="*/ 17 h 50"/>
                  <a:gd name="T32" fmla="*/ 84 w 86"/>
                  <a:gd name="T33" fmla="*/ 10 h 50"/>
                  <a:gd name="T34" fmla="*/ 83 w 86"/>
                  <a:gd name="T35" fmla="*/ 7 h 50"/>
                  <a:gd name="T36" fmla="*/ 81 w 86"/>
                  <a:gd name="T37" fmla="*/ 5 h 50"/>
                  <a:gd name="T38" fmla="*/ 77 w 86"/>
                  <a:gd name="T39" fmla="*/ 2 h 50"/>
                  <a:gd name="T40" fmla="*/ 73 w 86"/>
                  <a:gd name="T41" fmla="*/ 0 h 50"/>
                  <a:gd name="T42" fmla="*/ 0 w 86"/>
                  <a:gd name="T43" fmla="*/ 37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6" h="50">
                    <a:moveTo>
                      <a:pt x="0" y="37"/>
                    </a:moveTo>
                    <a:lnTo>
                      <a:pt x="5" y="41"/>
                    </a:lnTo>
                    <a:lnTo>
                      <a:pt x="11" y="44"/>
                    </a:lnTo>
                    <a:lnTo>
                      <a:pt x="16" y="47"/>
                    </a:lnTo>
                    <a:lnTo>
                      <a:pt x="23" y="48"/>
                    </a:lnTo>
                    <a:lnTo>
                      <a:pt x="35" y="49"/>
                    </a:lnTo>
                    <a:lnTo>
                      <a:pt x="46" y="50"/>
                    </a:lnTo>
                    <a:lnTo>
                      <a:pt x="58" y="49"/>
                    </a:lnTo>
                    <a:lnTo>
                      <a:pt x="67" y="48"/>
                    </a:lnTo>
                    <a:lnTo>
                      <a:pt x="73" y="47"/>
                    </a:lnTo>
                    <a:lnTo>
                      <a:pt x="79" y="44"/>
                    </a:lnTo>
                    <a:lnTo>
                      <a:pt x="82" y="41"/>
                    </a:lnTo>
                    <a:lnTo>
                      <a:pt x="84" y="37"/>
                    </a:lnTo>
                    <a:lnTo>
                      <a:pt x="85" y="32"/>
                    </a:lnTo>
                    <a:lnTo>
                      <a:pt x="86" y="25"/>
                    </a:lnTo>
                    <a:lnTo>
                      <a:pt x="85" y="17"/>
                    </a:lnTo>
                    <a:lnTo>
                      <a:pt x="84" y="10"/>
                    </a:lnTo>
                    <a:lnTo>
                      <a:pt x="83" y="7"/>
                    </a:lnTo>
                    <a:lnTo>
                      <a:pt x="81" y="5"/>
                    </a:lnTo>
                    <a:lnTo>
                      <a:pt x="77" y="2"/>
                    </a:lnTo>
                    <a:lnTo>
                      <a:pt x="73" y="0"/>
                    </a:lnTo>
                    <a:lnTo>
                      <a:pt x="0" y="3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8" name="Freeform 407"/>
              <p:cNvSpPr>
                <a:spLocks/>
              </p:cNvSpPr>
              <p:nvPr/>
            </p:nvSpPr>
            <p:spPr bwMode="auto">
              <a:xfrm>
                <a:off x="1379" y="1163"/>
                <a:ext cx="55" cy="25"/>
              </a:xfrm>
              <a:custGeom>
                <a:avLst/>
                <a:gdLst>
                  <a:gd name="T0" fmla="*/ 119 w 172"/>
                  <a:gd name="T1" fmla="*/ 61 h 74"/>
                  <a:gd name="T2" fmla="*/ 109 w 172"/>
                  <a:gd name="T3" fmla="*/ 61 h 74"/>
                  <a:gd name="T4" fmla="*/ 99 w 172"/>
                  <a:gd name="T5" fmla="*/ 61 h 74"/>
                  <a:gd name="T6" fmla="*/ 90 w 172"/>
                  <a:gd name="T7" fmla="*/ 61 h 74"/>
                  <a:gd name="T8" fmla="*/ 80 w 172"/>
                  <a:gd name="T9" fmla="*/ 61 h 74"/>
                  <a:gd name="T10" fmla="*/ 60 w 172"/>
                  <a:gd name="T11" fmla="*/ 74 h 74"/>
                  <a:gd name="T12" fmla="*/ 33 w 172"/>
                  <a:gd name="T13" fmla="*/ 74 h 74"/>
                  <a:gd name="T14" fmla="*/ 36 w 172"/>
                  <a:gd name="T15" fmla="*/ 61 h 74"/>
                  <a:gd name="T16" fmla="*/ 39 w 172"/>
                  <a:gd name="T17" fmla="*/ 49 h 74"/>
                  <a:gd name="T18" fmla="*/ 30 w 172"/>
                  <a:gd name="T19" fmla="*/ 49 h 74"/>
                  <a:gd name="T20" fmla="*/ 23 w 172"/>
                  <a:gd name="T21" fmla="*/ 48 h 74"/>
                  <a:gd name="T22" fmla="*/ 15 w 172"/>
                  <a:gd name="T23" fmla="*/ 47 h 74"/>
                  <a:gd name="T24" fmla="*/ 9 w 172"/>
                  <a:gd name="T25" fmla="*/ 45 h 74"/>
                  <a:gd name="T26" fmla="*/ 5 w 172"/>
                  <a:gd name="T27" fmla="*/ 42 h 74"/>
                  <a:gd name="T28" fmla="*/ 2 w 172"/>
                  <a:gd name="T29" fmla="*/ 39 h 74"/>
                  <a:gd name="T30" fmla="*/ 1 w 172"/>
                  <a:gd name="T31" fmla="*/ 35 h 74"/>
                  <a:gd name="T32" fmla="*/ 0 w 172"/>
                  <a:gd name="T33" fmla="*/ 31 h 74"/>
                  <a:gd name="T34" fmla="*/ 1 w 172"/>
                  <a:gd name="T35" fmla="*/ 26 h 74"/>
                  <a:gd name="T36" fmla="*/ 2 w 172"/>
                  <a:gd name="T37" fmla="*/ 21 h 74"/>
                  <a:gd name="T38" fmla="*/ 5 w 172"/>
                  <a:gd name="T39" fmla="*/ 17 h 74"/>
                  <a:gd name="T40" fmla="*/ 8 w 172"/>
                  <a:gd name="T41" fmla="*/ 14 h 74"/>
                  <a:gd name="T42" fmla="*/ 13 w 172"/>
                  <a:gd name="T43" fmla="*/ 10 h 74"/>
                  <a:gd name="T44" fmla="*/ 18 w 172"/>
                  <a:gd name="T45" fmla="*/ 7 h 74"/>
                  <a:gd name="T46" fmla="*/ 24 w 172"/>
                  <a:gd name="T47" fmla="*/ 5 h 74"/>
                  <a:gd name="T48" fmla="*/ 29 w 172"/>
                  <a:gd name="T49" fmla="*/ 4 h 74"/>
                  <a:gd name="T50" fmla="*/ 42 w 172"/>
                  <a:gd name="T51" fmla="*/ 1 h 74"/>
                  <a:gd name="T52" fmla="*/ 56 w 172"/>
                  <a:gd name="T53" fmla="*/ 0 h 74"/>
                  <a:gd name="T54" fmla="*/ 69 w 172"/>
                  <a:gd name="T55" fmla="*/ 0 h 74"/>
                  <a:gd name="T56" fmla="*/ 80 w 172"/>
                  <a:gd name="T57" fmla="*/ 0 h 74"/>
                  <a:gd name="T58" fmla="*/ 94 w 172"/>
                  <a:gd name="T59" fmla="*/ 1 h 74"/>
                  <a:gd name="T60" fmla="*/ 106 w 172"/>
                  <a:gd name="T61" fmla="*/ 4 h 74"/>
                  <a:gd name="T62" fmla="*/ 117 w 172"/>
                  <a:gd name="T63" fmla="*/ 7 h 74"/>
                  <a:gd name="T64" fmla="*/ 128 w 172"/>
                  <a:gd name="T65" fmla="*/ 13 h 74"/>
                  <a:gd name="T66" fmla="*/ 139 w 172"/>
                  <a:gd name="T67" fmla="*/ 17 h 74"/>
                  <a:gd name="T68" fmla="*/ 150 w 172"/>
                  <a:gd name="T69" fmla="*/ 21 h 74"/>
                  <a:gd name="T70" fmla="*/ 161 w 172"/>
                  <a:gd name="T71" fmla="*/ 24 h 74"/>
                  <a:gd name="T72" fmla="*/ 172 w 172"/>
                  <a:gd name="T73" fmla="*/ 25 h 74"/>
                  <a:gd name="T74" fmla="*/ 172 w 172"/>
                  <a:gd name="T75" fmla="*/ 43 h 74"/>
                  <a:gd name="T76" fmla="*/ 169 w 172"/>
                  <a:gd name="T77" fmla="*/ 48 h 74"/>
                  <a:gd name="T78" fmla="*/ 165 w 172"/>
                  <a:gd name="T79" fmla="*/ 53 h 74"/>
                  <a:gd name="T80" fmla="*/ 161 w 172"/>
                  <a:gd name="T81" fmla="*/ 57 h 74"/>
                  <a:gd name="T82" fmla="*/ 158 w 172"/>
                  <a:gd name="T83" fmla="*/ 60 h 74"/>
                  <a:gd name="T84" fmla="*/ 153 w 172"/>
                  <a:gd name="T85" fmla="*/ 62 h 74"/>
                  <a:gd name="T86" fmla="*/ 149 w 172"/>
                  <a:gd name="T87" fmla="*/ 63 h 74"/>
                  <a:gd name="T88" fmla="*/ 146 w 172"/>
                  <a:gd name="T89" fmla="*/ 65 h 74"/>
                  <a:gd name="T90" fmla="*/ 141 w 172"/>
                  <a:gd name="T91" fmla="*/ 65 h 74"/>
                  <a:gd name="T92" fmla="*/ 131 w 172"/>
                  <a:gd name="T93" fmla="*/ 65 h 74"/>
                  <a:gd name="T94" fmla="*/ 121 w 172"/>
                  <a:gd name="T95" fmla="*/ 63 h 74"/>
                  <a:gd name="T96" fmla="*/ 112 w 172"/>
                  <a:gd name="T97" fmla="*/ 59 h 74"/>
                  <a:gd name="T98" fmla="*/ 99 w 172"/>
                  <a:gd name="T99" fmla="*/ 55 h 74"/>
                  <a:gd name="T100" fmla="*/ 106 w 172"/>
                  <a:gd name="T101" fmla="*/ 55 h 74"/>
                  <a:gd name="T102" fmla="*/ 119 w 172"/>
                  <a:gd name="T103" fmla="*/ 61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72" h="74">
                    <a:moveTo>
                      <a:pt x="119" y="61"/>
                    </a:moveTo>
                    <a:lnTo>
                      <a:pt x="109" y="61"/>
                    </a:lnTo>
                    <a:lnTo>
                      <a:pt x="99" y="61"/>
                    </a:lnTo>
                    <a:lnTo>
                      <a:pt x="90" y="61"/>
                    </a:lnTo>
                    <a:lnTo>
                      <a:pt x="80" y="61"/>
                    </a:lnTo>
                    <a:lnTo>
                      <a:pt x="60" y="74"/>
                    </a:lnTo>
                    <a:lnTo>
                      <a:pt x="33" y="74"/>
                    </a:lnTo>
                    <a:lnTo>
                      <a:pt x="36" y="61"/>
                    </a:lnTo>
                    <a:lnTo>
                      <a:pt x="39" y="49"/>
                    </a:lnTo>
                    <a:lnTo>
                      <a:pt x="30" y="49"/>
                    </a:lnTo>
                    <a:lnTo>
                      <a:pt x="23" y="48"/>
                    </a:lnTo>
                    <a:lnTo>
                      <a:pt x="15" y="47"/>
                    </a:lnTo>
                    <a:lnTo>
                      <a:pt x="9" y="45"/>
                    </a:lnTo>
                    <a:lnTo>
                      <a:pt x="5" y="42"/>
                    </a:lnTo>
                    <a:lnTo>
                      <a:pt x="2" y="39"/>
                    </a:lnTo>
                    <a:lnTo>
                      <a:pt x="1" y="35"/>
                    </a:lnTo>
                    <a:lnTo>
                      <a:pt x="0" y="31"/>
                    </a:lnTo>
                    <a:lnTo>
                      <a:pt x="1" y="26"/>
                    </a:lnTo>
                    <a:lnTo>
                      <a:pt x="2" y="21"/>
                    </a:lnTo>
                    <a:lnTo>
                      <a:pt x="5" y="17"/>
                    </a:lnTo>
                    <a:lnTo>
                      <a:pt x="8" y="14"/>
                    </a:lnTo>
                    <a:lnTo>
                      <a:pt x="13" y="10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29" y="4"/>
                    </a:lnTo>
                    <a:lnTo>
                      <a:pt x="42" y="1"/>
                    </a:lnTo>
                    <a:lnTo>
                      <a:pt x="56" y="0"/>
                    </a:lnTo>
                    <a:lnTo>
                      <a:pt x="69" y="0"/>
                    </a:lnTo>
                    <a:lnTo>
                      <a:pt x="80" y="0"/>
                    </a:lnTo>
                    <a:lnTo>
                      <a:pt x="94" y="1"/>
                    </a:lnTo>
                    <a:lnTo>
                      <a:pt x="106" y="4"/>
                    </a:lnTo>
                    <a:lnTo>
                      <a:pt x="117" y="7"/>
                    </a:lnTo>
                    <a:lnTo>
                      <a:pt x="128" y="13"/>
                    </a:lnTo>
                    <a:lnTo>
                      <a:pt x="139" y="17"/>
                    </a:lnTo>
                    <a:lnTo>
                      <a:pt x="150" y="21"/>
                    </a:lnTo>
                    <a:lnTo>
                      <a:pt x="161" y="24"/>
                    </a:lnTo>
                    <a:lnTo>
                      <a:pt x="172" y="25"/>
                    </a:lnTo>
                    <a:lnTo>
                      <a:pt x="172" y="43"/>
                    </a:lnTo>
                    <a:lnTo>
                      <a:pt x="169" y="48"/>
                    </a:lnTo>
                    <a:lnTo>
                      <a:pt x="165" y="53"/>
                    </a:lnTo>
                    <a:lnTo>
                      <a:pt x="161" y="57"/>
                    </a:lnTo>
                    <a:lnTo>
                      <a:pt x="158" y="60"/>
                    </a:lnTo>
                    <a:lnTo>
                      <a:pt x="153" y="62"/>
                    </a:lnTo>
                    <a:lnTo>
                      <a:pt x="149" y="63"/>
                    </a:lnTo>
                    <a:lnTo>
                      <a:pt x="146" y="65"/>
                    </a:lnTo>
                    <a:lnTo>
                      <a:pt x="141" y="65"/>
                    </a:lnTo>
                    <a:lnTo>
                      <a:pt x="131" y="65"/>
                    </a:lnTo>
                    <a:lnTo>
                      <a:pt x="121" y="63"/>
                    </a:lnTo>
                    <a:lnTo>
                      <a:pt x="112" y="59"/>
                    </a:lnTo>
                    <a:lnTo>
                      <a:pt x="99" y="55"/>
                    </a:lnTo>
                    <a:lnTo>
                      <a:pt x="106" y="55"/>
                    </a:lnTo>
                    <a:lnTo>
                      <a:pt x="119" y="6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79" name="Freeform 408"/>
              <p:cNvSpPr>
                <a:spLocks/>
              </p:cNvSpPr>
              <p:nvPr/>
            </p:nvSpPr>
            <p:spPr bwMode="auto">
              <a:xfrm>
                <a:off x="1450" y="1171"/>
                <a:ext cx="38" cy="17"/>
              </a:xfrm>
              <a:custGeom>
                <a:avLst/>
                <a:gdLst>
                  <a:gd name="T0" fmla="*/ 27 w 120"/>
                  <a:gd name="T1" fmla="*/ 49 h 49"/>
                  <a:gd name="T2" fmla="*/ 47 w 120"/>
                  <a:gd name="T3" fmla="*/ 49 h 49"/>
                  <a:gd name="T4" fmla="*/ 64 w 120"/>
                  <a:gd name="T5" fmla="*/ 48 h 49"/>
                  <a:gd name="T6" fmla="*/ 78 w 120"/>
                  <a:gd name="T7" fmla="*/ 46 h 49"/>
                  <a:gd name="T8" fmla="*/ 90 w 120"/>
                  <a:gd name="T9" fmla="*/ 43 h 49"/>
                  <a:gd name="T10" fmla="*/ 96 w 120"/>
                  <a:gd name="T11" fmla="*/ 39 h 49"/>
                  <a:gd name="T12" fmla="*/ 100 w 120"/>
                  <a:gd name="T13" fmla="*/ 37 h 49"/>
                  <a:gd name="T14" fmla="*/ 104 w 120"/>
                  <a:gd name="T15" fmla="*/ 34 h 49"/>
                  <a:gd name="T16" fmla="*/ 108 w 120"/>
                  <a:gd name="T17" fmla="*/ 31 h 49"/>
                  <a:gd name="T18" fmla="*/ 114 w 120"/>
                  <a:gd name="T19" fmla="*/ 22 h 49"/>
                  <a:gd name="T20" fmla="*/ 120 w 120"/>
                  <a:gd name="T21" fmla="*/ 12 h 49"/>
                  <a:gd name="T22" fmla="*/ 102 w 120"/>
                  <a:gd name="T23" fmla="*/ 6 h 49"/>
                  <a:gd name="T24" fmla="*/ 84 w 120"/>
                  <a:gd name="T25" fmla="*/ 3 h 49"/>
                  <a:gd name="T26" fmla="*/ 66 w 120"/>
                  <a:gd name="T27" fmla="*/ 1 h 49"/>
                  <a:gd name="T28" fmla="*/ 50 w 120"/>
                  <a:gd name="T29" fmla="*/ 0 h 49"/>
                  <a:gd name="T30" fmla="*/ 34 w 120"/>
                  <a:gd name="T31" fmla="*/ 1 h 49"/>
                  <a:gd name="T32" fmla="*/ 20 w 120"/>
                  <a:gd name="T33" fmla="*/ 2 h 49"/>
                  <a:gd name="T34" fmla="*/ 9 w 120"/>
                  <a:gd name="T35" fmla="*/ 4 h 49"/>
                  <a:gd name="T36" fmla="*/ 0 w 120"/>
                  <a:gd name="T37" fmla="*/ 6 h 49"/>
                  <a:gd name="T38" fmla="*/ 0 w 120"/>
                  <a:gd name="T39" fmla="*/ 30 h 49"/>
                  <a:gd name="T40" fmla="*/ 2 w 120"/>
                  <a:gd name="T41" fmla="*/ 35 h 49"/>
                  <a:gd name="T42" fmla="*/ 6 w 120"/>
                  <a:gd name="T43" fmla="*/ 38 h 49"/>
                  <a:gd name="T44" fmla="*/ 9 w 120"/>
                  <a:gd name="T45" fmla="*/ 41 h 49"/>
                  <a:gd name="T46" fmla="*/ 13 w 120"/>
                  <a:gd name="T47" fmla="*/ 45 h 49"/>
                  <a:gd name="T48" fmla="*/ 20 w 120"/>
                  <a:gd name="T49" fmla="*/ 48 h 49"/>
                  <a:gd name="T50" fmla="*/ 27 w 120"/>
                  <a:gd name="T51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20" h="49">
                    <a:moveTo>
                      <a:pt x="27" y="49"/>
                    </a:moveTo>
                    <a:lnTo>
                      <a:pt x="47" y="49"/>
                    </a:lnTo>
                    <a:lnTo>
                      <a:pt x="64" y="48"/>
                    </a:lnTo>
                    <a:lnTo>
                      <a:pt x="78" y="46"/>
                    </a:lnTo>
                    <a:lnTo>
                      <a:pt x="90" y="43"/>
                    </a:lnTo>
                    <a:lnTo>
                      <a:pt x="96" y="39"/>
                    </a:lnTo>
                    <a:lnTo>
                      <a:pt x="100" y="37"/>
                    </a:lnTo>
                    <a:lnTo>
                      <a:pt x="104" y="34"/>
                    </a:lnTo>
                    <a:lnTo>
                      <a:pt x="108" y="31"/>
                    </a:lnTo>
                    <a:lnTo>
                      <a:pt x="114" y="22"/>
                    </a:lnTo>
                    <a:lnTo>
                      <a:pt x="120" y="12"/>
                    </a:lnTo>
                    <a:lnTo>
                      <a:pt x="102" y="6"/>
                    </a:lnTo>
                    <a:lnTo>
                      <a:pt x="84" y="3"/>
                    </a:lnTo>
                    <a:lnTo>
                      <a:pt x="66" y="1"/>
                    </a:lnTo>
                    <a:lnTo>
                      <a:pt x="50" y="0"/>
                    </a:lnTo>
                    <a:lnTo>
                      <a:pt x="34" y="1"/>
                    </a:lnTo>
                    <a:lnTo>
                      <a:pt x="20" y="2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8"/>
                    </a:lnTo>
                    <a:lnTo>
                      <a:pt x="9" y="41"/>
                    </a:lnTo>
                    <a:lnTo>
                      <a:pt x="13" y="45"/>
                    </a:lnTo>
                    <a:lnTo>
                      <a:pt x="20" y="48"/>
                    </a:lnTo>
                    <a:lnTo>
                      <a:pt x="27" y="4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0" name="Freeform 409"/>
              <p:cNvSpPr>
                <a:spLocks/>
              </p:cNvSpPr>
              <p:nvPr/>
            </p:nvSpPr>
            <p:spPr bwMode="auto">
              <a:xfrm>
                <a:off x="1441" y="1194"/>
                <a:ext cx="26" cy="19"/>
              </a:xfrm>
              <a:custGeom>
                <a:avLst/>
                <a:gdLst>
                  <a:gd name="T0" fmla="*/ 33 w 85"/>
                  <a:gd name="T1" fmla="*/ 0 h 61"/>
                  <a:gd name="T2" fmla="*/ 22 w 85"/>
                  <a:gd name="T3" fmla="*/ 5 h 61"/>
                  <a:gd name="T4" fmla="*/ 11 w 85"/>
                  <a:gd name="T5" fmla="*/ 12 h 61"/>
                  <a:gd name="T6" fmla="*/ 6 w 85"/>
                  <a:gd name="T7" fmla="*/ 17 h 61"/>
                  <a:gd name="T8" fmla="*/ 3 w 85"/>
                  <a:gd name="T9" fmla="*/ 21 h 61"/>
                  <a:gd name="T10" fmla="*/ 0 w 85"/>
                  <a:gd name="T11" fmla="*/ 25 h 61"/>
                  <a:gd name="T12" fmla="*/ 0 w 85"/>
                  <a:gd name="T13" fmla="*/ 31 h 61"/>
                  <a:gd name="T14" fmla="*/ 0 w 85"/>
                  <a:gd name="T15" fmla="*/ 34 h 61"/>
                  <a:gd name="T16" fmla="*/ 1 w 85"/>
                  <a:gd name="T17" fmla="*/ 37 h 61"/>
                  <a:gd name="T18" fmla="*/ 2 w 85"/>
                  <a:gd name="T19" fmla="*/ 40 h 61"/>
                  <a:gd name="T20" fmla="*/ 5 w 85"/>
                  <a:gd name="T21" fmla="*/ 43 h 61"/>
                  <a:gd name="T22" fmla="*/ 11 w 85"/>
                  <a:gd name="T23" fmla="*/ 48 h 61"/>
                  <a:gd name="T24" fmla="*/ 18 w 85"/>
                  <a:gd name="T25" fmla="*/ 53 h 61"/>
                  <a:gd name="T26" fmla="*/ 27 w 85"/>
                  <a:gd name="T27" fmla="*/ 56 h 61"/>
                  <a:gd name="T28" fmla="*/ 36 w 85"/>
                  <a:gd name="T29" fmla="*/ 59 h 61"/>
                  <a:gd name="T30" fmla="*/ 45 w 85"/>
                  <a:gd name="T31" fmla="*/ 61 h 61"/>
                  <a:gd name="T32" fmla="*/ 53 w 85"/>
                  <a:gd name="T33" fmla="*/ 61 h 61"/>
                  <a:gd name="T34" fmla="*/ 56 w 85"/>
                  <a:gd name="T35" fmla="*/ 61 h 61"/>
                  <a:gd name="T36" fmla="*/ 59 w 85"/>
                  <a:gd name="T37" fmla="*/ 60 h 61"/>
                  <a:gd name="T38" fmla="*/ 62 w 85"/>
                  <a:gd name="T39" fmla="*/ 59 h 61"/>
                  <a:gd name="T40" fmla="*/ 66 w 85"/>
                  <a:gd name="T41" fmla="*/ 57 h 61"/>
                  <a:gd name="T42" fmla="*/ 72 w 85"/>
                  <a:gd name="T43" fmla="*/ 52 h 61"/>
                  <a:gd name="T44" fmla="*/ 77 w 85"/>
                  <a:gd name="T45" fmla="*/ 47 h 61"/>
                  <a:gd name="T46" fmla="*/ 80 w 85"/>
                  <a:gd name="T47" fmla="*/ 40 h 61"/>
                  <a:gd name="T48" fmla="*/ 83 w 85"/>
                  <a:gd name="T49" fmla="*/ 33 h 61"/>
                  <a:gd name="T50" fmla="*/ 85 w 85"/>
                  <a:gd name="T51" fmla="*/ 25 h 61"/>
                  <a:gd name="T52" fmla="*/ 85 w 85"/>
                  <a:gd name="T53" fmla="*/ 18 h 61"/>
                  <a:gd name="T54" fmla="*/ 33 w 85"/>
                  <a:gd name="T55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5" h="61">
                    <a:moveTo>
                      <a:pt x="33" y="0"/>
                    </a:moveTo>
                    <a:lnTo>
                      <a:pt x="22" y="5"/>
                    </a:lnTo>
                    <a:lnTo>
                      <a:pt x="11" y="12"/>
                    </a:lnTo>
                    <a:lnTo>
                      <a:pt x="6" y="17"/>
                    </a:lnTo>
                    <a:lnTo>
                      <a:pt x="3" y="21"/>
                    </a:lnTo>
                    <a:lnTo>
                      <a:pt x="0" y="25"/>
                    </a:lnTo>
                    <a:lnTo>
                      <a:pt x="0" y="31"/>
                    </a:lnTo>
                    <a:lnTo>
                      <a:pt x="0" y="34"/>
                    </a:lnTo>
                    <a:lnTo>
                      <a:pt x="1" y="37"/>
                    </a:lnTo>
                    <a:lnTo>
                      <a:pt x="2" y="40"/>
                    </a:lnTo>
                    <a:lnTo>
                      <a:pt x="5" y="43"/>
                    </a:lnTo>
                    <a:lnTo>
                      <a:pt x="11" y="48"/>
                    </a:lnTo>
                    <a:lnTo>
                      <a:pt x="18" y="53"/>
                    </a:lnTo>
                    <a:lnTo>
                      <a:pt x="27" y="56"/>
                    </a:lnTo>
                    <a:lnTo>
                      <a:pt x="36" y="59"/>
                    </a:lnTo>
                    <a:lnTo>
                      <a:pt x="45" y="61"/>
                    </a:lnTo>
                    <a:lnTo>
                      <a:pt x="53" y="61"/>
                    </a:lnTo>
                    <a:lnTo>
                      <a:pt x="56" y="61"/>
                    </a:lnTo>
                    <a:lnTo>
                      <a:pt x="59" y="60"/>
                    </a:lnTo>
                    <a:lnTo>
                      <a:pt x="62" y="59"/>
                    </a:lnTo>
                    <a:lnTo>
                      <a:pt x="66" y="57"/>
                    </a:lnTo>
                    <a:lnTo>
                      <a:pt x="72" y="52"/>
                    </a:lnTo>
                    <a:lnTo>
                      <a:pt x="77" y="47"/>
                    </a:lnTo>
                    <a:lnTo>
                      <a:pt x="80" y="40"/>
                    </a:lnTo>
                    <a:lnTo>
                      <a:pt x="83" y="33"/>
                    </a:lnTo>
                    <a:lnTo>
                      <a:pt x="85" y="25"/>
                    </a:lnTo>
                    <a:lnTo>
                      <a:pt x="85" y="18"/>
                    </a:lnTo>
                    <a:lnTo>
                      <a:pt x="3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1" name="Freeform 410"/>
              <p:cNvSpPr>
                <a:spLocks/>
              </p:cNvSpPr>
              <p:nvPr/>
            </p:nvSpPr>
            <p:spPr bwMode="auto">
              <a:xfrm>
                <a:off x="1254" y="1188"/>
                <a:ext cx="31" cy="6"/>
              </a:xfrm>
              <a:custGeom>
                <a:avLst/>
                <a:gdLst>
                  <a:gd name="T0" fmla="*/ 0 w 100"/>
                  <a:gd name="T1" fmla="*/ 6 h 19"/>
                  <a:gd name="T2" fmla="*/ 7 w 100"/>
                  <a:gd name="T3" fmla="*/ 11 h 19"/>
                  <a:gd name="T4" fmla="*/ 13 w 100"/>
                  <a:gd name="T5" fmla="*/ 15 h 19"/>
                  <a:gd name="T6" fmla="*/ 21 w 100"/>
                  <a:gd name="T7" fmla="*/ 18 h 19"/>
                  <a:gd name="T8" fmla="*/ 27 w 100"/>
                  <a:gd name="T9" fmla="*/ 19 h 19"/>
                  <a:gd name="T10" fmla="*/ 100 w 100"/>
                  <a:gd name="T11" fmla="*/ 6 h 19"/>
                  <a:gd name="T12" fmla="*/ 73 w 100"/>
                  <a:gd name="T13" fmla="*/ 2 h 19"/>
                  <a:gd name="T14" fmla="*/ 47 w 100"/>
                  <a:gd name="T15" fmla="*/ 0 h 19"/>
                  <a:gd name="T16" fmla="*/ 36 w 100"/>
                  <a:gd name="T17" fmla="*/ 0 h 19"/>
                  <a:gd name="T18" fmla="*/ 24 w 100"/>
                  <a:gd name="T19" fmla="*/ 1 h 19"/>
                  <a:gd name="T20" fmla="*/ 12 w 100"/>
                  <a:gd name="T21" fmla="*/ 3 h 19"/>
                  <a:gd name="T22" fmla="*/ 0 w 100"/>
                  <a:gd name="T23" fmla="*/ 6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0" h="19">
                    <a:moveTo>
                      <a:pt x="0" y="6"/>
                    </a:moveTo>
                    <a:lnTo>
                      <a:pt x="7" y="11"/>
                    </a:lnTo>
                    <a:lnTo>
                      <a:pt x="13" y="15"/>
                    </a:lnTo>
                    <a:lnTo>
                      <a:pt x="21" y="18"/>
                    </a:lnTo>
                    <a:lnTo>
                      <a:pt x="27" y="19"/>
                    </a:lnTo>
                    <a:lnTo>
                      <a:pt x="100" y="6"/>
                    </a:lnTo>
                    <a:lnTo>
                      <a:pt x="73" y="2"/>
                    </a:lnTo>
                    <a:lnTo>
                      <a:pt x="47" y="0"/>
                    </a:lnTo>
                    <a:lnTo>
                      <a:pt x="36" y="0"/>
                    </a:lnTo>
                    <a:lnTo>
                      <a:pt x="24" y="1"/>
                    </a:lnTo>
                    <a:lnTo>
                      <a:pt x="12" y="3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2" name="Freeform 411"/>
              <p:cNvSpPr>
                <a:spLocks/>
              </p:cNvSpPr>
              <p:nvPr/>
            </p:nvSpPr>
            <p:spPr bwMode="auto">
              <a:xfrm>
                <a:off x="1272" y="1168"/>
                <a:ext cx="53" cy="15"/>
              </a:xfrm>
              <a:custGeom>
                <a:avLst/>
                <a:gdLst>
                  <a:gd name="T0" fmla="*/ 0 w 166"/>
                  <a:gd name="T1" fmla="*/ 27 h 45"/>
                  <a:gd name="T2" fmla="*/ 0 w 166"/>
                  <a:gd name="T3" fmla="*/ 29 h 45"/>
                  <a:gd name="T4" fmla="*/ 3 w 166"/>
                  <a:gd name="T5" fmla="*/ 31 h 45"/>
                  <a:gd name="T6" fmla="*/ 8 w 166"/>
                  <a:gd name="T7" fmla="*/ 33 h 45"/>
                  <a:gd name="T8" fmla="*/ 13 w 166"/>
                  <a:gd name="T9" fmla="*/ 35 h 45"/>
                  <a:gd name="T10" fmla="*/ 27 w 166"/>
                  <a:gd name="T11" fmla="*/ 38 h 45"/>
                  <a:gd name="T12" fmla="*/ 44 w 166"/>
                  <a:gd name="T13" fmla="*/ 41 h 45"/>
                  <a:gd name="T14" fmla="*/ 75 w 166"/>
                  <a:gd name="T15" fmla="*/ 44 h 45"/>
                  <a:gd name="T16" fmla="*/ 92 w 166"/>
                  <a:gd name="T17" fmla="*/ 45 h 45"/>
                  <a:gd name="T18" fmla="*/ 166 w 166"/>
                  <a:gd name="T19" fmla="*/ 27 h 45"/>
                  <a:gd name="T20" fmla="*/ 157 w 166"/>
                  <a:gd name="T21" fmla="*/ 25 h 45"/>
                  <a:gd name="T22" fmla="*/ 137 w 166"/>
                  <a:gd name="T23" fmla="*/ 19 h 45"/>
                  <a:gd name="T24" fmla="*/ 110 w 166"/>
                  <a:gd name="T25" fmla="*/ 11 h 45"/>
                  <a:gd name="T26" fmla="*/ 80 w 166"/>
                  <a:gd name="T27" fmla="*/ 4 h 45"/>
                  <a:gd name="T28" fmla="*/ 65 w 166"/>
                  <a:gd name="T29" fmla="*/ 2 h 45"/>
                  <a:gd name="T30" fmla="*/ 50 w 166"/>
                  <a:gd name="T31" fmla="*/ 1 h 45"/>
                  <a:gd name="T32" fmla="*/ 36 w 166"/>
                  <a:gd name="T33" fmla="*/ 0 h 45"/>
                  <a:gd name="T34" fmla="*/ 24 w 166"/>
                  <a:gd name="T35" fmla="*/ 2 h 45"/>
                  <a:gd name="T36" fmla="*/ 19 w 166"/>
                  <a:gd name="T37" fmla="*/ 3 h 45"/>
                  <a:gd name="T38" fmla="*/ 14 w 166"/>
                  <a:gd name="T39" fmla="*/ 5 h 45"/>
                  <a:gd name="T40" fmla="*/ 10 w 166"/>
                  <a:gd name="T41" fmla="*/ 7 h 45"/>
                  <a:gd name="T42" fmla="*/ 7 w 166"/>
                  <a:gd name="T43" fmla="*/ 10 h 45"/>
                  <a:gd name="T44" fmla="*/ 3 w 166"/>
                  <a:gd name="T45" fmla="*/ 13 h 45"/>
                  <a:gd name="T46" fmla="*/ 1 w 166"/>
                  <a:gd name="T47" fmla="*/ 17 h 45"/>
                  <a:gd name="T48" fmla="*/ 0 w 166"/>
                  <a:gd name="T49" fmla="*/ 22 h 45"/>
                  <a:gd name="T50" fmla="*/ 0 w 166"/>
                  <a:gd name="T51" fmla="*/ 27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6" h="45">
                    <a:moveTo>
                      <a:pt x="0" y="27"/>
                    </a:moveTo>
                    <a:lnTo>
                      <a:pt x="0" y="29"/>
                    </a:lnTo>
                    <a:lnTo>
                      <a:pt x="3" y="31"/>
                    </a:lnTo>
                    <a:lnTo>
                      <a:pt x="8" y="33"/>
                    </a:lnTo>
                    <a:lnTo>
                      <a:pt x="13" y="35"/>
                    </a:lnTo>
                    <a:lnTo>
                      <a:pt x="27" y="38"/>
                    </a:lnTo>
                    <a:lnTo>
                      <a:pt x="44" y="41"/>
                    </a:lnTo>
                    <a:lnTo>
                      <a:pt x="75" y="44"/>
                    </a:lnTo>
                    <a:lnTo>
                      <a:pt x="92" y="45"/>
                    </a:lnTo>
                    <a:lnTo>
                      <a:pt x="166" y="27"/>
                    </a:lnTo>
                    <a:lnTo>
                      <a:pt x="157" y="25"/>
                    </a:lnTo>
                    <a:lnTo>
                      <a:pt x="137" y="19"/>
                    </a:lnTo>
                    <a:lnTo>
                      <a:pt x="110" y="11"/>
                    </a:lnTo>
                    <a:lnTo>
                      <a:pt x="80" y="4"/>
                    </a:lnTo>
                    <a:lnTo>
                      <a:pt x="65" y="2"/>
                    </a:lnTo>
                    <a:lnTo>
                      <a:pt x="50" y="1"/>
                    </a:lnTo>
                    <a:lnTo>
                      <a:pt x="36" y="0"/>
                    </a:lnTo>
                    <a:lnTo>
                      <a:pt x="24" y="2"/>
                    </a:lnTo>
                    <a:lnTo>
                      <a:pt x="19" y="3"/>
                    </a:lnTo>
                    <a:lnTo>
                      <a:pt x="14" y="5"/>
                    </a:lnTo>
                    <a:lnTo>
                      <a:pt x="10" y="7"/>
                    </a:lnTo>
                    <a:lnTo>
                      <a:pt x="7" y="10"/>
                    </a:lnTo>
                    <a:lnTo>
                      <a:pt x="3" y="13"/>
                    </a:lnTo>
                    <a:lnTo>
                      <a:pt x="1" y="17"/>
                    </a:lnTo>
                    <a:lnTo>
                      <a:pt x="0" y="22"/>
                    </a:lnTo>
                    <a:lnTo>
                      <a:pt x="0" y="27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3" name="Freeform 412"/>
              <p:cNvSpPr>
                <a:spLocks/>
              </p:cNvSpPr>
              <p:nvPr/>
            </p:nvSpPr>
            <p:spPr bwMode="auto">
              <a:xfrm>
                <a:off x="1488" y="1422"/>
                <a:ext cx="11" cy="8"/>
              </a:xfrm>
              <a:custGeom>
                <a:avLst/>
                <a:gdLst>
                  <a:gd name="T0" fmla="*/ 0 w 33"/>
                  <a:gd name="T1" fmla="*/ 0 h 25"/>
                  <a:gd name="T2" fmla="*/ 0 w 33"/>
                  <a:gd name="T3" fmla="*/ 9 h 25"/>
                  <a:gd name="T4" fmla="*/ 3 w 33"/>
                  <a:gd name="T5" fmla="*/ 15 h 25"/>
                  <a:gd name="T6" fmla="*/ 6 w 33"/>
                  <a:gd name="T7" fmla="*/ 20 h 25"/>
                  <a:gd name="T8" fmla="*/ 11 w 33"/>
                  <a:gd name="T9" fmla="*/ 22 h 25"/>
                  <a:gd name="T10" fmla="*/ 16 w 33"/>
                  <a:gd name="T11" fmla="*/ 24 h 25"/>
                  <a:gd name="T12" fmla="*/ 22 w 33"/>
                  <a:gd name="T13" fmla="*/ 25 h 25"/>
                  <a:gd name="T14" fmla="*/ 27 w 33"/>
                  <a:gd name="T15" fmla="*/ 25 h 25"/>
                  <a:gd name="T16" fmla="*/ 33 w 33"/>
                  <a:gd name="T17" fmla="*/ 25 h 25"/>
                  <a:gd name="T18" fmla="*/ 33 w 33"/>
                  <a:gd name="T19" fmla="*/ 0 h 25"/>
                  <a:gd name="T20" fmla="*/ 24 w 33"/>
                  <a:gd name="T21" fmla="*/ 0 h 25"/>
                  <a:gd name="T22" fmla="*/ 16 w 33"/>
                  <a:gd name="T23" fmla="*/ 0 h 25"/>
                  <a:gd name="T24" fmla="*/ 9 w 33"/>
                  <a:gd name="T25" fmla="*/ 0 h 25"/>
                  <a:gd name="T26" fmla="*/ 0 w 33"/>
                  <a:gd name="T2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3" h="25">
                    <a:moveTo>
                      <a:pt x="0" y="0"/>
                    </a:moveTo>
                    <a:lnTo>
                      <a:pt x="0" y="9"/>
                    </a:lnTo>
                    <a:lnTo>
                      <a:pt x="3" y="15"/>
                    </a:lnTo>
                    <a:lnTo>
                      <a:pt x="6" y="20"/>
                    </a:lnTo>
                    <a:lnTo>
                      <a:pt x="11" y="22"/>
                    </a:lnTo>
                    <a:lnTo>
                      <a:pt x="16" y="24"/>
                    </a:lnTo>
                    <a:lnTo>
                      <a:pt x="22" y="25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4" name="Freeform 413"/>
              <p:cNvSpPr>
                <a:spLocks/>
              </p:cNvSpPr>
              <p:nvPr/>
            </p:nvSpPr>
            <p:spPr bwMode="auto">
              <a:xfrm>
                <a:off x="1605" y="1729"/>
                <a:ext cx="16" cy="20"/>
              </a:xfrm>
              <a:custGeom>
                <a:avLst/>
                <a:gdLst>
                  <a:gd name="T0" fmla="*/ 0 w 48"/>
                  <a:gd name="T1" fmla="*/ 62 h 62"/>
                  <a:gd name="T2" fmla="*/ 12 w 48"/>
                  <a:gd name="T3" fmla="*/ 56 h 62"/>
                  <a:gd name="T4" fmla="*/ 22 w 48"/>
                  <a:gd name="T5" fmla="*/ 50 h 62"/>
                  <a:gd name="T6" fmla="*/ 30 w 48"/>
                  <a:gd name="T7" fmla="*/ 43 h 62"/>
                  <a:gd name="T8" fmla="*/ 37 w 48"/>
                  <a:gd name="T9" fmla="*/ 36 h 62"/>
                  <a:gd name="T10" fmla="*/ 41 w 48"/>
                  <a:gd name="T11" fmla="*/ 28 h 62"/>
                  <a:gd name="T12" fmla="*/ 44 w 48"/>
                  <a:gd name="T13" fmla="*/ 19 h 62"/>
                  <a:gd name="T14" fmla="*/ 47 w 48"/>
                  <a:gd name="T15" fmla="*/ 9 h 62"/>
                  <a:gd name="T16" fmla="*/ 48 w 48"/>
                  <a:gd name="T17" fmla="*/ 0 h 62"/>
                  <a:gd name="T18" fmla="*/ 40 w 48"/>
                  <a:gd name="T19" fmla="*/ 3 h 62"/>
                  <a:gd name="T20" fmla="*/ 32 w 48"/>
                  <a:gd name="T21" fmla="*/ 6 h 62"/>
                  <a:gd name="T22" fmla="*/ 23 w 48"/>
                  <a:gd name="T23" fmla="*/ 10 h 62"/>
                  <a:gd name="T24" fmla="*/ 17 w 48"/>
                  <a:gd name="T25" fmla="*/ 15 h 62"/>
                  <a:gd name="T26" fmla="*/ 10 w 48"/>
                  <a:gd name="T27" fmla="*/ 21 h 62"/>
                  <a:gd name="T28" fmla="*/ 6 w 48"/>
                  <a:gd name="T29" fmla="*/ 27 h 62"/>
                  <a:gd name="T30" fmla="*/ 4 w 48"/>
                  <a:gd name="T31" fmla="*/ 31 h 62"/>
                  <a:gd name="T32" fmla="*/ 3 w 48"/>
                  <a:gd name="T33" fmla="*/ 35 h 62"/>
                  <a:gd name="T34" fmla="*/ 1 w 48"/>
                  <a:gd name="T35" fmla="*/ 39 h 62"/>
                  <a:gd name="T36" fmla="*/ 0 w 48"/>
                  <a:gd name="T37" fmla="*/ 43 h 62"/>
                  <a:gd name="T38" fmla="*/ 0 w 48"/>
                  <a:gd name="T39" fmla="*/ 52 h 62"/>
                  <a:gd name="T40" fmla="*/ 0 w 48"/>
                  <a:gd name="T41" fmla="*/ 62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48" h="62">
                    <a:moveTo>
                      <a:pt x="0" y="62"/>
                    </a:moveTo>
                    <a:lnTo>
                      <a:pt x="12" y="56"/>
                    </a:lnTo>
                    <a:lnTo>
                      <a:pt x="22" y="50"/>
                    </a:lnTo>
                    <a:lnTo>
                      <a:pt x="30" y="43"/>
                    </a:lnTo>
                    <a:lnTo>
                      <a:pt x="37" y="36"/>
                    </a:lnTo>
                    <a:lnTo>
                      <a:pt x="41" y="28"/>
                    </a:lnTo>
                    <a:lnTo>
                      <a:pt x="44" y="19"/>
                    </a:lnTo>
                    <a:lnTo>
                      <a:pt x="47" y="9"/>
                    </a:lnTo>
                    <a:lnTo>
                      <a:pt x="48" y="0"/>
                    </a:lnTo>
                    <a:lnTo>
                      <a:pt x="40" y="3"/>
                    </a:lnTo>
                    <a:lnTo>
                      <a:pt x="32" y="6"/>
                    </a:lnTo>
                    <a:lnTo>
                      <a:pt x="23" y="10"/>
                    </a:lnTo>
                    <a:lnTo>
                      <a:pt x="17" y="15"/>
                    </a:lnTo>
                    <a:lnTo>
                      <a:pt x="10" y="21"/>
                    </a:lnTo>
                    <a:lnTo>
                      <a:pt x="6" y="27"/>
                    </a:lnTo>
                    <a:lnTo>
                      <a:pt x="4" y="31"/>
                    </a:lnTo>
                    <a:lnTo>
                      <a:pt x="3" y="35"/>
                    </a:lnTo>
                    <a:lnTo>
                      <a:pt x="1" y="39"/>
                    </a:lnTo>
                    <a:lnTo>
                      <a:pt x="0" y="43"/>
                    </a:lnTo>
                    <a:lnTo>
                      <a:pt x="0" y="52"/>
                    </a:lnTo>
                    <a:lnTo>
                      <a:pt x="0" y="6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5" name="Freeform 414"/>
              <p:cNvSpPr>
                <a:spLocks/>
              </p:cNvSpPr>
              <p:nvPr/>
            </p:nvSpPr>
            <p:spPr bwMode="auto">
              <a:xfrm>
                <a:off x="1554" y="1729"/>
                <a:ext cx="36" cy="20"/>
              </a:xfrm>
              <a:custGeom>
                <a:avLst/>
                <a:gdLst>
                  <a:gd name="T0" fmla="*/ 47 w 113"/>
                  <a:gd name="T1" fmla="*/ 0 h 62"/>
                  <a:gd name="T2" fmla="*/ 36 w 113"/>
                  <a:gd name="T3" fmla="*/ 7 h 62"/>
                  <a:gd name="T4" fmla="*/ 23 w 113"/>
                  <a:gd name="T5" fmla="*/ 17 h 62"/>
                  <a:gd name="T6" fmla="*/ 11 w 113"/>
                  <a:gd name="T7" fmla="*/ 27 h 62"/>
                  <a:gd name="T8" fmla="*/ 0 w 113"/>
                  <a:gd name="T9" fmla="*/ 37 h 62"/>
                  <a:gd name="T10" fmla="*/ 22 w 113"/>
                  <a:gd name="T11" fmla="*/ 46 h 62"/>
                  <a:gd name="T12" fmla="*/ 41 w 113"/>
                  <a:gd name="T13" fmla="*/ 54 h 62"/>
                  <a:gd name="T14" fmla="*/ 51 w 113"/>
                  <a:gd name="T15" fmla="*/ 57 h 62"/>
                  <a:gd name="T16" fmla="*/ 62 w 113"/>
                  <a:gd name="T17" fmla="*/ 59 h 62"/>
                  <a:gd name="T18" fmla="*/ 73 w 113"/>
                  <a:gd name="T19" fmla="*/ 61 h 62"/>
                  <a:gd name="T20" fmla="*/ 87 w 113"/>
                  <a:gd name="T21" fmla="*/ 62 h 62"/>
                  <a:gd name="T22" fmla="*/ 97 w 113"/>
                  <a:gd name="T23" fmla="*/ 61 h 62"/>
                  <a:gd name="T24" fmla="*/ 106 w 113"/>
                  <a:gd name="T25" fmla="*/ 58 h 62"/>
                  <a:gd name="T26" fmla="*/ 109 w 113"/>
                  <a:gd name="T27" fmla="*/ 56 h 62"/>
                  <a:gd name="T28" fmla="*/ 111 w 113"/>
                  <a:gd name="T29" fmla="*/ 54 h 62"/>
                  <a:gd name="T30" fmla="*/ 113 w 113"/>
                  <a:gd name="T31" fmla="*/ 52 h 62"/>
                  <a:gd name="T32" fmla="*/ 113 w 113"/>
                  <a:gd name="T33" fmla="*/ 49 h 62"/>
                  <a:gd name="T34" fmla="*/ 91 w 113"/>
                  <a:gd name="T35" fmla="*/ 41 h 62"/>
                  <a:gd name="T36" fmla="*/ 70 w 113"/>
                  <a:gd name="T37" fmla="*/ 32 h 62"/>
                  <a:gd name="T38" fmla="*/ 65 w 113"/>
                  <a:gd name="T39" fmla="*/ 29 h 62"/>
                  <a:gd name="T40" fmla="*/ 61 w 113"/>
                  <a:gd name="T41" fmla="*/ 26 h 62"/>
                  <a:gd name="T42" fmla="*/ 57 w 113"/>
                  <a:gd name="T43" fmla="*/ 23 h 62"/>
                  <a:gd name="T44" fmla="*/ 54 w 113"/>
                  <a:gd name="T45" fmla="*/ 20 h 62"/>
                  <a:gd name="T46" fmla="*/ 51 w 113"/>
                  <a:gd name="T47" fmla="*/ 16 h 62"/>
                  <a:gd name="T48" fmla="*/ 48 w 113"/>
                  <a:gd name="T49" fmla="*/ 10 h 62"/>
                  <a:gd name="T50" fmla="*/ 47 w 113"/>
                  <a:gd name="T51" fmla="*/ 5 h 62"/>
                  <a:gd name="T52" fmla="*/ 47 w 113"/>
                  <a:gd name="T53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13" h="62">
                    <a:moveTo>
                      <a:pt x="47" y="0"/>
                    </a:moveTo>
                    <a:lnTo>
                      <a:pt x="36" y="7"/>
                    </a:lnTo>
                    <a:lnTo>
                      <a:pt x="23" y="17"/>
                    </a:lnTo>
                    <a:lnTo>
                      <a:pt x="11" y="27"/>
                    </a:lnTo>
                    <a:lnTo>
                      <a:pt x="0" y="37"/>
                    </a:lnTo>
                    <a:lnTo>
                      <a:pt x="22" y="46"/>
                    </a:lnTo>
                    <a:lnTo>
                      <a:pt x="41" y="54"/>
                    </a:lnTo>
                    <a:lnTo>
                      <a:pt x="51" y="57"/>
                    </a:lnTo>
                    <a:lnTo>
                      <a:pt x="62" y="59"/>
                    </a:lnTo>
                    <a:lnTo>
                      <a:pt x="73" y="61"/>
                    </a:lnTo>
                    <a:lnTo>
                      <a:pt x="87" y="62"/>
                    </a:lnTo>
                    <a:lnTo>
                      <a:pt x="97" y="61"/>
                    </a:lnTo>
                    <a:lnTo>
                      <a:pt x="106" y="58"/>
                    </a:lnTo>
                    <a:lnTo>
                      <a:pt x="109" y="56"/>
                    </a:lnTo>
                    <a:lnTo>
                      <a:pt x="111" y="54"/>
                    </a:lnTo>
                    <a:lnTo>
                      <a:pt x="113" y="52"/>
                    </a:lnTo>
                    <a:lnTo>
                      <a:pt x="113" y="49"/>
                    </a:lnTo>
                    <a:lnTo>
                      <a:pt x="91" y="41"/>
                    </a:lnTo>
                    <a:lnTo>
                      <a:pt x="70" y="32"/>
                    </a:lnTo>
                    <a:lnTo>
                      <a:pt x="65" y="29"/>
                    </a:lnTo>
                    <a:lnTo>
                      <a:pt x="61" y="26"/>
                    </a:lnTo>
                    <a:lnTo>
                      <a:pt x="57" y="23"/>
                    </a:lnTo>
                    <a:lnTo>
                      <a:pt x="54" y="20"/>
                    </a:lnTo>
                    <a:lnTo>
                      <a:pt x="51" y="16"/>
                    </a:lnTo>
                    <a:lnTo>
                      <a:pt x="48" y="10"/>
                    </a:lnTo>
                    <a:lnTo>
                      <a:pt x="47" y="5"/>
                    </a:lnTo>
                    <a:lnTo>
                      <a:pt x="47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6" name="Freeform 415"/>
              <p:cNvSpPr>
                <a:spLocks/>
              </p:cNvSpPr>
              <p:nvPr/>
            </p:nvSpPr>
            <p:spPr bwMode="auto">
              <a:xfrm>
                <a:off x="1748" y="1188"/>
                <a:ext cx="29" cy="15"/>
              </a:xfrm>
              <a:custGeom>
                <a:avLst/>
                <a:gdLst>
                  <a:gd name="T0" fmla="*/ 0 w 93"/>
                  <a:gd name="T1" fmla="*/ 0 h 50"/>
                  <a:gd name="T2" fmla="*/ 15 w 93"/>
                  <a:gd name="T3" fmla="*/ 0 h 50"/>
                  <a:gd name="T4" fmla="*/ 30 w 93"/>
                  <a:gd name="T5" fmla="*/ 1 h 50"/>
                  <a:gd name="T6" fmla="*/ 45 w 93"/>
                  <a:gd name="T7" fmla="*/ 2 h 50"/>
                  <a:gd name="T8" fmla="*/ 59 w 93"/>
                  <a:gd name="T9" fmla="*/ 5 h 50"/>
                  <a:gd name="T10" fmla="*/ 64 w 93"/>
                  <a:gd name="T11" fmla="*/ 7 h 50"/>
                  <a:gd name="T12" fmla="*/ 71 w 93"/>
                  <a:gd name="T13" fmla="*/ 9 h 50"/>
                  <a:gd name="T14" fmla="*/ 75 w 93"/>
                  <a:gd name="T15" fmla="*/ 12 h 50"/>
                  <a:gd name="T16" fmla="*/ 81 w 93"/>
                  <a:gd name="T17" fmla="*/ 16 h 50"/>
                  <a:gd name="T18" fmla="*/ 85 w 93"/>
                  <a:gd name="T19" fmla="*/ 20 h 50"/>
                  <a:gd name="T20" fmla="*/ 89 w 93"/>
                  <a:gd name="T21" fmla="*/ 25 h 50"/>
                  <a:gd name="T22" fmla="*/ 91 w 93"/>
                  <a:gd name="T23" fmla="*/ 30 h 50"/>
                  <a:gd name="T24" fmla="*/ 93 w 93"/>
                  <a:gd name="T25" fmla="*/ 37 h 50"/>
                  <a:gd name="T26" fmla="*/ 79 w 93"/>
                  <a:gd name="T27" fmla="*/ 37 h 50"/>
                  <a:gd name="T28" fmla="*/ 68 w 93"/>
                  <a:gd name="T29" fmla="*/ 39 h 50"/>
                  <a:gd name="T30" fmla="*/ 60 w 93"/>
                  <a:gd name="T31" fmla="*/ 41 h 50"/>
                  <a:gd name="T32" fmla="*/ 52 w 93"/>
                  <a:gd name="T33" fmla="*/ 43 h 50"/>
                  <a:gd name="T34" fmla="*/ 42 w 93"/>
                  <a:gd name="T35" fmla="*/ 47 h 50"/>
                  <a:gd name="T36" fmla="*/ 33 w 93"/>
                  <a:gd name="T37" fmla="*/ 50 h 50"/>
                  <a:gd name="T38" fmla="*/ 30 w 93"/>
                  <a:gd name="T39" fmla="*/ 50 h 50"/>
                  <a:gd name="T40" fmla="*/ 28 w 93"/>
                  <a:gd name="T41" fmla="*/ 48 h 50"/>
                  <a:gd name="T42" fmla="*/ 26 w 93"/>
                  <a:gd name="T43" fmla="*/ 47 h 50"/>
                  <a:gd name="T44" fmla="*/ 25 w 93"/>
                  <a:gd name="T45" fmla="*/ 45 h 50"/>
                  <a:gd name="T46" fmla="*/ 23 w 93"/>
                  <a:gd name="T47" fmla="*/ 41 h 50"/>
                  <a:gd name="T48" fmla="*/ 22 w 93"/>
                  <a:gd name="T49" fmla="*/ 36 h 50"/>
                  <a:gd name="T50" fmla="*/ 22 w 93"/>
                  <a:gd name="T51" fmla="*/ 31 h 50"/>
                  <a:gd name="T52" fmla="*/ 23 w 93"/>
                  <a:gd name="T53" fmla="*/ 26 h 50"/>
                  <a:gd name="T54" fmla="*/ 24 w 93"/>
                  <a:gd name="T55" fmla="*/ 22 h 50"/>
                  <a:gd name="T56" fmla="*/ 26 w 93"/>
                  <a:gd name="T57" fmla="*/ 19 h 50"/>
                  <a:gd name="T58" fmla="*/ 0 w 93"/>
                  <a:gd name="T59" fmla="*/ 19 h 50"/>
                  <a:gd name="T60" fmla="*/ 0 w 93"/>
                  <a:gd name="T61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3" h="50">
                    <a:moveTo>
                      <a:pt x="0" y="0"/>
                    </a:moveTo>
                    <a:lnTo>
                      <a:pt x="15" y="0"/>
                    </a:lnTo>
                    <a:lnTo>
                      <a:pt x="30" y="1"/>
                    </a:lnTo>
                    <a:lnTo>
                      <a:pt x="45" y="2"/>
                    </a:lnTo>
                    <a:lnTo>
                      <a:pt x="59" y="5"/>
                    </a:lnTo>
                    <a:lnTo>
                      <a:pt x="64" y="7"/>
                    </a:lnTo>
                    <a:lnTo>
                      <a:pt x="71" y="9"/>
                    </a:lnTo>
                    <a:lnTo>
                      <a:pt x="75" y="12"/>
                    </a:lnTo>
                    <a:lnTo>
                      <a:pt x="81" y="16"/>
                    </a:lnTo>
                    <a:lnTo>
                      <a:pt x="85" y="20"/>
                    </a:lnTo>
                    <a:lnTo>
                      <a:pt x="89" y="25"/>
                    </a:lnTo>
                    <a:lnTo>
                      <a:pt x="91" y="30"/>
                    </a:lnTo>
                    <a:lnTo>
                      <a:pt x="93" y="37"/>
                    </a:lnTo>
                    <a:lnTo>
                      <a:pt x="79" y="37"/>
                    </a:lnTo>
                    <a:lnTo>
                      <a:pt x="68" y="39"/>
                    </a:lnTo>
                    <a:lnTo>
                      <a:pt x="60" y="41"/>
                    </a:lnTo>
                    <a:lnTo>
                      <a:pt x="52" y="43"/>
                    </a:lnTo>
                    <a:lnTo>
                      <a:pt x="42" y="47"/>
                    </a:lnTo>
                    <a:lnTo>
                      <a:pt x="33" y="50"/>
                    </a:lnTo>
                    <a:lnTo>
                      <a:pt x="30" y="50"/>
                    </a:lnTo>
                    <a:lnTo>
                      <a:pt x="28" y="48"/>
                    </a:lnTo>
                    <a:lnTo>
                      <a:pt x="26" y="47"/>
                    </a:lnTo>
                    <a:lnTo>
                      <a:pt x="25" y="45"/>
                    </a:lnTo>
                    <a:lnTo>
                      <a:pt x="23" y="41"/>
                    </a:lnTo>
                    <a:lnTo>
                      <a:pt x="22" y="36"/>
                    </a:lnTo>
                    <a:lnTo>
                      <a:pt x="22" y="31"/>
                    </a:lnTo>
                    <a:lnTo>
                      <a:pt x="23" y="26"/>
                    </a:lnTo>
                    <a:lnTo>
                      <a:pt x="24" y="22"/>
                    </a:lnTo>
                    <a:lnTo>
                      <a:pt x="26" y="1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7" name="Freeform 416"/>
              <p:cNvSpPr>
                <a:spLocks/>
              </p:cNvSpPr>
              <p:nvPr/>
            </p:nvSpPr>
            <p:spPr bwMode="auto">
              <a:xfrm>
                <a:off x="1436" y="1246"/>
                <a:ext cx="331" cy="198"/>
              </a:xfrm>
              <a:custGeom>
                <a:avLst/>
                <a:gdLst>
                  <a:gd name="T0" fmla="*/ 20 w 1029"/>
                  <a:gd name="T1" fmla="*/ 112 h 604"/>
                  <a:gd name="T2" fmla="*/ 67 w 1029"/>
                  <a:gd name="T3" fmla="*/ 60 h 604"/>
                  <a:gd name="T4" fmla="*/ 266 w 1029"/>
                  <a:gd name="T5" fmla="*/ 0 h 604"/>
                  <a:gd name="T6" fmla="*/ 205 w 1029"/>
                  <a:gd name="T7" fmla="*/ 47 h 604"/>
                  <a:gd name="T8" fmla="*/ 180 w 1029"/>
                  <a:gd name="T9" fmla="*/ 105 h 604"/>
                  <a:gd name="T10" fmla="*/ 274 w 1029"/>
                  <a:gd name="T11" fmla="*/ 60 h 604"/>
                  <a:gd name="T12" fmla="*/ 397 w 1029"/>
                  <a:gd name="T13" fmla="*/ 14 h 604"/>
                  <a:gd name="T14" fmla="*/ 438 w 1029"/>
                  <a:gd name="T15" fmla="*/ 23 h 604"/>
                  <a:gd name="T16" fmla="*/ 433 w 1029"/>
                  <a:gd name="T17" fmla="*/ 71 h 604"/>
                  <a:gd name="T18" fmla="*/ 581 w 1029"/>
                  <a:gd name="T19" fmla="*/ 80 h 604"/>
                  <a:gd name="T20" fmla="*/ 675 w 1029"/>
                  <a:gd name="T21" fmla="*/ 89 h 604"/>
                  <a:gd name="T22" fmla="*/ 749 w 1029"/>
                  <a:gd name="T23" fmla="*/ 111 h 604"/>
                  <a:gd name="T24" fmla="*/ 749 w 1029"/>
                  <a:gd name="T25" fmla="*/ 134 h 604"/>
                  <a:gd name="T26" fmla="*/ 711 w 1029"/>
                  <a:gd name="T27" fmla="*/ 184 h 604"/>
                  <a:gd name="T28" fmla="*/ 799 w 1029"/>
                  <a:gd name="T29" fmla="*/ 168 h 604"/>
                  <a:gd name="T30" fmla="*/ 866 w 1029"/>
                  <a:gd name="T31" fmla="*/ 191 h 604"/>
                  <a:gd name="T32" fmla="*/ 856 w 1029"/>
                  <a:gd name="T33" fmla="*/ 239 h 604"/>
                  <a:gd name="T34" fmla="*/ 788 w 1029"/>
                  <a:gd name="T35" fmla="*/ 248 h 604"/>
                  <a:gd name="T36" fmla="*/ 859 w 1029"/>
                  <a:gd name="T37" fmla="*/ 284 h 604"/>
                  <a:gd name="T38" fmla="*/ 903 w 1029"/>
                  <a:gd name="T39" fmla="*/ 327 h 604"/>
                  <a:gd name="T40" fmla="*/ 977 w 1029"/>
                  <a:gd name="T41" fmla="*/ 329 h 604"/>
                  <a:gd name="T42" fmla="*/ 1029 w 1029"/>
                  <a:gd name="T43" fmla="*/ 351 h 604"/>
                  <a:gd name="T44" fmla="*/ 939 w 1029"/>
                  <a:gd name="T45" fmla="*/ 409 h 604"/>
                  <a:gd name="T46" fmla="*/ 899 w 1029"/>
                  <a:gd name="T47" fmla="*/ 417 h 604"/>
                  <a:gd name="T48" fmla="*/ 874 w 1029"/>
                  <a:gd name="T49" fmla="*/ 443 h 604"/>
                  <a:gd name="T50" fmla="*/ 830 w 1029"/>
                  <a:gd name="T51" fmla="*/ 414 h 604"/>
                  <a:gd name="T52" fmla="*/ 851 w 1029"/>
                  <a:gd name="T53" fmla="*/ 393 h 604"/>
                  <a:gd name="T54" fmla="*/ 792 w 1029"/>
                  <a:gd name="T55" fmla="*/ 379 h 604"/>
                  <a:gd name="T56" fmla="*/ 759 w 1029"/>
                  <a:gd name="T57" fmla="*/ 364 h 604"/>
                  <a:gd name="T58" fmla="*/ 744 w 1029"/>
                  <a:gd name="T59" fmla="*/ 394 h 604"/>
                  <a:gd name="T60" fmla="*/ 747 w 1029"/>
                  <a:gd name="T61" fmla="*/ 445 h 604"/>
                  <a:gd name="T62" fmla="*/ 795 w 1029"/>
                  <a:gd name="T63" fmla="*/ 523 h 604"/>
                  <a:gd name="T64" fmla="*/ 771 w 1029"/>
                  <a:gd name="T65" fmla="*/ 547 h 604"/>
                  <a:gd name="T66" fmla="*/ 708 w 1029"/>
                  <a:gd name="T67" fmla="*/ 556 h 604"/>
                  <a:gd name="T68" fmla="*/ 618 w 1029"/>
                  <a:gd name="T69" fmla="*/ 517 h 604"/>
                  <a:gd name="T70" fmla="*/ 668 w 1029"/>
                  <a:gd name="T71" fmla="*/ 567 h 604"/>
                  <a:gd name="T72" fmla="*/ 665 w 1029"/>
                  <a:gd name="T73" fmla="*/ 604 h 604"/>
                  <a:gd name="T74" fmla="*/ 518 w 1029"/>
                  <a:gd name="T75" fmla="*/ 570 h 604"/>
                  <a:gd name="T76" fmla="*/ 471 w 1029"/>
                  <a:gd name="T77" fmla="*/ 523 h 604"/>
                  <a:gd name="T78" fmla="*/ 410 w 1029"/>
                  <a:gd name="T79" fmla="*/ 473 h 604"/>
                  <a:gd name="T80" fmla="*/ 367 w 1029"/>
                  <a:gd name="T81" fmla="*/ 453 h 604"/>
                  <a:gd name="T82" fmla="*/ 392 w 1029"/>
                  <a:gd name="T83" fmla="*/ 433 h 604"/>
                  <a:gd name="T84" fmla="*/ 459 w 1029"/>
                  <a:gd name="T85" fmla="*/ 399 h 604"/>
                  <a:gd name="T86" fmla="*/ 500 w 1029"/>
                  <a:gd name="T87" fmla="*/ 378 h 604"/>
                  <a:gd name="T88" fmla="*/ 577 w 1029"/>
                  <a:gd name="T89" fmla="*/ 380 h 604"/>
                  <a:gd name="T90" fmla="*/ 614 w 1029"/>
                  <a:gd name="T91" fmla="*/ 395 h 604"/>
                  <a:gd name="T92" fmla="*/ 687 w 1029"/>
                  <a:gd name="T93" fmla="*/ 387 h 604"/>
                  <a:gd name="T94" fmla="*/ 581 w 1029"/>
                  <a:gd name="T95" fmla="*/ 355 h 604"/>
                  <a:gd name="T96" fmla="*/ 542 w 1029"/>
                  <a:gd name="T97" fmla="*/ 361 h 604"/>
                  <a:gd name="T98" fmla="*/ 539 w 1029"/>
                  <a:gd name="T99" fmla="*/ 350 h 604"/>
                  <a:gd name="T100" fmla="*/ 576 w 1029"/>
                  <a:gd name="T101" fmla="*/ 306 h 604"/>
                  <a:gd name="T102" fmla="*/ 576 w 1029"/>
                  <a:gd name="T103" fmla="*/ 274 h 604"/>
                  <a:gd name="T104" fmla="*/ 524 w 1029"/>
                  <a:gd name="T105" fmla="*/ 254 h 604"/>
                  <a:gd name="T106" fmla="*/ 473 w 1029"/>
                  <a:gd name="T107" fmla="*/ 198 h 604"/>
                  <a:gd name="T108" fmla="*/ 434 w 1029"/>
                  <a:gd name="T109" fmla="*/ 168 h 604"/>
                  <a:gd name="T110" fmla="*/ 408 w 1029"/>
                  <a:gd name="T111" fmla="*/ 163 h 604"/>
                  <a:gd name="T112" fmla="*/ 378 w 1029"/>
                  <a:gd name="T113" fmla="*/ 203 h 604"/>
                  <a:gd name="T114" fmla="*/ 207 w 1029"/>
                  <a:gd name="T115" fmla="*/ 174 h 604"/>
                  <a:gd name="T116" fmla="*/ 114 w 1029"/>
                  <a:gd name="T117" fmla="*/ 189 h 604"/>
                  <a:gd name="T118" fmla="*/ 79 w 1029"/>
                  <a:gd name="T119" fmla="*/ 187 h 604"/>
                  <a:gd name="T120" fmla="*/ 16 w 1029"/>
                  <a:gd name="T121" fmla="*/ 180 h 604"/>
                  <a:gd name="T122" fmla="*/ 9 w 1029"/>
                  <a:gd name="T123" fmla="*/ 158 h 604"/>
                  <a:gd name="T124" fmla="*/ 75 w 1029"/>
                  <a:gd name="T125" fmla="*/ 149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029" h="604">
                    <a:moveTo>
                      <a:pt x="73" y="129"/>
                    </a:moveTo>
                    <a:lnTo>
                      <a:pt x="34" y="129"/>
                    </a:lnTo>
                    <a:lnTo>
                      <a:pt x="28" y="128"/>
                    </a:lnTo>
                    <a:lnTo>
                      <a:pt x="24" y="125"/>
                    </a:lnTo>
                    <a:lnTo>
                      <a:pt x="22" y="121"/>
                    </a:lnTo>
                    <a:lnTo>
                      <a:pt x="20" y="117"/>
                    </a:lnTo>
                    <a:lnTo>
                      <a:pt x="20" y="112"/>
                    </a:lnTo>
                    <a:lnTo>
                      <a:pt x="22" y="107"/>
                    </a:lnTo>
                    <a:lnTo>
                      <a:pt x="24" y="102"/>
                    </a:lnTo>
                    <a:lnTo>
                      <a:pt x="26" y="97"/>
                    </a:lnTo>
                    <a:lnTo>
                      <a:pt x="34" y="87"/>
                    </a:lnTo>
                    <a:lnTo>
                      <a:pt x="42" y="77"/>
                    </a:lnTo>
                    <a:lnTo>
                      <a:pt x="54" y="69"/>
                    </a:lnTo>
                    <a:lnTo>
                      <a:pt x="67" y="60"/>
                    </a:lnTo>
                    <a:lnTo>
                      <a:pt x="81" y="52"/>
                    </a:lnTo>
                    <a:lnTo>
                      <a:pt x="96" y="45"/>
                    </a:lnTo>
                    <a:lnTo>
                      <a:pt x="128" y="30"/>
                    </a:lnTo>
                    <a:lnTo>
                      <a:pt x="160" y="18"/>
                    </a:lnTo>
                    <a:lnTo>
                      <a:pt x="190" y="8"/>
                    </a:lnTo>
                    <a:lnTo>
                      <a:pt x="213" y="0"/>
                    </a:lnTo>
                    <a:lnTo>
                      <a:pt x="266" y="0"/>
                    </a:lnTo>
                    <a:lnTo>
                      <a:pt x="264" y="7"/>
                    </a:lnTo>
                    <a:lnTo>
                      <a:pt x="260" y="14"/>
                    </a:lnTo>
                    <a:lnTo>
                      <a:pt x="255" y="19"/>
                    </a:lnTo>
                    <a:lnTo>
                      <a:pt x="250" y="24"/>
                    </a:lnTo>
                    <a:lnTo>
                      <a:pt x="236" y="32"/>
                    </a:lnTo>
                    <a:lnTo>
                      <a:pt x="220" y="40"/>
                    </a:lnTo>
                    <a:lnTo>
                      <a:pt x="205" y="47"/>
                    </a:lnTo>
                    <a:lnTo>
                      <a:pt x="192" y="55"/>
                    </a:lnTo>
                    <a:lnTo>
                      <a:pt x="187" y="60"/>
                    </a:lnTo>
                    <a:lnTo>
                      <a:pt x="183" y="66"/>
                    </a:lnTo>
                    <a:lnTo>
                      <a:pt x="181" y="72"/>
                    </a:lnTo>
                    <a:lnTo>
                      <a:pt x="180" y="80"/>
                    </a:lnTo>
                    <a:lnTo>
                      <a:pt x="180" y="95"/>
                    </a:lnTo>
                    <a:lnTo>
                      <a:pt x="180" y="105"/>
                    </a:lnTo>
                    <a:lnTo>
                      <a:pt x="198" y="104"/>
                    </a:lnTo>
                    <a:lnTo>
                      <a:pt x="216" y="101"/>
                    </a:lnTo>
                    <a:lnTo>
                      <a:pt x="233" y="97"/>
                    </a:lnTo>
                    <a:lnTo>
                      <a:pt x="252" y="93"/>
                    </a:lnTo>
                    <a:lnTo>
                      <a:pt x="252" y="82"/>
                    </a:lnTo>
                    <a:lnTo>
                      <a:pt x="252" y="67"/>
                    </a:lnTo>
                    <a:lnTo>
                      <a:pt x="274" y="60"/>
                    </a:lnTo>
                    <a:lnTo>
                      <a:pt x="295" y="51"/>
                    </a:lnTo>
                    <a:lnTo>
                      <a:pt x="316" y="42"/>
                    </a:lnTo>
                    <a:lnTo>
                      <a:pt x="336" y="32"/>
                    </a:lnTo>
                    <a:lnTo>
                      <a:pt x="355" y="24"/>
                    </a:lnTo>
                    <a:lnTo>
                      <a:pt x="376" y="18"/>
                    </a:lnTo>
                    <a:lnTo>
                      <a:pt x="386" y="15"/>
                    </a:lnTo>
                    <a:lnTo>
                      <a:pt x="397" y="14"/>
                    </a:lnTo>
                    <a:lnTo>
                      <a:pt x="408" y="12"/>
                    </a:lnTo>
                    <a:lnTo>
                      <a:pt x="419" y="12"/>
                    </a:lnTo>
                    <a:lnTo>
                      <a:pt x="422" y="12"/>
                    </a:lnTo>
                    <a:lnTo>
                      <a:pt x="426" y="14"/>
                    </a:lnTo>
                    <a:lnTo>
                      <a:pt x="429" y="15"/>
                    </a:lnTo>
                    <a:lnTo>
                      <a:pt x="432" y="18"/>
                    </a:lnTo>
                    <a:lnTo>
                      <a:pt x="438" y="23"/>
                    </a:lnTo>
                    <a:lnTo>
                      <a:pt x="443" y="30"/>
                    </a:lnTo>
                    <a:lnTo>
                      <a:pt x="450" y="44"/>
                    </a:lnTo>
                    <a:lnTo>
                      <a:pt x="452" y="49"/>
                    </a:lnTo>
                    <a:lnTo>
                      <a:pt x="443" y="57"/>
                    </a:lnTo>
                    <a:lnTo>
                      <a:pt x="437" y="64"/>
                    </a:lnTo>
                    <a:lnTo>
                      <a:pt x="434" y="68"/>
                    </a:lnTo>
                    <a:lnTo>
                      <a:pt x="433" y="71"/>
                    </a:lnTo>
                    <a:lnTo>
                      <a:pt x="432" y="75"/>
                    </a:lnTo>
                    <a:lnTo>
                      <a:pt x="432" y="80"/>
                    </a:lnTo>
                    <a:lnTo>
                      <a:pt x="467" y="80"/>
                    </a:lnTo>
                    <a:lnTo>
                      <a:pt x="504" y="80"/>
                    </a:lnTo>
                    <a:lnTo>
                      <a:pt x="536" y="80"/>
                    </a:lnTo>
                    <a:lnTo>
                      <a:pt x="565" y="80"/>
                    </a:lnTo>
                    <a:lnTo>
                      <a:pt x="581" y="80"/>
                    </a:lnTo>
                    <a:lnTo>
                      <a:pt x="601" y="83"/>
                    </a:lnTo>
                    <a:lnTo>
                      <a:pt x="621" y="85"/>
                    </a:lnTo>
                    <a:lnTo>
                      <a:pt x="637" y="86"/>
                    </a:lnTo>
                    <a:lnTo>
                      <a:pt x="648" y="86"/>
                    </a:lnTo>
                    <a:lnTo>
                      <a:pt x="658" y="87"/>
                    </a:lnTo>
                    <a:lnTo>
                      <a:pt x="667" y="88"/>
                    </a:lnTo>
                    <a:lnTo>
                      <a:pt x="675" y="89"/>
                    </a:lnTo>
                    <a:lnTo>
                      <a:pt x="690" y="94"/>
                    </a:lnTo>
                    <a:lnTo>
                      <a:pt x="702" y="99"/>
                    </a:lnTo>
                    <a:lnTo>
                      <a:pt x="715" y="103"/>
                    </a:lnTo>
                    <a:lnTo>
                      <a:pt x="728" y="107"/>
                    </a:lnTo>
                    <a:lnTo>
                      <a:pt x="734" y="109"/>
                    </a:lnTo>
                    <a:lnTo>
                      <a:pt x="742" y="110"/>
                    </a:lnTo>
                    <a:lnTo>
                      <a:pt x="749" y="111"/>
                    </a:lnTo>
                    <a:lnTo>
                      <a:pt x="757" y="111"/>
                    </a:lnTo>
                    <a:lnTo>
                      <a:pt x="753" y="115"/>
                    </a:lnTo>
                    <a:lnTo>
                      <a:pt x="751" y="119"/>
                    </a:lnTo>
                    <a:lnTo>
                      <a:pt x="748" y="122"/>
                    </a:lnTo>
                    <a:lnTo>
                      <a:pt x="747" y="125"/>
                    </a:lnTo>
                    <a:lnTo>
                      <a:pt x="747" y="130"/>
                    </a:lnTo>
                    <a:lnTo>
                      <a:pt x="749" y="134"/>
                    </a:lnTo>
                    <a:lnTo>
                      <a:pt x="752" y="138"/>
                    </a:lnTo>
                    <a:lnTo>
                      <a:pt x="754" y="142"/>
                    </a:lnTo>
                    <a:lnTo>
                      <a:pt x="754" y="145"/>
                    </a:lnTo>
                    <a:lnTo>
                      <a:pt x="754" y="147"/>
                    </a:lnTo>
                    <a:lnTo>
                      <a:pt x="753" y="151"/>
                    </a:lnTo>
                    <a:lnTo>
                      <a:pt x="751" y="154"/>
                    </a:lnTo>
                    <a:lnTo>
                      <a:pt x="711" y="184"/>
                    </a:lnTo>
                    <a:lnTo>
                      <a:pt x="728" y="179"/>
                    </a:lnTo>
                    <a:lnTo>
                      <a:pt x="746" y="172"/>
                    </a:lnTo>
                    <a:lnTo>
                      <a:pt x="764" y="166"/>
                    </a:lnTo>
                    <a:lnTo>
                      <a:pt x="777" y="160"/>
                    </a:lnTo>
                    <a:lnTo>
                      <a:pt x="798" y="160"/>
                    </a:lnTo>
                    <a:lnTo>
                      <a:pt x="797" y="164"/>
                    </a:lnTo>
                    <a:lnTo>
                      <a:pt x="799" y="168"/>
                    </a:lnTo>
                    <a:lnTo>
                      <a:pt x="802" y="172"/>
                    </a:lnTo>
                    <a:lnTo>
                      <a:pt x="807" y="174"/>
                    </a:lnTo>
                    <a:lnTo>
                      <a:pt x="820" y="179"/>
                    </a:lnTo>
                    <a:lnTo>
                      <a:pt x="834" y="183"/>
                    </a:lnTo>
                    <a:lnTo>
                      <a:pt x="848" y="186"/>
                    </a:lnTo>
                    <a:lnTo>
                      <a:pt x="860" y="189"/>
                    </a:lnTo>
                    <a:lnTo>
                      <a:pt x="866" y="191"/>
                    </a:lnTo>
                    <a:lnTo>
                      <a:pt x="869" y="192"/>
                    </a:lnTo>
                    <a:lnTo>
                      <a:pt x="870" y="194"/>
                    </a:lnTo>
                    <a:lnTo>
                      <a:pt x="870" y="196"/>
                    </a:lnTo>
                    <a:lnTo>
                      <a:pt x="864" y="234"/>
                    </a:lnTo>
                    <a:lnTo>
                      <a:pt x="863" y="236"/>
                    </a:lnTo>
                    <a:lnTo>
                      <a:pt x="860" y="238"/>
                    </a:lnTo>
                    <a:lnTo>
                      <a:pt x="856" y="239"/>
                    </a:lnTo>
                    <a:lnTo>
                      <a:pt x="852" y="240"/>
                    </a:lnTo>
                    <a:lnTo>
                      <a:pt x="838" y="242"/>
                    </a:lnTo>
                    <a:lnTo>
                      <a:pt x="824" y="243"/>
                    </a:lnTo>
                    <a:lnTo>
                      <a:pt x="809" y="244"/>
                    </a:lnTo>
                    <a:lnTo>
                      <a:pt x="797" y="246"/>
                    </a:lnTo>
                    <a:lnTo>
                      <a:pt x="791" y="247"/>
                    </a:lnTo>
                    <a:lnTo>
                      <a:pt x="788" y="248"/>
                    </a:lnTo>
                    <a:lnTo>
                      <a:pt x="785" y="250"/>
                    </a:lnTo>
                    <a:lnTo>
                      <a:pt x="784" y="252"/>
                    </a:lnTo>
                    <a:lnTo>
                      <a:pt x="799" y="262"/>
                    </a:lnTo>
                    <a:lnTo>
                      <a:pt x="813" y="269"/>
                    </a:lnTo>
                    <a:lnTo>
                      <a:pt x="827" y="275"/>
                    </a:lnTo>
                    <a:lnTo>
                      <a:pt x="843" y="280"/>
                    </a:lnTo>
                    <a:lnTo>
                      <a:pt x="859" y="284"/>
                    </a:lnTo>
                    <a:lnTo>
                      <a:pt x="877" y="287"/>
                    </a:lnTo>
                    <a:lnTo>
                      <a:pt x="896" y="289"/>
                    </a:lnTo>
                    <a:lnTo>
                      <a:pt x="916" y="289"/>
                    </a:lnTo>
                    <a:lnTo>
                      <a:pt x="915" y="298"/>
                    </a:lnTo>
                    <a:lnTo>
                      <a:pt x="913" y="307"/>
                    </a:lnTo>
                    <a:lnTo>
                      <a:pt x="909" y="317"/>
                    </a:lnTo>
                    <a:lnTo>
                      <a:pt x="903" y="327"/>
                    </a:lnTo>
                    <a:lnTo>
                      <a:pt x="914" y="330"/>
                    </a:lnTo>
                    <a:lnTo>
                      <a:pt x="925" y="333"/>
                    </a:lnTo>
                    <a:lnTo>
                      <a:pt x="937" y="333"/>
                    </a:lnTo>
                    <a:lnTo>
                      <a:pt x="948" y="333"/>
                    </a:lnTo>
                    <a:lnTo>
                      <a:pt x="959" y="332"/>
                    </a:lnTo>
                    <a:lnTo>
                      <a:pt x="969" y="331"/>
                    </a:lnTo>
                    <a:lnTo>
                      <a:pt x="977" y="329"/>
                    </a:lnTo>
                    <a:lnTo>
                      <a:pt x="983" y="327"/>
                    </a:lnTo>
                    <a:lnTo>
                      <a:pt x="987" y="333"/>
                    </a:lnTo>
                    <a:lnTo>
                      <a:pt x="991" y="337"/>
                    </a:lnTo>
                    <a:lnTo>
                      <a:pt x="995" y="341"/>
                    </a:lnTo>
                    <a:lnTo>
                      <a:pt x="1002" y="343"/>
                    </a:lnTo>
                    <a:lnTo>
                      <a:pt x="1015" y="347"/>
                    </a:lnTo>
                    <a:lnTo>
                      <a:pt x="1029" y="351"/>
                    </a:lnTo>
                    <a:lnTo>
                      <a:pt x="1012" y="360"/>
                    </a:lnTo>
                    <a:lnTo>
                      <a:pt x="997" y="371"/>
                    </a:lnTo>
                    <a:lnTo>
                      <a:pt x="983" y="382"/>
                    </a:lnTo>
                    <a:lnTo>
                      <a:pt x="971" y="391"/>
                    </a:lnTo>
                    <a:lnTo>
                      <a:pt x="959" y="400"/>
                    </a:lnTo>
                    <a:lnTo>
                      <a:pt x="947" y="406"/>
                    </a:lnTo>
                    <a:lnTo>
                      <a:pt x="939" y="409"/>
                    </a:lnTo>
                    <a:lnTo>
                      <a:pt x="933" y="411"/>
                    </a:lnTo>
                    <a:lnTo>
                      <a:pt x="925" y="412"/>
                    </a:lnTo>
                    <a:lnTo>
                      <a:pt x="916" y="412"/>
                    </a:lnTo>
                    <a:lnTo>
                      <a:pt x="911" y="413"/>
                    </a:lnTo>
                    <a:lnTo>
                      <a:pt x="907" y="414"/>
                    </a:lnTo>
                    <a:lnTo>
                      <a:pt x="902" y="415"/>
                    </a:lnTo>
                    <a:lnTo>
                      <a:pt x="899" y="417"/>
                    </a:lnTo>
                    <a:lnTo>
                      <a:pt x="893" y="422"/>
                    </a:lnTo>
                    <a:lnTo>
                      <a:pt x="889" y="428"/>
                    </a:lnTo>
                    <a:lnTo>
                      <a:pt x="885" y="434"/>
                    </a:lnTo>
                    <a:lnTo>
                      <a:pt x="881" y="439"/>
                    </a:lnTo>
                    <a:lnTo>
                      <a:pt x="879" y="441"/>
                    </a:lnTo>
                    <a:lnTo>
                      <a:pt x="877" y="442"/>
                    </a:lnTo>
                    <a:lnTo>
                      <a:pt x="874" y="443"/>
                    </a:lnTo>
                    <a:lnTo>
                      <a:pt x="870" y="444"/>
                    </a:lnTo>
                    <a:lnTo>
                      <a:pt x="865" y="442"/>
                    </a:lnTo>
                    <a:lnTo>
                      <a:pt x="857" y="439"/>
                    </a:lnTo>
                    <a:lnTo>
                      <a:pt x="849" y="435"/>
                    </a:lnTo>
                    <a:lnTo>
                      <a:pt x="842" y="429"/>
                    </a:lnTo>
                    <a:lnTo>
                      <a:pt x="835" y="422"/>
                    </a:lnTo>
                    <a:lnTo>
                      <a:pt x="830" y="414"/>
                    </a:lnTo>
                    <a:lnTo>
                      <a:pt x="827" y="411"/>
                    </a:lnTo>
                    <a:lnTo>
                      <a:pt x="825" y="407"/>
                    </a:lnTo>
                    <a:lnTo>
                      <a:pt x="824" y="404"/>
                    </a:lnTo>
                    <a:lnTo>
                      <a:pt x="824" y="400"/>
                    </a:lnTo>
                    <a:lnTo>
                      <a:pt x="840" y="400"/>
                    </a:lnTo>
                    <a:lnTo>
                      <a:pt x="851" y="400"/>
                    </a:lnTo>
                    <a:lnTo>
                      <a:pt x="851" y="393"/>
                    </a:lnTo>
                    <a:lnTo>
                      <a:pt x="851" y="382"/>
                    </a:lnTo>
                    <a:lnTo>
                      <a:pt x="837" y="382"/>
                    </a:lnTo>
                    <a:lnTo>
                      <a:pt x="827" y="382"/>
                    </a:lnTo>
                    <a:lnTo>
                      <a:pt x="816" y="382"/>
                    </a:lnTo>
                    <a:lnTo>
                      <a:pt x="804" y="382"/>
                    </a:lnTo>
                    <a:lnTo>
                      <a:pt x="798" y="381"/>
                    </a:lnTo>
                    <a:lnTo>
                      <a:pt x="792" y="379"/>
                    </a:lnTo>
                    <a:lnTo>
                      <a:pt x="788" y="376"/>
                    </a:lnTo>
                    <a:lnTo>
                      <a:pt x="784" y="373"/>
                    </a:lnTo>
                    <a:lnTo>
                      <a:pt x="780" y="369"/>
                    </a:lnTo>
                    <a:lnTo>
                      <a:pt x="776" y="366"/>
                    </a:lnTo>
                    <a:lnTo>
                      <a:pt x="770" y="364"/>
                    </a:lnTo>
                    <a:lnTo>
                      <a:pt x="764" y="363"/>
                    </a:lnTo>
                    <a:lnTo>
                      <a:pt x="759" y="364"/>
                    </a:lnTo>
                    <a:lnTo>
                      <a:pt x="755" y="366"/>
                    </a:lnTo>
                    <a:lnTo>
                      <a:pt x="752" y="369"/>
                    </a:lnTo>
                    <a:lnTo>
                      <a:pt x="749" y="374"/>
                    </a:lnTo>
                    <a:lnTo>
                      <a:pt x="747" y="379"/>
                    </a:lnTo>
                    <a:lnTo>
                      <a:pt x="745" y="384"/>
                    </a:lnTo>
                    <a:lnTo>
                      <a:pt x="744" y="389"/>
                    </a:lnTo>
                    <a:lnTo>
                      <a:pt x="744" y="394"/>
                    </a:lnTo>
                    <a:lnTo>
                      <a:pt x="711" y="394"/>
                    </a:lnTo>
                    <a:lnTo>
                      <a:pt x="711" y="412"/>
                    </a:lnTo>
                    <a:lnTo>
                      <a:pt x="715" y="414"/>
                    </a:lnTo>
                    <a:lnTo>
                      <a:pt x="720" y="418"/>
                    </a:lnTo>
                    <a:lnTo>
                      <a:pt x="726" y="423"/>
                    </a:lnTo>
                    <a:lnTo>
                      <a:pt x="733" y="430"/>
                    </a:lnTo>
                    <a:lnTo>
                      <a:pt x="747" y="445"/>
                    </a:lnTo>
                    <a:lnTo>
                      <a:pt x="762" y="462"/>
                    </a:lnTo>
                    <a:lnTo>
                      <a:pt x="775" y="478"/>
                    </a:lnTo>
                    <a:lnTo>
                      <a:pt x="787" y="494"/>
                    </a:lnTo>
                    <a:lnTo>
                      <a:pt x="795" y="505"/>
                    </a:lnTo>
                    <a:lnTo>
                      <a:pt x="798" y="511"/>
                    </a:lnTo>
                    <a:lnTo>
                      <a:pt x="797" y="517"/>
                    </a:lnTo>
                    <a:lnTo>
                      <a:pt x="795" y="523"/>
                    </a:lnTo>
                    <a:lnTo>
                      <a:pt x="795" y="527"/>
                    </a:lnTo>
                    <a:lnTo>
                      <a:pt x="795" y="530"/>
                    </a:lnTo>
                    <a:lnTo>
                      <a:pt x="796" y="533"/>
                    </a:lnTo>
                    <a:lnTo>
                      <a:pt x="798" y="535"/>
                    </a:lnTo>
                    <a:lnTo>
                      <a:pt x="788" y="539"/>
                    </a:lnTo>
                    <a:lnTo>
                      <a:pt x="779" y="543"/>
                    </a:lnTo>
                    <a:lnTo>
                      <a:pt x="771" y="547"/>
                    </a:lnTo>
                    <a:lnTo>
                      <a:pt x="765" y="551"/>
                    </a:lnTo>
                    <a:lnTo>
                      <a:pt x="758" y="554"/>
                    </a:lnTo>
                    <a:lnTo>
                      <a:pt x="752" y="558"/>
                    </a:lnTo>
                    <a:lnTo>
                      <a:pt x="745" y="560"/>
                    </a:lnTo>
                    <a:lnTo>
                      <a:pt x="737" y="560"/>
                    </a:lnTo>
                    <a:lnTo>
                      <a:pt x="723" y="559"/>
                    </a:lnTo>
                    <a:lnTo>
                      <a:pt x="708" y="556"/>
                    </a:lnTo>
                    <a:lnTo>
                      <a:pt x="695" y="552"/>
                    </a:lnTo>
                    <a:lnTo>
                      <a:pt x="681" y="546"/>
                    </a:lnTo>
                    <a:lnTo>
                      <a:pt x="669" y="540"/>
                    </a:lnTo>
                    <a:lnTo>
                      <a:pt x="659" y="531"/>
                    </a:lnTo>
                    <a:lnTo>
                      <a:pt x="651" y="524"/>
                    </a:lnTo>
                    <a:lnTo>
                      <a:pt x="644" y="517"/>
                    </a:lnTo>
                    <a:lnTo>
                      <a:pt x="618" y="517"/>
                    </a:lnTo>
                    <a:lnTo>
                      <a:pt x="621" y="525"/>
                    </a:lnTo>
                    <a:lnTo>
                      <a:pt x="624" y="531"/>
                    </a:lnTo>
                    <a:lnTo>
                      <a:pt x="629" y="538"/>
                    </a:lnTo>
                    <a:lnTo>
                      <a:pt x="634" y="543"/>
                    </a:lnTo>
                    <a:lnTo>
                      <a:pt x="645" y="552"/>
                    </a:lnTo>
                    <a:lnTo>
                      <a:pt x="657" y="560"/>
                    </a:lnTo>
                    <a:lnTo>
                      <a:pt x="668" y="567"/>
                    </a:lnTo>
                    <a:lnTo>
                      <a:pt x="678" y="575"/>
                    </a:lnTo>
                    <a:lnTo>
                      <a:pt x="683" y="580"/>
                    </a:lnTo>
                    <a:lnTo>
                      <a:pt x="687" y="585"/>
                    </a:lnTo>
                    <a:lnTo>
                      <a:pt x="689" y="590"/>
                    </a:lnTo>
                    <a:lnTo>
                      <a:pt x="691" y="598"/>
                    </a:lnTo>
                    <a:lnTo>
                      <a:pt x="678" y="601"/>
                    </a:lnTo>
                    <a:lnTo>
                      <a:pt x="665" y="604"/>
                    </a:lnTo>
                    <a:lnTo>
                      <a:pt x="644" y="603"/>
                    </a:lnTo>
                    <a:lnTo>
                      <a:pt x="618" y="599"/>
                    </a:lnTo>
                    <a:lnTo>
                      <a:pt x="589" y="592"/>
                    </a:lnTo>
                    <a:lnTo>
                      <a:pt x="558" y="584"/>
                    </a:lnTo>
                    <a:lnTo>
                      <a:pt x="544" y="580"/>
                    </a:lnTo>
                    <a:lnTo>
                      <a:pt x="531" y="575"/>
                    </a:lnTo>
                    <a:lnTo>
                      <a:pt x="518" y="570"/>
                    </a:lnTo>
                    <a:lnTo>
                      <a:pt x="507" y="565"/>
                    </a:lnTo>
                    <a:lnTo>
                      <a:pt x="497" y="559"/>
                    </a:lnTo>
                    <a:lnTo>
                      <a:pt x="488" y="554"/>
                    </a:lnTo>
                    <a:lnTo>
                      <a:pt x="483" y="548"/>
                    </a:lnTo>
                    <a:lnTo>
                      <a:pt x="478" y="542"/>
                    </a:lnTo>
                    <a:lnTo>
                      <a:pt x="475" y="532"/>
                    </a:lnTo>
                    <a:lnTo>
                      <a:pt x="471" y="523"/>
                    </a:lnTo>
                    <a:lnTo>
                      <a:pt x="464" y="513"/>
                    </a:lnTo>
                    <a:lnTo>
                      <a:pt x="457" y="504"/>
                    </a:lnTo>
                    <a:lnTo>
                      <a:pt x="451" y="496"/>
                    </a:lnTo>
                    <a:lnTo>
                      <a:pt x="444" y="489"/>
                    </a:lnTo>
                    <a:lnTo>
                      <a:pt x="438" y="484"/>
                    </a:lnTo>
                    <a:lnTo>
                      <a:pt x="432" y="480"/>
                    </a:lnTo>
                    <a:lnTo>
                      <a:pt x="410" y="473"/>
                    </a:lnTo>
                    <a:lnTo>
                      <a:pt x="388" y="468"/>
                    </a:lnTo>
                    <a:lnTo>
                      <a:pt x="384" y="467"/>
                    </a:lnTo>
                    <a:lnTo>
                      <a:pt x="379" y="465"/>
                    </a:lnTo>
                    <a:lnTo>
                      <a:pt x="375" y="463"/>
                    </a:lnTo>
                    <a:lnTo>
                      <a:pt x="372" y="460"/>
                    </a:lnTo>
                    <a:lnTo>
                      <a:pt x="370" y="457"/>
                    </a:lnTo>
                    <a:lnTo>
                      <a:pt x="367" y="453"/>
                    </a:lnTo>
                    <a:lnTo>
                      <a:pt x="366" y="449"/>
                    </a:lnTo>
                    <a:lnTo>
                      <a:pt x="365" y="444"/>
                    </a:lnTo>
                    <a:lnTo>
                      <a:pt x="366" y="441"/>
                    </a:lnTo>
                    <a:lnTo>
                      <a:pt x="368" y="439"/>
                    </a:lnTo>
                    <a:lnTo>
                      <a:pt x="373" y="437"/>
                    </a:lnTo>
                    <a:lnTo>
                      <a:pt x="378" y="436"/>
                    </a:lnTo>
                    <a:lnTo>
                      <a:pt x="392" y="433"/>
                    </a:lnTo>
                    <a:lnTo>
                      <a:pt x="406" y="430"/>
                    </a:lnTo>
                    <a:lnTo>
                      <a:pt x="435" y="427"/>
                    </a:lnTo>
                    <a:lnTo>
                      <a:pt x="452" y="424"/>
                    </a:lnTo>
                    <a:lnTo>
                      <a:pt x="452" y="416"/>
                    </a:lnTo>
                    <a:lnTo>
                      <a:pt x="454" y="409"/>
                    </a:lnTo>
                    <a:lnTo>
                      <a:pt x="456" y="404"/>
                    </a:lnTo>
                    <a:lnTo>
                      <a:pt x="459" y="399"/>
                    </a:lnTo>
                    <a:lnTo>
                      <a:pt x="461" y="394"/>
                    </a:lnTo>
                    <a:lnTo>
                      <a:pt x="463" y="390"/>
                    </a:lnTo>
                    <a:lnTo>
                      <a:pt x="465" y="386"/>
                    </a:lnTo>
                    <a:lnTo>
                      <a:pt x="465" y="382"/>
                    </a:lnTo>
                    <a:lnTo>
                      <a:pt x="479" y="382"/>
                    </a:lnTo>
                    <a:lnTo>
                      <a:pt x="490" y="380"/>
                    </a:lnTo>
                    <a:lnTo>
                      <a:pt x="500" y="378"/>
                    </a:lnTo>
                    <a:lnTo>
                      <a:pt x="508" y="375"/>
                    </a:lnTo>
                    <a:lnTo>
                      <a:pt x="521" y="368"/>
                    </a:lnTo>
                    <a:lnTo>
                      <a:pt x="532" y="363"/>
                    </a:lnTo>
                    <a:lnTo>
                      <a:pt x="572" y="363"/>
                    </a:lnTo>
                    <a:lnTo>
                      <a:pt x="573" y="369"/>
                    </a:lnTo>
                    <a:lnTo>
                      <a:pt x="575" y="376"/>
                    </a:lnTo>
                    <a:lnTo>
                      <a:pt x="577" y="380"/>
                    </a:lnTo>
                    <a:lnTo>
                      <a:pt x="580" y="384"/>
                    </a:lnTo>
                    <a:lnTo>
                      <a:pt x="583" y="387"/>
                    </a:lnTo>
                    <a:lnTo>
                      <a:pt x="587" y="389"/>
                    </a:lnTo>
                    <a:lnTo>
                      <a:pt x="590" y="391"/>
                    </a:lnTo>
                    <a:lnTo>
                      <a:pt x="595" y="393"/>
                    </a:lnTo>
                    <a:lnTo>
                      <a:pt x="603" y="394"/>
                    </a:lnTo>
                    <a:lnTo>
                      <a:pt x="614" y="395"/>
                    </a:lnTo>
                    <a:lnTo>
                      <a:pt x="625" y="394"/>
                    </a:lnTo>
                    <a:lnTo>
                      <a:pt x="637" y="394"/>
                    </a:lnTo>
                    <a:lnTo>
                      <a:pt x="650" y="394"/>
                    </a:lnTo>
                    <a:lnTo>
                      <a:pt x="659" y="393"/>
                    </a:lnTo>
                    <a:lnTo>
                      <a:pt x="668" y="392"/>
                    </a:lnTo>
                    <a:lnTo>
                      <a:pt x="675" y="390"/>
                    </a:lnTo>
                    <a:lnTo>
                      <a:pt x="687" y="387"/>
                    </a:lnTo>
                    <a:lnTo>
                      <a:pt x="698" y="382"/>
                    </a:lnTo>
                    <a:lnTo>
                      <a:pt x="698" y="373"/>
                    </a:lnTo>
                    <a:lnTo>
                      <a:pt x="698" y="363"/>
                    </a:lnTo>
                    <a:lnTo>
                      <a:pt x="605" y="351"/>
                    </a:lnTo>
                    <a:lnTo>
                      <a:pt x="596" y="351"/>
                    </a:lnTo>
                    <a:lnTo>
                      <a:pt x="588" y="353"/>
                    </a:lnTo>
                    <a:lnTo>
                      <a:pt x="581" y="355"/>
                    </a:lnTo>
                    <a:lnTo>
                      <a:pt x="576" y="357"/>
                    </a:lnTo>
                    <a:lnTo>
                      <a:pt x="572" y="359"/>
                    </a:lnTo>
                    <a:lnTo>
                      <a:pt x="567" y="361"/>
                    </a:lnTo>
                    <a:lnTo>
                      <a:pt x="563" y="362"/>
                    </a:lnTo>
                    <a:lnTo>
                      <a:pt x="558" y="363"/>
                    </a:lnTo>
                    <a:lnTo>
                      <a:pt x="550" y="362"/>
                    </a:lnTo>
                    <a:lnTo>
                      <a:pt x="542" y="361"/>
                    </a:lnTo>
                    <a:lnTo>
                      <a:pt x="540" y="360"/>
                    </a:lnTo>
                    <a:lnTo>
                      <a:pt x="536" y="360"/>
                    </a:lnTo>
                    <a:lnTo>
                      <a:pt x="534" y="361"/>
                    </a:lnTo>
                    <a:lnTo>
                      <a:pt x="532" y="363"/>
                    </a:lnTo>
                    <a:lnTo>
                      <a:pt x="533" y="358"/>
                    </a:lnTo>
                    <a:lnTo>
                      <a:pt x="535" y="354"/>
                    </a:lnTo>
                    <a:lnTo>
                      <a:pt x="539" y="350"/>
                    </a:lnTo>
                    <a:lnTo>
                      <a:pt x="542" y="347"/>
                    </a:lnTo>
                    <a:lnTo>
                      <a:pt x="550" y="339"/>
                    </a:lnTo>
                    <a:lnTo>
                      <a:pt x="557" y="332"/>
                    </a:lnTo>
                    <a:lnTo>
                      <a:pt x="565" y="324"/>
                    </a:lnTo>
                    <a:lnTo>
                      <a:pt x="572" y="316"/>
                    </a:lnTo>
                    <a:lnTo>
                      <a:pt x="574" y="311"/>
                    </a:lnTo>
                    <a:lnTo>
                      <a:pt x="576" y="306"/>
                    </a:lnTo>
                    <a:lnTo>
                      <a:pt x="577" y="301"/>
                    </a:lnTo>
                    <a:lnTo>
                      <a:pt x="578" y="295"/>
                    </a:lnTo>
                    <a:lnTo>
                      <a:pt x="577" y="290"/>
                    </a:lnTo>
                    <a:lnTo>
                      <a:pt x="576" y="283"/>
                    </a:lnTo>
                    <a:lnTo>
                      <a:pt x="575" y="280"/>
                    </a:lnTo>
                    <a:lnTo>
                      <a:pt x="575" y="277"/>
                    </a:lnTo>
                    <a:lnTo>
                      <a:pt x="576" y="274"/>
                    </a:lnTo>
                    <a:lnTo>
                      <a:pt x="578" y="271"/>
                    </a:lnTo>
                    <a:lnTo>
                      <a:pt x="568" y="271"/>
                    </a:lnTo>
                    <a:lnTo>
                      <a:pt x="558" y="269"/>
                    </a:lnTo>
                    <a:lnTo>
                      <a:pt x="550" y="267"/>
                    </a:lnTo>
                    <a:lnTo>
                      <a:pt x="541" y="263"/>
                    </a:lnTo>
                    <a:lnTo>
                      <a:pt x="533" y="258"/>
                    </a:lnTo>
                    <a:lnTo>
                      <a:pt x="524" y="254"/>
                    </a:lnTo>
                    <a:lnTo>
                      <a:pt x="518" y="248"/>
                    </a:lnTo>
                    <a:lnTo>
                      <a:pt x="511" y="243"/>
                    </a:lnTo>
                    <a:lnTo>
                      <a:pt x="499" y="231"/>
                    </a:lnTo>
                    <a:lnTo>
                      <a:pt x="489" y="219"/>
                    </a:lnTo>
                    <a:lnTo>
                      <a:pt x="483" y="208"/>
                    </a:lnTo>
                    <a:lnTo>
                      <a:pt x="478" y="196"/>
                    </a:lnTo>
                    <a:lnTo>
                      <a:pt x="473" y="198"/>
                    </a:lnTo>
                    <a:lnTo>
                      <a:pt x="467" y="198"/>
                    </a:lnTo>
                    <a:lnTo>
                      <a:pt x="463" y="198"/>
                    </a:lnTo>
                    <a:lnTo>
                      <a:pt x="459" y="196"/>
                    </a:lnTo>
                    <a:lnTo>
                      <a:pt x="452" y="190"/>
                    </a:lnTo>
                    <a:lnTo>
                      <a:pt x="446" y="183"/>
                    </a:lnTo>
                    <a:lnTo>
                      <a:pt x="441" y="175"/>
                    </a:lnTo>
                    <a:lnTo>
                      <a:pt x="434" y="168"/>
                    </a:lnTo>
                    <a:lnTo>
                      <a:pt x="431" y="165"/>
                    </a:lnTo>
                    <a:lnTo>
                      <a:pt x="428" y="162"/>
                    </a:lnTo>
                    <a:lnTo>
                      <a:pt x="423" y="161"/>
                    </a:lnTo>
                    <a:lnTo>
                      <a:pt x="419" y="160"/>
                    </a:lnTo>
                    <a:lnTo>
                      <a:pt x="415" y="161"/>
                    </a:lnTo>
                    <a:lnTo>
                      <a:pt x="411" y="162"/>
                    </a:lnTo>
                    <a:lnTo>
                      <a:pt x="408" y="163"/>
                    </a:lnTo>
                    <a:lnTo>
                      <a:pt x="404" y="165"/>
                    </a:lnTo>
                    <a:lnTo>
                      <a:pt x="397" y="170"/>
                    </a:lnTo>
                    <a:lnTo>
                      <a:pt x="392" y="177"/>
                    </a:lnTo>
                    <a:lnTo>
                      <a:pt x="386" y="184"/>
                    </a:lnTo>
                    <a:lnTo>
                      <a:pt x="382" y="191"/>
                    </a:lnTo>
                    <a:lnTo>
                      <a:pt x="379" y="197"/>
                    </a:lnTo>
                    <a:lnTo>
                      <a:pt x="378" y="203"/>
                    </a:lnTo>
                    <a:lnTo>
                      <a:pt x="339" y="203"/>
                    </a:lnTo>
                    <a:lnTo>
                      <a:pt x="317" y="194"/>
                    </a:lnTo>
                    <a:lnTo>
                      <a:pt x="295" y="188"/>
                    </a:lnTo>
                    <a:lnTo>
                      <a:pt x="273" y="182"/>
                    </a:lnTo>
                    <a:lnTo>
                      <a:pt x="252" y="178"/>
                    </a:lnTo>
                    <a:lnTo>
                      <a:pt x="230" y="176"/>
                    </a:lnTo>
                    <a:lnTo>
                      <a:pt x="207" y="174"/>
                    </a:lnTo>
                    <a:lnTo>
                      <a:pt x="184" y="173"/>
                    </a:lnTo>
                    <a:lnTo>
                      <a:pt x="160" y="172"/>
                    </a:lnTo>
                    <a:lnTo>
                      <a:pt x="148" y="173"/>
                    </a:lnTo>
                    <a:lnTo>
                      <a:pt x="138" y="176"/>
                    </a:lnTo>
                    <a:lnTo>
                      <a:pt x="129" y="180"/>
                    </a:lnTo>
                    <a:lnTo>
                      <a:pt x="121" y="184"/>
                    </a:lnTo>
                    <a:lnTo>
                      <a:pt x="114" y="189"/>
                    </a:lnTo>
                    <a:lnTo>
                      <a:pt x="107" y="193"/>
                    </a:lnTo>
                    <a:lnTo>
                      <a:pt x="101" y="195"/>
                    </a:lnTo>
                    <a:lnTo>
                      <a:pt x="93" y="196"/>
                    </a:lnTo>
                    <a:lnTo>
                      <a:pt x="88" y="196"/>
                    </a:lnTo>
                    <a:lnTo>
                      <a:pt x="84" y="194"/>
                    </a:lnTo>
                    <a:lnTo>
                      <a:pt x="81" y="190"/>
                    </a:lnTo>
                    <a:lnTo>
                      <a:pt x="79" y="187"/>
                    </a:lnTo>
                    <a:lnTo>
                      <a:pt x="74" y="179"/>
                    </a:lnTo>
                    <a:lnTo>
                      <a:pt x="73" y="172"/>
                    </a:lnTo>
                    <a:lnTo>
                      <a:pt x="50" y="177"/>
                    </a:lnTo>
                    <a:lnTo>
                      <a:pt x="29" y="181"/>
                    </a:lnTo>
                    <a:lnTo>
                      <a:pt x="25" y="181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13" y="178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3" y="170"/>
                    </a:lnTo>
                    <a:lnTo>
                      <a:pt x="0" y="166"/>
                    </a:lnTo>
                    <a:lnTo>
                      <a:pt x="4" y="162"/>
                    </a:lnTo>
                    <a:lnTo>
                      <a:pt x="9" y="158"/>
                    </a:lnTo>
                    <a:lnTo>
                      <a:pt x="14" y="155"/>
                    </a:lnTo>
                    <a:lnTo>
                      <a:pt x="20" y="152"/>
                    </a:lnTo>
                    <a:lnTo>
                      <a:pt x="32" y="149"/>
                    </a:lnTo>
                    <a:lnTo>
                      <a:pt x="46" y="146"/>
                    </a:lnTo>
                    <a:lnTo>
                      <a:pt x="59" y="145"/>
                    </a:lnTo>
                    <a:lnTo>
                      <a:pt x="70" y="147"/>
                    </a:lnTo>
                    <a:lnTo>
                      <a:pt x="75" y="149"/>
                    </a:lnTo>
                    <a:lnTo>
                      <a:pt x="80" y="150"/>
                    </a:lnTo>
                    <a:lnTo>
                      <a:pt x="83" y="152"/>
                    </a:lnTo>
                    <a:lnTo>
                      <a:pt x="86" y="154"/>
                    </a:lnTo>
                    <a:lnTo>
                      <a:pt x="86" y="139"/>
                    </a:lnTo>
                    <a:lnTo>
                      <a:pt x="86" y="129"/>
                    </a:lnTo>
                    <a:lnTo>
                      <a:pt x="73" y="12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8" name="Freeform 417"/>
              <p:cNvSpPr>
                <a:spLocks/>
              </p:cNvSpPr>
              <p:nvPr/>
            </p:nvSpPr>
            <p:spPr bwMode="auto">
              <a:xfrm>
                <a:off x="1528" y="1110"/>
                <a:ext cx="409" cy="105"/>
              </a:xfrm>
              <a:custGeom>
                <a:avLst/>
                <a:gdLst>
                  <a:gd name="T0" fmla="*/ 797 w 1268"/>
                  <a:gd name="T1" fmla="*/ 38 h 321"/>
                  <a:gd name="T2" fmla="*/ 813 w 1268"/>
                  <a:gd name="T3" fmla="*/ 16 h 321"/>
                  <a:gd name="T4" fmla="*/ 846 w 1268"/>
                  <a:gd name="T5" fmla="*/ 10 h 321"/>
                  <a:gd name="T6" fmla="*/ 865 w 1268"/>
                  <a:gd name="T7" fmla="*/ 25 h 321"/>
                  <a:gd name="T8" fmla="*/ 938 w 1268"/>
                  <a:gd name="T9" fmla="*/ 14 h 321"/>
                  <a:gd name="T10" fmla="*/ 1020 w 1268"/>
                  <a:gd name="T11" fmla="*/ 1 h 321"/>
                  <a:gd name="T12" fmla="*/ 1084 w 1268"/>
                  <a:gd name="T13" fmla="*/ 17 h 321"/>
                  <a:gd name="T14" fmla="*/ 1133 w 1268"/>
                  <a:gd name="T15" fmla="*/ 20 h 321"/>
                  <a:gd name="T16" fmla="*/ 1268 w 1268"/>
                  <a:gd name="T17" fmla="*/ 32 h 321"/>
                  <a:gd name="T18" fmla="*/ 1242 w 1268"/>
                  <a:gd name="T19" fmla="*/ 50 h 321"/>
                  <a:gd name="T20" fmla="*/ 1163 w 1268"/>
                  <a:gd name="T21" fmla="*/ 64 h 321"/>
                  <a:gd name="T22" fmla="*/ 1053 w 1268"/>
                  <a:gd name="T23" fmla="*/ 77 h 321"/>
                  <a:gd name="T24" fmla="*/ 1029 w 1268"/>
                  <a:gd name="T25" fmla="*/ 96 h 321"/>
                  <a:gd name="T26" fmla="*/ 999 w 1268"/>
                  <a:gd name="T27" fmla="*/ 104 h 321"/>
                  <a:gd name="T28" fmla="*/ 942 w 1268"/>
                  <a:gd name="T29" fmla="*/ 102 h 321"/>
                  <a:gd name="T30" fmla="*/ 930 w 1268"/>
                  <a:gd name="T31" fmla="*/ 118 h 321"/>
                  <a:gd name="T32" fmla="*/ 747 w 1268"/>
                  <a:gd name="T33" fmla="*/ 133 h 321"/>
                  <a:gd name="T34" fmla="*/ 666 w 1268"/>
                  <a:gd name="T35" fmla="*/ 156 h 321"/>
                  <a:gd name="T36" fmla="*/ 635 w 1268"/>
                  <a:gd name="T37" fmla="*/ 181 h 321"/>
                  <a:gd name="T38" fmla="*/ 591 w 1268"/>
                  <a:gd name="T39" fmla="*/ 167 h 321"/>
                  <a:gd name="T40" fmla="*/ 570 w 1268"/>
                  <a:gd name="T41" fmla="*/ 181 h 321"/>
                  <a:gd name="T42" fmla="*/ 590 w 1268"/>
                  <a:gd name="T43" fmla="*/ 207 h 321"/>
                  <a:gd name="T44" fmla="*/ 545 w 1268"/>
                  <a:gd name="T45" fmla="*/ 237 h 321"/>
                  <a:gd name="T46" fmla="*/ 483 w 1268"/>
                  <a:gd name="T47" fmla="*/ 236 h 321"/>
                  <a:gd name="T48" fmla="*/ 404 w 1268"/>
                  <a:gd name="T49" fmla="*/ 242 h 321"/>
                  <a:gd name="T50" fmla="*/ 405 w 1268"/>
                  <a:gd name="T51" fmla="*/ 257 h 321"/>
                  <a:gd name="T52" fmla="*/ 392 w 1268"/>
                  <a:gd name="T53" fmla="*/ 293 h 321"/>
                  <a:gd name="T54" fmla="*/ 333 w 1268"/>
                  <a:gd name="T55" fmla="*/ 320 h 321"/>
                  <a:gd name="T56" fmla="*/ 290 w 1268"/>
                  <a:gd name="T57" fmla="*/ 296 h 321"/>
                  <a:gd name="T58" fmla="*/ 253 w 1268"/>
                  <a:gd name="T59" fmla="*/ 285 h 321"/>
                  <a:gd name="T60" fmla="*/ 96 w 1268"/>
                  <a:gd name="T61" fmla="*/ 276 h 321"/>
                  <a:gd name="T62" fmla="*/ 0 w 1268"/>
                  <a:gd name="T63" fmla="*/ 285 h 321"/>
                  <a:gd name="T64" fmla="*/ 10 w 1268"/>
                  <a:gd name="T65" fmla="*/ 266 h 321"/>
                  <a:gd name="T66" fmla="*/ 56 w 1268"/>
                  <a:gd name="T67" fmla="*/ 246 h 321"/>
                  <a:gd name="T68" fmla="*/ 143 w 1268"/>
                  <a:gd name="T69" fmla="*/ 235 h 321"/>
                  <a:gd name="T70" fmla="*/ 170 w 1268"/>
                  <a:gd name="T71" fmla="*/ 225 h 321"/>
                  <a:gd name="T72" fmla="*/ 190 w 1268"/>
                  <a:gd name="T73" fmla="*/ 217 h 321"/>
                  <a:gd name="T74" fmla="*/ 219 w 1268"/>
                  <a:gd name="T75" fmla="*/ 232 h 321"/>
                  <a:gd name="T76" fmla="*/ 247 w 1268"/>
                  <a:gd name="T77" fmla="*/ 247 h 321"/>
                  <a:gd name="T78" fmla="*/ 208 w 1268"/>
                  <a:gd name="T79" fmla="*/ 207 h 321"/>
                  <a:gd name="T80" fmla="*/ 193 w 1268"/>
                  <a:gd name="T81" fmla="*/ 200 h 321"/>
                  <a:gd name="T82" fmla="*/ 197 w 1268"/>
                  <a:gd name="T83" fmla="*/ 181 h 321"/>
                  <a:gd name="T84" fmla="*/ 246 w 1268"/>
                  <a:gd name="T85" fmla="*/ 174 h 321"/>
                  <a:gd name="T86" fmla="*/ 365 w 1268"/>
                  <a:gd name="T87" fmla="*/ 186 h 321"/>
                  <a:gd name="T88" fmla="*/ 418 w 1268"/>
                  <a:gd name="T89" fmla="*/ 174 h 321"/>
                  <a:gd name="T90" fmla="*/ 322 w 1268"/>
                  <a:gd name="T91" fmla="*/ 169 h 321"/>
                  <a:gd name="T92" fmla="*/ 299 w 1268"/>
                  <a:gd name="T93" fmla="*/ 149 h 321"/>
                  <a:gd name="T94" fmla="*/ 378 w 1268"/>
                  <a:gd name="T95" fmla="*/ 137 h 321"/>
                  <a:gd name="T96" fmla="*/ 438 w 1268"/>
                  <a:gd name="T97" fmla="*/ 155 h 321"/>
                  <a:gd name="T98" fmla="*/ 478 w 1268"/>
                  <a:gd name="T99" fmla="*/ 124 h 321"/>
                  <a:gd name="T100" fmla="*/ 664 w 1268"/>
                  <a:gd name="T101" fmla="*/ 87 h 321"/>
                  <a:gd name="T102" fmla="*/ 589 w 1268"/>
                  <a:gd name="T103" fmla="*/ 110 h 321"/>
                  <a:gd name="T104" fmla="*/ 449 w 1268"/>
                  <a:gd name="T105" fmla="*/ 111 h 321"/>
                  <a:gd name="T106" fmla="*/ 312 w 1268"/>
                  <a:gd name="T107" fmla="*/ 116 h 321"/>
                  <a:gd name="T108" fmla="*/ 253 w 1268"/>
                  <a:gd name="T109" fmla="*/ 101 h 321"/>
                  <a:gd name="T110" fmla="*/ 219 w 1268"/>
                  <a:gd name="T111" fmla="*/ 80 h 321"/>
                  <a:gd name="T112" fmla="*/ 253 w 1268"/>
                  <a:gd name="T113" fmla="*/ 71 h 321"/>
                  <a:gd name="T114" fmla="*/ 446 w 1268"/>
                  <a:gd name="T115" fmla="*/ 47 h 321"/>
                  <a:gd name="T116" fmla="*/ 618 w 1268"/>
                  <a:gd name="T117" fmla="*/ 32 h 321"/>
                  <a:gd name="T118" fmla="*/ 674 w 1268"/>
                  <a:gd name="T119" fmla="*/ 20 h 321"/>
                  <a:gd name="T120" fmla="*/ 757 w 1268"/>
                  <a:gd name="T121" fmla="*/ 26 h 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68" h="321">
                    <a:moveTo>
                      <a:pt x="764" y="26"/>
                    </a:moveTo>
                    <a:lnTo>
                      <a:pt x="770" y="30"/>
                    </a:lnTo>
                    <a:lnTo>
                      <a:pt x="778" y="34"/>
                    </a:lnTo>
                    <a:lnTo>
                      <a:pt x="787" y="37"/>
                    </a:lnTo>
                    <a:lnTo>
                      <a:pt x="797" y="38"/>
                    </a:lnTo>
                    <a:lnTo>
                      <a:pt x="797" y="35"/>
                    </a:lnTo>
                    <a:lnTo>
                      <a:pt x="799" y="31"/>
                    </a:lnTo>
                    <a:lnTo>
                      <a:pt x="803" y="26"/>
                    </a:lnTo>
                    <a:lnTo>
                      <a:pt x="807" y="20"/>
                    </a:lnTo>
                    <a:lnTo>
                      <a:pt x="813" y="16"/>
                    </a:lnTo>
                    <a:lnTo>
                      <a:pt x="819" y="11"/>
                    </a:lnTo>
                    <a:lnTo>
                      <a:pt x="828" y="9"/>
                    </a:lnTo>
                    <a:lnTo>
                      <a:pt x="837" y="8"/>
                    </a:lnTo>
                    <a:lnTo>
                      <a:pt x="841" y="8"/>
                    </a:lnTo>
                    <a:lnTo>
                      <a:pt x="846" y="10"/>
                    </a:lnTo>
                    <a:lnTo>
                      <a:pt x="850" y="13"/>
                    </a:lnTo>
                    <a:lnTo>
                      <a:pt x="853" y="17"/>
                    </a:lnTo>
                    <a:lnTo>
                      <a:pt x="858" y="20"/>
                    </a:lnTo>
                    <a:lnTo>
                      <a:pt x="861" y="23"/>
                    </a:lnTo>
                    <a:lnTo>
                      <a:pt x="865" y="25"/>
                    </a:lnTo>
                    <a:lnTo>
                      <a:pt x="870" y="26"/>
                    </a:lnTo>
                    <a:lnTo>
                      <a:pt x="888" y="25"/>
                    </a:lnTo>
                    <a:lnTo>
                      <a:pt x="906" y="22"/>
                    </a:lnTo>
                    <a:lnTo>
                      <a:pt x="921" y="18"/>
                    </a:lnTo>
                    <a:lnTo>
                      <a:pt x="938" y="14"/>
                    </a:lnTo>
                    <a:lnTo>
                      <a:pt x="953" y="9"/>
                    </a:lnTo>
                    <a:lnTo>
                      <a:pt x="970" y="4"/>
                    </a:lnTo>
                    <a:lnTo>
                      <a:pt x="988" y="2"/>
                    </a:lnTo>
                    <a:lnTo>
                      <a:pt x="1009" y="0"/>
                    </a:lnTo>
                    <a:lnTo>
                      <a:pt x="1020" y="1"/>
                    </a:lnTo>
                    <a:lnTo>
                      <a:pt x="1032" y="3"/>
                    </a:lnTo>
                    <a:lnTo>
                      <a:pt x="1045" y="7"/>
                    </a:lnTo>
                    <a:lnTo>
                      <a:pt x="1059" y="11"/>
                    </a:lnTo>
                    <a:lnTo>
                      <a:pt x="1072" y="14"/>
                    </a:lnTo>
                    <a:lnTo>
                      <a:pt x="1084" y="17"/>
                    </a:lnTo>
                    <a:lnTo>
                      <a:pt x="1094" y="19"/>
                    </a:lnTo>
                    <a:lnTo>
                      <a:pt x="1103" y="20"/>
                    </a:lnTo>
                    <a:lnTo>
                      <a:pt x="1115" y="20"/>
                    </a:lnTo>
                    <a:lnTo>
                      <a:pt x="1123" y="20"/>
                    </a:lnTo>
                    <a:lnTo>
                      <a:pt x="1133" y="20"/>
                    </a:lnTo>
                    <a:lnTo>
                      <a:pt x="1149" y="20"/>
                    </a:lnTo>
                    <a:lnTo>
                      <a:pt x="1180" y="21"/>
                    </a:lnTo>
                    <a:lnTo>
                      <a:pt x="1209" y="23"/>
                    </a:lnTo>
                    <a:lnTo>
                      <a:pt x="1236" y="27"/>
                    </a:lnTo>
                    <a:lnTo>
                      <a:pt x="1268" y="32"/>
                    </a:lnTo>
                    <a:lnTo>
                      <a:pt x="1266" y="36"/>
                    </a:lnTo>
                    <a:lnTo>
                      <a:pt x="1263" y="39"/>
                    </a:lnTo>
                    <a:lnTo>
                      <a:pt x="1258" y="42"/>
                    </a:lnTo>
                    <a:lnTo>
                      <a:pt x="1253" y="45"/>
                    </a:lnTo>
                    <a:lnTo>
                      <a:pt x="1242" y="50"/>
                    </a:lnTo>
                    <a:lnTo>
                      <a:pt x="1229" y="54"/>
                    </a:lnTo>
                    <a:lnTo>
                      <a:pt x="1213" y="57"/>
                    </a:lnTo>
                    <a:lnTo>
                      <a:pt x="1198" y="59"/>
                    </a:lnTo>
                    <a:lnTo>
                      <a:pt x="1180" y="62"/>
                    </a:lnTo>
                    <a:lnTo>
                      <a:pt x="1163" y="64"/>
                    </a:lnTo>
                    <a:lnTo>
                      <a:pt x="1128" y="66"/>
                    </a:lnTo>
                    <a:lnTo>
                      <a:pt x="1094" y="69"/>
                    </a:lnTo>
                    <a:lnTo>
                      <a:pt x="1078" y="71"/>
                    </a:lnTo>
                    <a:lnTo>
                      <a:pt x="1065" y="74"/>
                    </a:lnTo>
                    <a:lnTo>
                      <a:pt x="1053" y="77"/>
                    </a:lnTo>
                    <a:lnTo>
                      <a:pt x="1043" y="81"/>
                    </a:lnTo>
                    <a:lnTo>
                      <a:pt x="1039" y="84"/>
                    </a:lnTo>
                    <a:lnTo>
                      <a:pt x="1034" y="87"/>
                    </a:lnTo>
                    <a:lnTo>
                      <a:pt x="1031" y="91"/>
                    </a:lnTo>
                    <a:lnTo>
                      <a:pt x="1029" y="96"/>
                    </a:lnTo>
                    <a:lnTo>
                      <a:pt x="1026" y="99"/>
                    </a:lnTo>
                    <a:lnTo>
                      <a:pt x="1021" y="102"/>
                    </a:lnTo>
                    <a:lnTo>
                      <a:pt x="1016" y="105"/>
                    </a:lnTo>
                    <a:lnTo>
                      <a:pt x="1009" y="105"/>
                    </a:lnTo>
                    <a:lnTo>
                      <a:pt x="999" y="104"/>
                    </a:lnTo>
                    <a:lnTo>
                      <a:pt x="991" y="102"/>
                    </a:lnTo>
                    <a:lnTo>
                      <a:pt x="983" y="98"/>
                    </a:lnTo>
                    <a:lnTo>
                      <a:pt x="976" y="93"/>
                    </a:lnTo>
                    <a:lnTo>
                      <a:pt x="943" y="93"/>
                    </a:lnTo>
                    <a:lnTo>
                      <a:pt x="942" y="102"/>
                    </a:lnTo>
                    <a:lnTo>
                      <a:pt x="939" y="110"/>
                    </a:lnTo>
                    <a:lnTo>
                      <a:pt x="937" y="113"/>
                    </a:lnTo>
                    <a:lnTo>
                      <a:pt x="935" y="115"/>
                    </a:lnTo>
                    <a:lnTo>
                      <a:pt x="932" y="118"/>
                    </a:lnTo>
                    <a:lnTo>
                      <a:pt x="930" y="118"/>
                    </a:lnTo>
                    <a:lnTo>
                      <a:pt x="902" y="119"/>
                    </a:lnTo>
                    <a:lnTo>
                      <a:pt x="862" y="120"/>
                    </a:lnTo>
                    <a:lnTo>
                      <a:pt x="818" y="124"/>
                    </a:lnTo>
                    <a:lnTo>
                      <a:pt x="771" y="129"/>
                    </a:lnTo>
                    <a:lnTo>
                      <a:pt x="747" y="133"/>
                    </a:lnTo>
                    <a:lnTo>
                      <a:pt x="725" y="137"/>
                    </a:lnTo>
                    <a:lnTo>
                      <a:pt x="703" y="143"/>
                    </a:lnTo>
                    <a:lnTo>
                      <a:pt x="683" y="149"/>
                    </a:lnTo>
                    <a:lnTo>
                      <a:pt x="674" y="153"/>
                    </a:lnTo>
                    <a:lnTo>
                      <a:pt x="666" y="156"/>
                    </a:lnTo>
                    <a:lnTo>
                      <a:pt x="658" y="160"/>
                    </a:lnTo>
                    <a:lnTo>
                      <a:pt x="651" y="165"/>
                    </a:lnTo>
                    <a:lnTo>
                      <a:pt x="645" y="169"/>
                    </a:lnTo>
                    <a:lnTo>
                      <a:pt x="639" y="175"/>
                    </a:lnTo>
                    <a:lnTo>
                      <a:pt x="635" y="181"/>
                    </a:lnTo>
                    <a:lnTo>
                      <a:pt x="630" y="186"/>
                    </a:lnTo>
                    <a:lnTo>
                      <a:pt x="604" y="186"/>
                    </a:lnTo>
                    <a:lnTo>
                      <a:pt x="604" y="177"/>
                    </a:lnTo>
                    <a:lnTo>
                      <a:pt x="604" y="167"/>
                    </a:lnTo>
                    <a:lnTo>
                      <a:pt x="591" y="167"/>
                    </a:lnTo>
                    <a:lnTo>
                      <a:pt x="579" y="167"/>
                    </a:lnTo>
                    <a:lnTo>
                      <a:pt x="562" y="167"/>
                    </a:lnTo>
                    <a:lnTo>
                      <a:pt x="538" y="167"/>
                    </a:lnTo>
                    <a:lnTo>
                      <a:pt x="556" y="175"/>
                    </a:lnTo>
                    <a:lnTo>
                      <a:pt x="570" y="181"/>
                    </a:lnTo>
                    <a:lnTo>
                      <a:pt x="577" y="185"/>
                    </a:lnTo>
                    <a:lnTo>
                      <a:pt x="583" y="190"/>
                    </a:lnTo>
                    <a:lnTo>
                      <a:pt x="591" y="196"/>
                    </a:lnTo>
                    <a:lnTo>
                      <a:pt x="597" y="204"/>
                    </a:lnTo>
                    <a:lnTo>
                      <a:pt x="590" y="207"/>
                    </a:lnTo>
                    <a:lnTo>
                      <a:pt x="581" y="212"/>
                    </a:lnTo>
                    <a:lnTo>
                      <a:pt x="571" y="218"/>
                    </a:lnTo>
                    <a:lnTo>
                      <a:pt x="562" y="225"/>
                    </a:lnTo>
                    <a:lnTo>
                      <a:pt x="552" y="232"/>
                    </a:lnTo>
                    <a:lnTo>
                      <a:pt x="545" y="237"/>
                    </a:lnTo>
                    <a:lnTo>
                      <a:pt x="537" y="240"/>
                    </a:lnTo>
                    <a:lnTo>
                      <a:pt x="532" y="241"/>
                    </a:lnTo>
                    <a:lnTo>
                      <a:pt x="517" y="241"/>
                    </a:lnTo>
                    <a:lnTo>
                      <a:pt x="502" y="238"/>
                    </a:lnTo>
                    <a:lnTo>
                      <a:pt x="483" y="236"/>
                    </a:lnTo>
                    <a:lnTo>
                      <a:pt x="458" y="235"/>
                    </a:lnTo>
                    <a:lnTo>
                      <a:pt x="442" y="236"/>
                    </a:lnTo>
                    <a:lnTo>
                      <a:pt x="427" y="237"/>
                    </a:lnTo>
                    <a:lnTo>
                      <a:pt x="415" y="240"/>
                    </a:lnTo>
                    <a:lnTo>
                      <a:pt x="404" y="242"/>
                    </a:lnTo>
                    <a:lnTo>
                      <a:pt x="384" y="248"/>
                    </a:lnTo>
                    <a:lnTo>
                      <a:pt x="365" y="254"/>
                    </a:lnTo>
                    <a:lnTo>
                      <a:pt x="382" y="257"/>
                    </a:lnTo>
                    <a:lnTo>
                      <a:pt x="394" y="258"/>
                    </a:lnTo>
                    <a:lnTo>
                      <a:pt x="405" y="257"/>
                    </a:lnTo>
                    <a:lnTo>
                      <a:pt x="418" y="254"/>
                    </a:lnTo>
                    <a:lnTo>
                      <a:pt x="418" y="272"/>
                    </a:lnTo>
                    <a:lnTo>
                      <a:pt x="413" y="277"/>
                    </a:lnTo>
                    <a:lnTo>
                      <a:pt x="404" y="285"/>
                    </a:lnTo>
                    <a:lnTo>
                      <a:pt x="392" y="293"/>
                    </a:lnTo>
                    <a:lnTo>
                      <a:pt x="379" y="301"/>
                    </a:lnTo>
                    <a:lnTo>
                      <a:pt x="356" y="315"/>
                    </a:lnTo>
                    <a:lnTo>
                      <a:pt x="345" y="321"/>
                    </a:lnTo>
                    <a:lnTo>
                      <a:pt x="339" y="321"/>
                    </a:lnTo>
                    <a:lnTo>
                      <a:pt x="333" y="320"/>
                    </a:lnTo>
                    <a:lnTo>
                      <a:pt x="327" y="318"/>
                    </a:lnTo>
                    <a:lnTo>
                      <a:pt x="322" y="315"/>
                    </a:lnTo>
                    <a:lnTo>
                      <a:pt x="312" y="310"/>
                    </a:lnTo>
                    <a:lnTo>
                      <a:pt x="301" y="303"/>
                    </a:lnTo>
                    <a:lnTo>
                      <a:pt x="290" y="296"/>
                    </a:lnTo>
                    <a:lnTo>
                      <a:pt x="279" y="290"/>
                    </a:lnTo>
                    <a:lnTo>
                      <a:pt x="272" y="288"/>
                    </a:lnTo>
                    <a:lnTo>
                      <a:pt x="266" y="286"/>
                    </a:lnTo>
                    <a:lnTo>
                      <a:pt x="259" y="285"/>
                    </a:lnTo>
                    <a:lnTo>
                      <a:pt x="253" y="285"/>
                    </a:lnTo>
                    <a:lnTo>
                      <a:pt x="215" y="283"/>
                    </a:lnTo>
                    <a:lnTo>
                      <a:pt x="182" y="281"/>
                    </a:lnTo>
                    <a:lnTo>
                      <a:pt x="152" y="279"/>
                    </a:lnTo>
                    <a:lnTo>
                      <a:pt x="123" y="277"/>
                    </a:lnTo>
                    <a:lnTo>
                      <a:pt x="96" y="276"/>
                    </a:lnTo>
                    <a:lnTo>
                      <a:pt x="66" y="276"/>
                    </a:lnTo>
                    <a:lnTo>
                      <a:pt x="51" y="277"/>
                    </a:lnTo>
                    <a:lnTo>
                      <a:pt x="35" y="279"/>
                    </a:lnTo>
                    <a:lnTo>
                      <a:pt x="18" y="281"/>
                    </a:lnTo>
                    <a:lnTo>
                      <a:pt x="0" y="285"/>
                    </a:lnTo>
                    <a:lnTo>
                      <a:pt x="0" y="281"/>
                    </a:lnTo>
                    <a:lnTo>
                      <a:pt x="1" y="277"/>
                    </a:lnTo>
                    <a:lnTo>
                      <a:pt x="2" y="274"/>
                    </a:lnTo>
                    <a:lnTo>
                      <a:pt x="5" y="271"/>
                    </a:lnTo>
                    <a:lnTo>
                      <a:pt x="10" y="266"/>
                    </a:lnTo>
                    <a:lnTo>
                      <a:pt x="17" y="261"/>
                    </a:lnTo>
                    <a:lnTo>
                      <a:pt x="25" y="257"/>
                    </a:lnTo>
                    <a:lnTo>
                      <a:pt x="35" y="253"/>
                    </a:lnTo>
                    <a:lnTo>
                      <a:pt x="45" y="249"/>
                    </a:lnTo>
                    <a:lnTo>
                      <a:pt x="56" y="246"/>
                    </a:lnTo>
                    <a:lnTo>
                      <a:pt x="79" y="241"/>
                    </a:lnTo>
                    <a:lnTo>
                      <a:pt x="101" y="238"/>
                    </a:lnTo>
                    <a:lnTo>
                      <a:pt x="120" y="236"/>
                    </a:lnTo>
                    <a:lnTo>
                      <a:pt x="133" y="235"/>
                    </a:lnTo>
                    <a:lnTo>
                      <a:pt x="143" y="235"/>
                    </a:lnTo>
                    <a:lnTo>
                      <a:pt x="159" y="235"/>
                    </a:lnTo>
                    <a:lnTo>
                      <a:pt x="162" y="235"/>
                    </a:lnTo>
                    <a:lnTo>
                      <a:pt x="164" y="233"/>
                    </a:lnTo>
                    <a:lnTo>
                      <a:pt x="167" y="230"/>
                    </a:lnTo>
                    <a:lnTo>
                      <a:pt x="170" y="225"/>
                    </a:lnTo>
                    <a:lnTo>
                      <a:pt x="174" y="222"/>
                    </a:lnTo>
                    <a:lnTo>
                      <a:pt x="177" y="219"/>
                    </a:lnTo>
                    <a:lnTo>
                      <a:pt x="181" y="217"/>
                    </a:lnTo>
                    <a:lnTo>
                      <a:pt x="186" y="216"/>
                    </a:lnTo>
                    <a:lnTo>
                      <a:pt x="190" y="217"/>
                    </a:lnTo>
                    <a:lnTo>
                      <a:pt x="196" y="218"/>
                    </a:lnTo>
                    <a:lnTo>
                      <a:pt x="200" y="219"/>
                    </a:lnTo>
                    <a:lnTo>
                      <a:pt x="203" y="221"/>
                    </a:lnTo>
                    <a:lnTo>
                      <a:pt x="211" y="226"/>
                    </a:lnTo>
                    <a:lnTo>
                      <a:pt x="219" y="232"/>
                    </a:lnTo>
                    <a:lnTo>
                      <a:pt x="226" y="238"/>
                    </a:lnTo>
                    <a:lnTo>
                      <a:pt x="234" y="243"/>
                    </a:lnTo>
                    <a:lnTo>
                      <a:pt x="238" y="245"/>
                    </a:lnTo>
                    <a:lnTo>
                      <a:pt x="243" y="246"/>
                    </a:lnTo>
                    <a:lnTo>
                      <a:pt x="247" y="247"/>
                    </a:lnTo>
                    <a:lnTo>
                      <a:pt x="253" y="247"/>
                    </a:lnTo>
                    <a:lnTo>
                      <a:pt x="253" y="204"/>
                    </a:lnTo>
                    <a:lnTo>
                      <a:pt x="232" y="206"/>
                    </a:lnTo>
                    <a:lnTo>
                      <a:pt x="212" y="207"/>
                    </a:lnTo>
                    <a:lnTo>
                      <a:pt x="208" y="207"/>
                    </a:lnTo>
                    <a:lnTo>
                      <a:pt x="204" y="207"/>
                    </a:lnTo>
                    <a:lnTo>
                      <a:pt x="201" y="206"/>
                    </a:lnTo>
                    <a:lnTo>
                      <a:pt x="198" y="204"/>
                    </a:lnTo>
                    <a:lnTo>
                      <a:pt x="196" y="202"/>
                    </a:lnTo>
                    <a:lnTo>
                      <a:pt x="193" y="200"/>
                    </a:lnTo>
                    <a:lnTo>
                      <a:pt x="192" y="196"/>
                    </a:lnTo>
                    <a:lnTo>
                      <a:pt x="192" y="192"/>
                    </a:lnTo>
                    <a:lnTo>
                      <a:pt x="193" y="188"/>
                    </a:lnTo>
                    <a:lnTo>
                      <a:pt x="194" y="184"/>
                    </a:lnTo>
                    <a:lnTo>
                      <a:pt x="197" y="181"/>
                    </a:lnTo>
                    <a:lnTo>
                      <a:pt x="199" y="179"/>
                    </a:lnTo>
                    <a:lnTo>
                      <a:pt x="205" y="176"/>
                    </a:lnTo>
                    <a:lnTo>
                      <a:pt x="214" y="174"/>
                    </a:lnTo>
                    <a:lnTo>
                      <a:pt x="232" y="172"/>
                    </a:lnTo>
                    <a:lnTo>
                      <a:pt x="246" y="174"/>
                    </a:lnTo>
                    <a:lnTo>
                      <a:pt x="265" y="176"/>
                    </a:lnTo>
                    <a:lnTo>
                      <a:pt x="290" y="180"/>
                    </a:lnTo>
                    <a:lnTo>
                      <a:pt x="315" y="184"/>
                    </a:lnTo>
                    <a:lnTo>
                      <a:pt x="338" y="186"/>
                    </a:lnTo>
                    <a:lnTo>
                      <a:pt x="365" y="186"/>
                    </a:lnTo>
                    <a:lnTo>
                      <a:pt x="386" y="184"/>
                    </a:lnTo>
                    <a:lnTo>
                      <a:pt x="394" y="183"/>
                    </a:lnTo>
                    <a:lnTo>
                      <a:pt x="403" y="181"/>
                    </a:lnTo>
                    <a:lnTo>
                      <a:pt x="411" y="178"/>
                    </a:lnTo>
                    <a:lnTo>
                      <a:pt x="418" y="174"/>
                    </a:lnTo>
                    <a:lnTo>
                      <a:pt x="379" y="172"/>
                    </a:lnTo>
                    <a:lnTo>
                      <a:pt x="344" y="172"/>
                    </a:lnTo>
                    <a:lnTo>
                      <a:pt x="336" y="172"/>
                    </a:lnTo>
                    <a:lnTo>
                      <a:pt x="328" y="171"/>
                    </a:lnTo>
                    <a:lnTo>
                      <a:pt x="322" y="169"/>
                    </a:lnTo>
                    <a:lnTo>
                      <a:pt x="315" y="167"/>
                    </a:lnTo>
                    <a:lnTo>
                      <a:pt x="310" y="164"/>
                    </a:lnTo>
                    <a:lnTo>
                      <a:pt x="305" y="160"/>
                    </a:lnTo>
                    <a:lnTo>
                      <a:pt x="302" y="155"/>
                    </a:lnTo>
                    <a:lnTo>
                      <a:pt x="299" y="149"/>
                    </a:lnTo>
                    <a:lnTo>
                      <a:pt x="309" y="145"/>
                    </a:lnTo>
                    <a:lnTo>
                      <a:pt x="320" y="142"/>
                    </a:lnTo>
                    <a:lnTo>
                      <a:pt x="331" y="140"/>
                    </a:lnTo>
                    <a:lnTo>
                      <a:pt x="345" y="138"/>
                    </a:lnTo>
                    <a:lnTo>
                      <a:pt x="378" y="137"/>
                    </a:lnTo>
                    <a:lnTo>
                      <a:pt x="425" y="137"/>
                    </a:lnTo>
                    <a:lnTo>
                      <a:pt x="426" y="141"/>
                    </a:lnTo>
                    <a:lnTo>
                      <a:pt x="429" y="146"/>
                    </a:lnTo>
                    <a:lnTo>
                      <a:pt x="434" y="150"/>
                    </a:lnTo>
                    <a:lnTo>
                      <a:pt x="438" y="155"/>
                    </a:lnTo>
                    <a:lnTo>
                      <a:pt x="484" y="155"/>
                    </a:lnTo>
                    <a:lnTo>
                      <a:pt x="483" y="146"/>
                    </a:lnTo>
                    <a:lnTo>
                      <a:pt x="481" y="137"/>
                    </a:lnTo>
                    <a:lnTo>
                      <a:pt x="479" y="130"/>
                    </a:lnTo>
                    <a:lnTo>
                      <a:pt x="478" y="124"/>
                    </a:lnTo>
                    <a:lnTo>
                      <a:pt x="645" y="124"/>
                    </a:lnTo>
                    <a:lnTo>
                      <a:pt x="648" y="109"/>
                    </a:lnTo>
                    <a:lnTo>
                      <a:pt x="651" y="101"/>
                    </a:lnTo>
                    <a:lnTo>
                      <a:pt x="657" y="95"/>
                    </a:lnTo>
                    <a:lnTo>
                      <a:pt x="664" y="87"/>
                    </a:lnTo>
                    <a:lnTo>
                      <a:pt x="653" y="91"/>
                    </a:lnTo>
                    <a:lnTo>
                      <a:pt x="638" y="99"/>
                    </a:lnTo>
                    <a:lnTo>
                      <a:pt x="622" y="108"/>
                    </a:lnTo>
                    <a:lnTo>
                      <a:pt x="611" y="111"/>
                    </a:lnTo>
                    <a:lnTo>
                      <a:pt x="589" y="110"/>
                    </a:lnTo>
                    <a:lnTo>
                      <a:pt x="556" y="108"/>
                    </a:lnTo>
                    <a:lnTo>
                      <a:pt x="522" y="106"/>
                    </a:lnTo>
                    <a:lnTo>
                      <a:pt x="491" y="105"/>
                    </a:lnTo>
                    <a:lnTo>
                      <a:pt x="476" y="107"/>
                    </a:lnTo>
                    <a:lnTo>
                      <a:pt x="449" y="111"/>
                    </a:lnTo>
                    <a:lnTo>
                      <a:pt x="414" y="115"/>
                    </a:lnTo>
                    <a:lnTo>
                      <a:pt x="376" y="119"/>
                    </a:lnTo>
                    <a:lnTo>
                      <a:pt x="355" y="120"/>
                    </a:lnTo>
                    <a:lnTo>
                      <a:pt x="333" y="119"/>
                    </a:lnTo>
                    <a:lnTo>
                      <a:pt x="312" y="116"/>
                    </a:lnTo>
                    <a:lnTo>
                      <a:pt x="291" y="113"/>
                    </a:lnTo>
                    <a:lnTo>
                      <a:pt x="281" y="111"/>
                    </a:lnTo>
                    <a:lnTo>
                      <a:pt x="271" y="108"/>
                    </a:lnTo>
                    <a:lnTo>
                      <a:pt x="261" y="105"/>
                    </a:lnTo>
                    <a:lnTo>
                      <a:pt x="253" y="101"/>
                    </a:lnTo>
                    <a:lnTo>
                      <a:pt x="244" y="97"/>
                    </a:lnTo>
                    <a:lnTo>
                      <a:pt x="235" y="92"/>
                    </a:lnTo>
                    <a:lnTo>
                      <a:pt x="226" y="87"/>
                    </a:lnTo>
                    <a:lnTo>
                      <a:pt x="219" y="81"/>
                    </a:lnTo>
                    <a:lnTo>
                      <a:pt x="219" y="80"/>
                    </a:lnTo>
                    <a:lnTo>
                      <a:pt x="221" y="79"/>
                    </a:lnTo>
                    <a:lnTo>
                      <a:pt x="223" y="78"/>
                    </a:lnTo>
                    <a:lnTo>
                      <a:pt x="227" y="76"/>
                    </a:lnTo>
                    <a:lnTo>
                      <a:pt x="238" y="74"/>
                    </a:lnTo>
                    <a:lnTo>
                      <a:pt x="253" y="71"/>
                    </a:lnTo>
                    <a:lnTo>
                      <a:pt x="290" y="66"/>
                    </a:lnTo>
                    <a:lnTo>
                      <a:pt x="334" y="60"/>
                    </a:lnTo>
                    <a:lnTo>
                      <a:pt x="378" y="55"/>
                    </a:lnTo>
                    <a:lnTo>
                      <a:pt x="417" y="50"/>
                    </a:lnTo>
                    <a:lnTo>
                      <a:pt x="446" y="47"/>
                    </a:lnTo>
                    <a:lnTo>
                      <a:pt x="458" y="44"/>
                    </a:lnTo>
                    <a:lnTo>
                      <a:pt x="545" y="44"/>
                    </a:lnTo>
                    <a:lnTo>
                      <a:pt x="591" y="32"/>
                    </a:lnTo>
                    <a:lnTo>
                      <a:pt x="605" y="33"/>
                    </a:lnTo>
                    <a:lnTo>
                      <a:pt x="618" y="32"/>
                    </a:lnTo>
                    <a:lnTo>
                      <a:pt x="631" y="31"/>
                    </a:lnTo>
                    <a:lnTo>
                      <a:pt x="642" y="28"/>
                    </a:lnTo>
                    <a:lnTo>
                      <a:pt x="653" y="25"/>
                    </a:lnTo>
                    <a:lnTo>
                      <a:pt x="664" y="22"/>
                    </a:lnTo>
                    <a:lnTo>
                      <a:pt x="674" y="20"/>
                    </a:lnTo>
                    <a:lnTo>
                      <a:pt x="684" y="20"/>
                    </a:lnTo>
                    <a:lnTo>
                      <a:pt x="707" y="21"/>
                    </a:lnTo>
                    <a:lnTo>
                      <a:pt x="723" y="23"/>
                    </a:lnTo>
                    <a:lnTo>
                      <a:pt x="737" y="25"/>
                    </a:lnTo>
                    <a:lnTo>
                      <a:pt x="757" y="26"/>
                    </a:lnTo>
                    <a:lnTo>
                      <a:pt x="764" y="2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89" name="Freeform 418"/>
              <p:cNvSpPr>
                <a:spLocks/>
              </p:cNvSpPr>
              <p:nvPr/>
            </p:nvSpPr>
            <p:spPr bwMode="auto">
              <a:xfrm>
                <a:off x="553" y="1660"/>
                <a:ext cx="51" cy="38"/>
              </a:xfrm>
              <a:custGeom>
                <a:avLst/>
                <a:gdLst>
                  <a:gd name="T0" fmla="*/ 0 w 160"/>
                  <a:gd name="T1" fmla="*/ 0 h 117"/>
                  <a:gd name="T2" fmla="*/ 1 w 160"/>
                  <a:gd name="T3" fmla="*/ 10 h 117"/>
                  <a:gd name="T4" fmla="*/ 4 w 160"/>
                  <a:gd name="T5" fmla="*/ 19 h 117"/>
                  <a:gd name="T6" fmla="*/ 9 w 160"/>
                  <a:gd name="T7" fmla="*/ 29 h 117"/>
                  <a:gd name="T8" fmla="*/ 15 w 160"/>
                  <a:gd name="T9" fmla="*/ 39 h 117"/>
                  <a:gd name="T10" fmla="*/ 22 w 160"/>
                  <a:gd name="T11" fmla="*/ 48 h 117"/>
                  <a:gd name="T12" fmla="*/ 31 w 160"/>
                  <a:gd name="T13" fmla="*/ 59 h 117"/>
                  <a:gd name="T14" fmla="*/ 41 w 160"/>
                  <a:gd name="T15" fmla="*/ 68 h 117"/>
                  <a:gd name="T16" fmla="*/ 51 w 160"/>
                  <a:gd name="T17" fmla="*/ 77 h 117"/>
                  <a:gd name="T18" fmla="*/ 62 w 160"/>
                  <a:gd name="T19" fmla="*/ 85 h 117"/>
                  <a:gd name="T20" fmla="*/ 73 w 160"/>
                  <a:gd name="T21" fmla="*/ 93 h 117"/>
                  <a:gd name="T22" fmla="*/ 84 w 160"/>
                  <a:gd name="T23" fmla="*/ 99 h 117"/>
                  <a:gd name="T24" fmla="*/ 95 w 160"/>
                  <a:gd name="T25" fmla="*/ 105 h 117"/>
                  <a:gd name="T26" fmla="*/ 106 w 160"/>
                  <a:gd name="T27" fmla="*/ 111 h 117"/>
                  <a:gd name="T28" fmla="*/ 116 w 160"/>
                  <a:gd name="T29" fmla="*/ 114 h 117"/>
                  <a:gd name="T30" fmla="*/ 124 w 160"/>
                  <a:gd name="T31" fmla="*/ 117 h 117"/>
                  <a:gd name="T32" fmla="*/ 133 w 160"/>
                  <a:gd name="T33" fmla="*/ 117 h 117"/>
                  <a:gd name="T34" fmla="*/ 139 w 160"/>
                  <a:gd name="T35" fmla="*/ 116 h 117"/>
                  <a:gd name="T36" fmla="*/ 146 w 160"/>
                  <a:gd name="T37" fmla="*/ 113 h 117"/>
                  <a:gd name="T38" fmla="*/ 153 w 160"/>
                  <a:gd name="T39" fmla="*/ 110 h 117"/>
                  <a:gd name="T40" fmla="*/ 160 w 160"/>
                  <a:gd name="T41" fmla="*/ 104 h 117"/>
                  <a:gd name="T42" fmla="*/ 150 w 160"/>
                  <a:gd name="T43" fmla="*/ 91 h 117"/>
                  <a:gd name="T44" fmla="*/ 141 w 160"/>
                  <a:gd name="T45" fmla="*/ 79 h 117"/>
                  <a:gd name="T46" fmla="*/ 138 w 160"/>
                  <a:gd name="T47" fmla="*/ 73 h 117"/>
                  <a:gd name="T48" fmla="*/ 135 w 160"/>
                  <a:gd name="T49" fmla="*/ 66 h 117"/>
                  <a:gd name="T50" fmla="*/ 133 w 160"/>
                  <a:gd name="T51" fmla="*/ 58 h 117"/>
                  <a:gd name="T52" fmla="*/ 133 w 160"/>
                  <a:gd name="T53" fmla="*/ 49 h 117"/>
                  <a:gd name="T54" fmla="*/ 127 w 160"/>
                  <a:gd name="T55" fmla="*/ 48 h 117"/>
                  <a:gd name="T56" fmla="*/ 118 w 160"/>
                  <a:gd name="T57" fmla="*/ 45 h 117"/>
                  <a:gd name="T58" fmla="*/ 108 w 160"/>
                  <a:gd name="T59" fmla="*/ 40 h 117"/>
                  <a:gd name="T60" fmla="*/ 97 w 160"/>
                  <a:gd name="T61" fmla="*/ 34 h 117"/>
                  <a:gd name="T62" fmla="*/ 87 w 160"/>
                  <a:gd name="T63" fmla="*/ 28 h 117"/>
                  <a:gd name="T64" fmla="*/ 77 w 160"/>
                  <a:gd name="T65" fmla="*/ 21 h 117"/>
                  <a:gd name="T66" fmla="*/ 74 w 160"/>
                  <a:gd name="T67" fmla="*/ 17 h 117"/>
                  <a:gd name="T68" fmla="*/ 71 w 160"/>
                  <a:gd name="T69" fmla="*/ 13 h 117"/>
                  <a:gd name="T70" fmla="*/ 68 w 160"/>
                  <a:gd name="T71" fmla="*/ 10 h 117"/>
                  <a:gd name="T72" fmla="*/ 66 w 160"/>
                  <a:gd name="T73" fmla="*/ 6 h 117"/>
                  <a:gd name="T74" fmla="*/ 60 w 160"/>
                  <a:gd name="T75" fmla="*/ 6 h 117"/>
                  <a:gd name="T76" fmla="*/ 52 w 160"/>
                  <a:gd name="T77" fmla="*/ 6 h 117"/>
                  <a:gd name="T78" fmla="*/ 43 w 160"/>
                  <a:gd name="T79" fmla="*/ 4 h 117"/>
                  <a:gd name="T80" fmla="*/ 33 w 160"/>
                  <a:gd name="T81" fmla="*/ 0 h 117"/>
                  <a:gd name="T82" fmla="*/ 0 w 160"/>
                  <a:gd name="T83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0" h="117">
                    <a:moveTo>
                      <a:pt x="0" y="0"/>
                    </a:moveTo>
                    <a:lnTo>
                      <a:pt x="1" y="10"/>
                    </a:lnTo>
                    <a:lnTo>
                      <a:pt x="4" y="19"/>
                    </a:lnTo>
                    <a:lnTo>
                      <a:pt x="9" y="29"/>
                    </a:lnTo>
                    <a:lnTo>
                      <a:pt x="15" y="39"/>
                    </a:lnTo>
                    <a:lnTo>
                      <a:pt x="22" y="48"/>
                    </a:lnTo>
                    <a:lnTo>
                      <a:pt x="31" y="59"/>
                    </a:lnTo>
                    <a:lnTo>
                      <a:pt x="41" y="68"/>
                    </a:lnTo>
                    <a:lnTo>
                      <a:pt x="51" y="77"/>
                    </a:lnTo>
                    <a:lnTo>
                      <a:pt x="62" y="85"/>
                    </a:lnTo>
                    <a:lnTo>
                      <a:pt x="73" y="93"/>
                    </a:lnTo>
                    <a:lnTo>
                      <a:pt x="84" y="99"/>
                    </a:lnTo>
                    <a:lnTo>
                      <a:pt x="95" y="105"/>
                    </a:lnTo>
                    <a:lnTo>
                      <a:pt x="106" y="111"/>
                    </a:lnTo>
                    <a:lnTo>
                      <a:pt x="116" y="114"/>
                    </a:lnTo>
                    <a:lnTo>
                      <a:pt x="124" y="117"/>
                    </a:lnTo>
                    <a:lnTo>
                      <a:pt x="133" y="117"/>
                    </a:lnTo>
                    <a:lnTo>
                      <a:pt x="139" y="116"/>
                    </a:lnTo>
                    <a:lnTo>
                      <a:pt x="146" y="113"/>
                    </a:lnTo>
                    <a:lnTo>
                      <a:pt x="153" y="110"/>
                    </a:lnTo>
                    <a:lnTo>
                      <a:pt x="160" y="104"/>
                    </a:lnTo>
                    <a:lnTo>
                      <a:pt x="150" y="91"/>
                    </a:lnTo>
                    <a:lnTo>
                      <a:pt x="141" y="79"/>
                    </a:lnTo>
                    <a:lnTo>
                      <a:pt x="138" y="73"/>
                    </a:lnTo>
                    <a:lnTo>
                      <a:pt x="135" y="66"/>
                    </a:lnTo>
                    <a:lnTo>
                      <a:pt x="133" y="58"/>
                    </a:lnTo>
                    <a:lnTo>
                      <a:pt x="133" y="49"/>
                    </a:lnTo>
                    <a:lnTo>
                      <a:pt x="127" y="48"/>
                    </a:lnTo>
                    <a:lnTo>
                      <a:pt x="118" y="45"/>
                    </a:lnTo>
                    <a:lnTo>
                      <a:pt x="108" y="40"/>
                    </a:lnTo>
                    <a:lnTo>
                      <a:pt x="97" y="34"/>
                    </a:lnTo>
                    <a:lnTo>
                      <a:pt x="87" y="28"/>
                    </a:lnTo>
                    <a:lnTo>
                      <a:pt x="77" y="21"/>
                    </a:lnTo>
                    <a:lnTo>
                      <a:pt x="74" y="17"/>
                    </a:lnTo>
                    <a:lnTo>
                      <a:pt x="71" y="13"/>
                    </a:lnTo>
                    <a:lnTo>
                      <a:pt x="68" y="10"/>
                    </a:lnTo>
                    <a:lnTo>
                      <a:pt x="66" y="6"/>
                    </a:lnTo>
                    <a:lnTo>
                      <a:pt x="60" y="6"/>
                    </a:lnTo>
                    <a:lnTo>
                      <a:pt x="52" y="6"/>
                    </a:lnTo>
                    <a:lnTo>
                      <a:pt x="43" y="4"/>
                    </a:lnTo>
                    <a:lnTo>
                      <a:pt x="33" y="0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0" name="Freeform 419"/>
              <p:cNvSpPr>
                <a:spLocks/>
              </p:cNvSpPr>
              <p:nvPr/>
            </p:nvSpPr>
            <p:spPr bwMode="auto">
              <a:xfrm>
                <a:off x="527" y="1592"/>
                <a:ext cx="26" cy="46"/>
              </a:xfrm>
              <a:custGeom>
                <a:avLst/>
                <a:gdLst>
                  <a:gd name="T0" fmla="*/ 40 w 80"/>
                  <a:gd name="T1" fmla="*/ 123 h 141"/>
                  <a:gd name="T2" fmla="*/ 80 w 80"/>
                  <a:gd name="T3" fmla="*/ 36 h 141"/>
                  <a:gd name="T4" fmla="*/ 80 w 80"/>
                  <a:gd name="T5" fmla="*/ 18 h 141"/>
                  <a:gd name="T6" fmla="*/ 68 w 80"/>
                  <a:gd name="T7" fmla="*/ 17 h 141"/>
                  <a:gd name="T8" fmla="*/ 59 w 80"/>
                  <a:gd name="T9" fmla="*/ 16 h 141"/>
                  <a:gd name="T10" fmla="*/ 53 w 80"/>
                  <a:gd name="T11" fmla="*/ 14 h 141"/>
                  <a:gd name="T12" fmla="*/ 47 w 80"/>
                  <a:gd name="T13" fmla="*/ 11 h 141"/>
                  <a:gd name="T14" fmla="*/ 44 w 80"/>
                  <a:gd name="T15" fmla="*/ 8 h 141"/>
                  <a:gd name="T16" fmla="*/ 42 w 80"/>
                  <a:gd name="T17" fmla="*/ 5 h 141"/>
                  <a:gd name="T18" fmla="*/ 41 w 80"/>
                  <a:gd name="T19" fmla="*/ 2 h 141"/>
                  <a:gd name="T20" fmla="*/ 40 w 80"/>
                  <a:gd name="T21" fmla="*/ 0 h 141"/>
                  <a:gd name="T22" fmla="*/ 0 w 80"/>
                  <a:gd name="T23" fmla="*/ 0 h 141"/>
                  <a:gd name="T24" fmla="*/ 0 w 80"/>
                  <a:gd name="T25" fmla="*/ 23 h 141"/>
                  <a:gd name="T26" fmla="*/ 0 w 80"/>
                  <a:gd name="T27" fmla="*/ 40 h 141"/>
                  <a:gd name="T28" fmla="*/ 0 w 80"/>
                  <a:gd name="T29" fmla="*/ 52 h 141"/>
                  <a:gd name="T30" fmla="*/ 0 w 80"/>
                  <a:gd name="T31" fmla="*/ 61 h 141"/>
                  <a:gd name="T32" fmla="*/ 1 w 80"/>
                  <a:gd name="T33" fmla="*/ 69 h 141"/>
                  <a:gd name="T34" fmla="*/ 3 w 80"/>
                  <a:gd name="T35" fmla="*/ 78 h 141"/>
                  <a:gd name="T36" fmla="*/ 7 w 80"/>
                  <a:gd name="T37" fmla="*/ 88 h 141"/>
                  <a:gd name="T38" fmla="*/ 11 w 80"/>
                  <a:gd name="T39" fmla="*/ 99 h 141"/>
                  <a:gd name="T40" fmla="*/ 20 w 80"/>
                  <a:gd name="T41" fmla="*/ 121 h 141"/>
                  <a:gd name="T42" fmla="*/ 27 w 80"/>
                  <a:gd name="T43" fmla="*/ 141 h 141"/>
                  <a:gd name="T44" fmla="*/ 31 w 80"/>
                  <a:gd name="T45" fmla="*/ 135 h 141"/>
                  <a:gd name="T46" fmla="*/ 33 w 80"/>
                  <a:gd name="T47" fmla="*/ 129 h 141"/>
                  <a:gd name="T48" fmla="*/ 34 w 80"/>
                  <a:gd name="T49" fmla="*/ 127 h 141"/>
                  <a:gd name="T50" fmla="*/ 36 w 80"/>
                  <a:gd name="T51" fmla="*/ 125 h 141"/>
                  <a:gd name="T52" fmla="*/ 38 w 80"/>
                  <a:gd name="T53" fmla="*/ 123 h 141"/>
                  <a:gd name="T54" fmla="*/ 40 w 80"/>
                  <a:gd name="T55" fmla="*/ 123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0" h="141">
                    <a:moveTo>
                      <a:pt x="40" y="123"/>
                    </a:moveTo>
                    <a:lnTo>
                      <a:pt x="80" y="36"/>
                    </a:lnTo>
                    <a:lnTo>
                      <a:pt x="80" y="18"/>
                    </a:lnTo>
                    <a:lnTo>
                      <a:pt x="68" y="17"/>
                    </a:lnTo>
                    <a:lnTo>
                      <a:pt x="59" y="16"/>
                    </a:lnTo>
                    <a:lnTo>
                      <a:pt x="53" y="14"/>
                    </a:lnTo>
                    <a:lnTo>
                      <a:pt x="47" y="11"/>
                    </a:lnTo>
                    <a:lnTo>
                      <a:pt x="44" y="8"/>
                    </a:lnTo>
                    <a:lnTo>
                      <a:pt x="42" y="5"/>
                    </a:lnTo>
                    <a:lnTo>
                      <a:pt x="41" y="2"/>
                    </a:lnTo>
                    <a:lnTo>
                      <a:pt x="40" y="0"/>
                    </a:lnTo>
                    <a:lnTo>
                      <a:pt x="0" y="0"/>
                    </a:lnTo>
                    <a:lnTo>
                      <a:pt x="0" y="23"/>
                    </a:lnTo>
                    <a:lnTo>
                      <a:pt x="0" y="40"/>
                    </a:lnTo>
                    <a:lnTo>
                      <a:pt x="0" y="52"/>
                    </a:lnTo>
                    <a:lnTo>
                      <a:pt x="0" y="61"/>
                    </a:lnTo>
                    <a:lnTo>
                      <a:pt x="1" y="69"/>
                    </a:lnTo>
                    <a:lnTo>
                      <a:pt x="3" y="78"/>
                    </a:lnTo>
                    <a:lnTo>
                      <a:pt x="7" y="88"/>
                    </a:lnTo>
                    <a:lnTo>
                      <a:pt x="11" y="99"/>
                    </a:lnTo>
                    <a:lnTo>
                      <a:pt x="20" y="121"/>
                    </a:lnTo>
                    <a:lnTo>
                      <a:pt x="27" y="141"/>
                    </a:lnTo>
                    <a:lnTo>
                      <a:pt x="31" y="135"/>
                    </a:lnTo>
                    <a:lnTo>
                      <a:pt x="33" y="129"/>
                    </a:lnTo>
                    <a:lnTo>
                      <a:pt x="34" y="127"/>
                    </a:lnTo>
                    <a:lnTo>
                      <a:pt x="36" y="125"/>
                    </a:lnTo>
                    <a:lnTo>
                      <a:pt x="38" y="123"/>
                    </a:lnTo>
                    <a:lnTo>
                      <a:pt x="40" y="12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1" name="Freeform 420"/>
              <p:cNvSpPr>
                <a:spLocks/>
              </p:cNvSpPr>
              <p:nvPr/>
            </p:nvSpPr>
            <p:spPr bwMode="auto">
              <a:xfrm>
                <a:off x="1379" y="1383"/>
                <a:ext cx="83" cy="41"/>
              </a:xfrm>
              <a:custGeom>
                <a:avLst/>
                <a:gdLst>
                  <a:gd name="T0" fmla="*/ 0 w 259"/>
                  <a:gd name="T1" fmla="*/ 93 h 124"/>
                  <a:gd name="T2" fmla="*/ 0 w 259"/>
                  <a:gd name="T3" fmla="*/ 96 h 124"/>
                  <a:gd name="T4" fmla="*/ 2 w 259"/>
                  <a:gd name="T5" fmla="*/ 100 h 124"/>
                  <a:gd name="T6" fmla="*/ 4 w 259"/>
                  <a:gd name="T7" fmla="*/ 103 h 124"/>
                  <a:gd name="T8" fmla="*/ 6 w 259"/>
                  <a:gd name="T9" fmla="*/ 106 h 124"/>
                  <a:gd name="T10" fmla="*/ 14 w 259"/>
                  <a:gd name="T11" fmla="*/ 111 h 124"/>
                  <a:gd name="T12" fmla="*/ 23 w 259"/>
                  <a:gd name="T13" fmla="*/ 115 h 124"/>
                  <a:gd name="T14" fmla="*/ 31 w 259"/>
                  <a:gd name="T15" fmla="*/ 120 h 124"/>
                  <a:gd name="T16" fmla="*/ 41 w 259"/>
                  <a:gd name="T17" fmla="*/ 122 h 124"/>
                  <a:gd name="T18" fmla="*/ 51 w 259"/>
                  <a:gd name="T19" fmla="*/ 124 h 124"/>
                  <a:gd name="T20" fmla="*/ 60 w 259"/>
                  <a:gd name="T21" fmla="*/ 124 h 124"/>
                  <a:gd name="T22" fmla="*/ 68 w 259"/>
                  <a:gd name="T23" fmla="*/ 124 h 124"/>
                  <a:gd name="T24" fmla="*/ 75 w 259"/>
                  <a:gd name="T25" fmla="*/ 123 h 124"/>
                  <a:gd name="T26" fmla="*/ 81 w 259"/>
                  <a:gd name="T27" fmla="*/ 122 h 124"/>
                  <a:gd name="T28" fmla="*/ 87 w 259"/>
                  <a:gd name="T29" fmla="*/ 120 h 124"/>
                  <a:gd name="T30" fmla="*/ 97 w 259"/>
                  <a:gd name="T31" fmla="*/ 114 h 124"/>
                  <a:gd name="T32" fmla="*/ 106 w 259"/>
                  <a:gd name="T33" fmla="*/ 108 h 124"/>
                  <a:gd name="T34" fmla="*/ 115 w 259"/>
                  <a:gd name="T35" fmla="*/ 103 h 124"/>
                  <a:gd name="T36" fmla="*/ 125 w 259"/>
                  <a:gd name="T37" fmla="*/ 98 h 124"/>
                  <a:gd name="T38" fmla="*/ 130 w 259"/>
                  <a:gd name="T39" fmla="*/ 96 h 124"/>
                  <a:gd name="T40" fmla="*/ 137 w 259"/>
                  <a:gd name="T41" fmla="*/ 94 h 124"/>
                  <a:gd name="T42" fmla="*/ 145 w 259"/>
                  <a:gd name="T43" fmla="*/ 93 h 124"/>
                  <a:gd name="T44" fmla="*/ 152 w 259"/>
                  <a:gd name="T45" fmla="*/ 93 h 124"/>
                  <a:gd name="T46" fmla="*/ 162 w 259"/>
                  <a:gd name="T47" fmla="*/ 94 h 124"/>
                  <a:gd name="T48" fmla="*/ 171 w 259"/>
                  <a:gd name="T49" fmla="*/ 96 h 124"/>
                  <a:gd name="T50" fmla="*/ 180 w 259"/>
                  <a:gd name="T51" fmla="*/ 99 h 124"/>
                  <a:gd name="T52" fmla="*/ 188 w 259"/>
                  <a:gd name="T53" fmla="*/ 103 h 124"/>
                  <a:gd name="T54" fmla="*/ 204 w 259"/>
                  <a:gd name="T55" fmla="*/ 111 h 124"/>
                  <a:gd name="T56" fmla="*/ 219 w 259"/>
                  <a:gd name="T57" fmla="*/ 117 h 124"/>
                  <a:gd name="T58" fmla="*/ 259 w 259"/>
                  <a:gd name="T59" fmla="*/ 117 h 124"/>
                  <a:gd name="T60" fmla="*/ 259 w 259"/>
                  <a:gd name="T61" fmla="*/ 99 h 124"/>
                  <a:gd name="T62" fmla="*/ 252 w 259"/>
                  <a:gd name="T63" fmla="*/ 98 h 124"/>
                  <a:gd name="T64" fmla="*/ 244 w 259"/>
                  <a:gd name="T65" fmla="*/ 96 h 124"/>
                  <a:gd name="T66" fmla="*/ 236 w 259"/>
                  <a:gd name="T67" fmla="*/ 94 h 124"/>
                  <a:gd name="T68" fmla="*/ 226 w 259"/>
                  <a:gd name="T69" fmla="*/ 93 h 124"/>
                  <a:gd name="T70" fmla="*/ 230 w 259"/>
                  <a:gd name="T71" fmla="*/ 85 h 124"/>
                  <a:gd name="T72" fmla="*/ 236 w 259"/>
                  <a:gd name="T73" fmla="*/ 79 h 124"/>
                  <a:gd name="T74" fmla="*/ 240 w 259"/>
                  <a:gd name="T75" fmla="*/ 74 h 124"/>
                  <a:gd name="T76" fmla="*/ 246 w 259"/>
                  <a:gd name="T77" fmla="*/ 69 h 124"/>
                  <a:gd name="T78" fmla="*/ 238 w 259"/>
                  <a:gd name="T79" fmla="*/ 61 h 124"/>
                  <a:gd name="T80" fmla="*/ 230 w 259"/>
                  <a:gd name="T81" fmla="*/ 56 h 124"/>
                  <a:gd name="T82" fmla="*/ 222 w 259"/>
                  <a:gd name="T83" fmla="*/ 50 h 124"/>
                  <a:gd name="T84" fmla="*/ 214 w 259"/>
                  <a:gd name="T85" fmla="*/ 46 h 124"/>
                  <a:gd name="T86" fmla="*/ 197 w 259"/>
                  <a:gd name="T87" fmla="*/ 37 h 124"/>
                  <a:gd name="T88" fmla="*/ 182 w 259"/>
                  <a:gd name="T89" fmla="*/ 30 h 124"/>
                  <a:gd name="T90" fmla="*/ 166 w 259"/>
                  <a:gd name="T91" fmla="*/ 23 h 124"/>
                  <a:gd name="T92" fmla="*/ 153 w 259"/>
                  <a:gd name="T93" fmla="*/ 17 h 124"/>
                  <a:gd name="T94" fmla="*/ 147 w 259"/>
                  <a:gd name="T95" fmla="*/ 13 h 124"/>
                  <a:gd name="T96" fmla="*/ 141 w 259"/>
                  <a:gd name="T97" fmla="*/ 10 h 124"/>
                  <a:gd name="T98" fmla="*/ 137 w 259"/>
                  <a:gd name="T99" fmla="*/ 5 h 124"/>
                  <a:gd name="T100" fmla="*/ 132 w 259"/>
                  <a:gd name="T101" fmla="*/ 0 h 124"/>
                  <a:gd name="T102" fmla="*/ 124 w 259"/>
                  <a:gd name="T103" fmla="*/ 3 h 124"/>
                  <a:gd name="T104" fmla="*/ 114 w 259"/>
                  <a:gd name="T105" fmla="*/ 7 h 124"/>
                  <a:gd name="T106" fmla="*/ 105 w 259"/>
                  <a:gd name="T107" fmla="*/ 12 h 124"/>
                  <a:gd name="T108" fmla="*/ 95 w 259"/>
                  <a:gd name="T109" fmla="*/ 17 h 124"/>
                  <a:gd name="T110" fmla="*/ 75 w 259"/>
                  <a:gd name="T111" fmla="*/ 29 h 124"/>
                  <a:gd name="T112" fmla="*/ 57 w 259"/>
                  <a:gd name="T113" fmla="*/ 42 h 124"/>
                  <a:gd name="T114" fmla="*/ 38 w 259"/>
                  <a:gd name="T115" fmla="*/ 56 h 124"/>
                  <a:gd name="T116" fmla="*/ 23 w 259"/>
                  <a:gd name="T117" fmla="*/ 70 h 124"/>
                  <a:gd name="T118" fmla="*/ 9 w 259"/>
                  <a:gd name="T119" fmla="*/ 83 h 124"/>
                  <a:gd name="T120" fmla="*/ 0 w 259"/>
                  <a:gd name="T121" fmla="*/ 93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59" h="124">
                    <a:moveTo>
                      <a:pt x="0" y="93"/>
                    </a:moveTo>
                    <a:lnTo>
                      <a:pt x="0" y="96"/>
                    </a:lnTo>
                    <a:lnTo>
                      <a:pt x="2" y="100"/>
                    </a:lnTo>
                    <a:lnTo>
                      <a:pt x="4" y="103"/>
                    </a:lnTo>
                    <a:lnTo>
                      <a:pt x="6" y="106"/>
                    </a:lnTo>
                    <a:lnTo>
                      <a:pt x="14" y="111"/>
                    </a:lnTo>
                    <a:lnTo>
                      <a:pt x="23" y="115"/>
                    </a:lnTo>
                    <a:lnTo>
                      <a:pt x="31" y="120"/>
                    </a:lnTo>
                    <a:lnTo>
                      <a:pt x="41" y="122"/>
                    </a:lnTo>
                    <a:lnTo>
                      <a:pt x="51" y="124"/>
                    </a:lnTo>
                    <a:lnTo>
                      <a:pt x="60" y="124"/>
                    </a:lnTo>
                    <a:lnTo>
                      <a:pt x="68" y="124"/>
                    </a:lnTo>
                    <a:lnTo>
                      <a:pt x="75" y="123"/>
                    </a:lnTo>
                    <a:lnTo>
                      <a:pt x="81" y="122"/>
                    </a:lnTo>
                    <a:lnTo>
                      <a:pt x="87" y="120"/>
                    </a:lnTo>
                    <a:lnTo>
                      <a:pt x="97" y="114"/>
                    </a:lnTo>
                    <a:lnTo>
                      <a:pt x="106" y="108"/>
                    </a:lnTo>
                    <a:lnTo>
                      <a:pt x="115" y="103"/>
                    </a:lnTo>
                    <a:lnTo>
                      <a:pt x="125" y="98"/>
                    </a:lnTo>
                    <a:lnTo>
                      <a:pt x="130" y="96"/>
                    </a:lnTo>
                    <a:lnTo>
                      <a:pt x="137" y="94"/>
                    </a:lnTo>
                    <a:lnTo>
                      <a:pt x="145" y="93"/>
                    </a:lnTo>
                    <a:lnTo>
                      <a:pt x="152" y="93"/>
                    </a:lnTo>
                    <a:lnTo>
                      <a:pt x="162" y="94"/>
                    </a:lnTo>
                    <a:lnTo>
                      <a:pt x="171" y="96"/>
                    </a:lnTo>
                    <a:lnTo>
                      <a:pt x="180" y="99"/>
                    </a:lnTo>
                    <a:lnTo>
                      <a:pt x="188" y="103"/>
                    </a:lnTo>
                    <a:lnTo>
                      <a:pt x="204" y="111"/>
                    </a:lnTo>
                    <a:lnTo>
                      <a:pt x="219" y="117"/>
                    </a:lnTo>
                    <a:lnTo>
                      <a:pt x="259" y="117"/>
                    </a:lnTo>
                    <a:lnTo>
                      <a:pt x="259" y="99"/>
                    </a:lnTo>
                    <a:lnTo>
                      <a:pt x="252" y="98"/>
                    </a:lnTo>
                    <a:lnTo>
                      <a:pt x="244" y="96"/>
                    </a:lnTo>
                    <a:lnTo>
                      <a:pt x="236" y="94"/>
                    </a:lnTo>
                    <a:lnTo>
                      <a:pt x="226" y="93"/>
                    </a:lnTo>
                    <a:lnTo>
                      <a:pt x="230" y="85"/>
                    </a:lnTo>
                    <a:lnTo>
                      <a:pt x="236" y="79"/>
                    </a:lnTo>
                    <a:lnTo>
                      <a:pt x="240" y="74"/>
                    </a:lnTo>
                    <a:lnTo>
                      <a:pt x="246" y="69"/>
                    </a:lnTo>
                    <a:lnTo>
                      <a:pt x="238" y="61"/>
                    </a:lnTo>
                    <a:lnTo>
                      <a:pt x="230" y="56"/>
                    </a:lnTo>
                    <a:lnTo>
                      <a:pt x="222" y="50"/>
                    </a:lnTo>
                    <a:lnTo>
                      <a:pt x="214" y="46"/>
                    </a:lnTo>
                    <a:lnTo>
                      <a:pt x="197" y="37"/>
                    </a:lnTo>
                    <a:lnTo>
                      <a:pt x="182" y="30"/>
                    </a:lnTo>
                    <a:lnTo>
                      <a:pt x="166" y="23"/>
                    </a:lnTo>
                    <a:lnTo>
                      <a:pt x="153" y="17"/>
                    </a:lnTo>
                    <a:lnTo>
                      <a:pt x="147" y="13"/>
                    </a:lnTo>
                    <a:lnTo>
                      <a:pt x="141" y="10"/>
                    </a:lnTo>
                    <a:lnTo>
                      <a:pt x="137" y="5"/>
                    </a:lnTo>
                    <a:lnTo>
                      <a:pt x="132" y="0"/>
                    </a:lnTo>
                    <a:lnTo>
                      <a:pt x="124" y="3"/>
                    </a:lnTo>
                    <a:lnTo>
                      <a:pt x="114" y="7"/>
                    </a:lnTo>
                    <a:lnTo>
                      <a:pt x="105" y="12"/>
                    </a:lnTo>
                    <a:lnTo>
                      <a:pt x="95" y="17"/>
                    </a:lnTo>
                    <a:lnTo>
                      <a:pt x="75" y="29"/>
                    </a:lnTo>
                    <a:lnTo>
                      <a:pt x="57" y="42"/>
                    </a:lnTo>
                    <a:lnTo>
                      <a:pt x="38" y="56"/>
                    </a:lnTo>
                    <a:lnTo>
                      <a:pt x="23" y="70"/>
                    </a:lnTo>
                    <a:lnTo>
                      <a:pt x="9" y="83"/>
                    </a:lnTo>
                    <a:lnTo>
                      <a:pt x="0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2" name="Freeform 421"/>
              <p:cNvSpPr>
                <a:spLocks/>
              </p:cNvSpPr>
              <p:nvPr/>
            </p:nvSpPr>
            <p:spPr bwMode="auto">
              <a:xfrm>
                <a:off x="1509" y="1389"/>
                <a:ext cx="38" cy="19"/>
              </a:xfrm>
              <a:custGeom>
                <a:avLst/>
                <a:gdLst>
                  <a:gd name="T0" fmla="*/ 0 w 119"/>
                  <a:gd name="T1" fmla="*/ 32 h 57"/>
                  <a:gd name="T2" fmla="*/ 7 w 119"/>
                  <a:gd name="T3" fmla="*/ 35 h 57"/>
                  <a:gd name="T4" fmla="*/ 14 w 119"/>
                  <a:gd name="T5" fmla="*/ 38 h 57"/>
                  <a:gd name="T6" fmla="*/ 20 w 119"/>
                  <a:gd name="T7" fmla="*/ 42 h 57"/>
                  <a:gd name="T8" fmla="*/ 26 w 119"/>
                  <a:gd name="T9" fmla="*/ 47 h 57"/>
                  <a:gd name="T10" fmla="*/ 32 w 119"/>
                  <a:gd name="T11" fmla="*/ 51 h 57"/>
                  <a:gd name="T12" fmla="*/ 36 w 119"/>
                  <a:gd name="T13" fmla="*/ 54 h 57"/>
                  <a:gd name="T14" fmla="*/ 41 w 119"/>
                  <a:gd name="T15" fmla="*/ 56 h 57"/>
                  <a:gd name="T16" fmla="*/ 47 w 119"/>
                  <a:gd name="T17" fmla="*/ 57 h 57"/>
                  <a:gd name="T18" fmla="*/ 55 w 119"/>
                  <a:gd name="T19" fmla="*/ 57 h 57"/>
                  <a:gd name="T20" fmla="*/ 62 w 119"/>
                  <a:gd name="T21" fmla="*/ 56 h 57"/>
                  <a:gd name="T22" fmla="*/ 70 w 119"/>
                  <a:gd name="T23" fmla="*/ 55 h 57"/>
                  <a:gd name="T24" fmla="*/ 77 w 119"/>
                  <a:gd name="T25" fmla="*/ 53 h 57"/>
                  <a:gd name="T26" fmla="*/ 83 w 119"/>
                  <a:gd name="T27" fmla="*/ 50 h 57"/>
                  <a:gd name="T28" fmla="*/ 89 w 119"/>
                  <a:gd name="T29" fmla="*/ 48 h 57"/>
                  <a:gd name="T30" fmla="*/ 93 w 119"/>
                  <a:gd name="T31" fmla="*/ 44 h 57"/>
                  <a:gd name="T32" fmla="*/ 97 w 119"/>
                  <a:gd name="T33" fmla="*/ 40 h 57"/>
                  <a:gd name="T34" fmla="*/ 106 w 119"/>
                  <a:gd name="T35" fmla="*/ 32 h 57"/>
                  <a:gd name="T36" fmla="*/ 112 w 119"/>
                  <a:gd name="T37" fmla="*/ 23 h 57"/>
                  <a:gd name="T38" fmla="*/ 116 w 119"/>
                  <a:gd name="T39" fmla="*/ 13 h 57"/>
                  <a:gd name="T40" fmla="*/ 119 w 119"/>
                  <a:gd name="T41" fmla="*/ 1 h 57"/>
                  <a:gd name="T42" fmla="*/ 101 w 119"/>
                  <a:gd name="T43" fmla="*/ 0 h 57"/>
                  <a:gd name="T44" fmla="*/ 82 w 119"/>
                  <a:gd name="T45" fmla="*/ 0 h 57"/>
                  <a:gd name="T46" fmla="*/ 63 w 119"/>
                  <a:gd name="T47" fmla="*/ 2 h 57"/>
                  <a:gd name="T48" fmla="*/ 45 w 119"/>
                  <a:gd name="T49" fmla="*/ 5 h 57"/>
                  <a:gd name="T50" fmla="*/ 36 w 119"/>
                  <a:gd name="T51" fmla="*/ 7 h 57"/>
                  <a:gd name="T52" fmla="*/ 28 w 119"/>
                  <a:gd name="T53" fmla="*/ 10 h 57"/>
                  <a:gd name="T54" fmla="*/ 22 w 119"/>
                  <a:gd name="T55" fmla="*/ 13 h 57"/>
                  <a:gd name="T56" fmla="*/ 15 w 119"/>
                  <a:gd name="T57" fmla="*/ 16 h 57"/>
                  <a:gd name="T58" fmla="*/ 10 w 119"/>
                  <a:gd name="T59" fmla="*/ 19 h 57"/>
                  <a:gd name="T60" fmla="*/ 5 w 119"/>
                  <a:gd name="T61" fmla="*/ 23 h 57"/>
                  <a:gd name="T62" fmla="*/ 2 w 119"/>
                  <a:gd name="T63" fmla="*/ 27 h 57"/>
                  <a:gd name="T64" fmla="*/ 0 w 119"/>
                  <a:gd name="T65" fmla="*/ 3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19" h="57">
                    <a:moveTo>
                      <a:pt x="0" y="32"/>
                    </a:moveTo>
                    <a:lnTo>
                      <a:pt x="7" y="35"/>
                    </a:lnTo>
                    <a:lnTo>
                      <a:pt x="14" y="38"/>
                    </a:lnTo>
                    <a:lnTo>
                      <a:pt x="20" y="42"/>
                    </a:lnTo>
                    <a:lnTo>
                      <a:pt x="26" y="47"/>
                    </a:lnTo>
                    <a:lnTo>
                      <a:pt x="32" y="51"/>
                    </a:lnTo>
                    <a:lnTo>
                      <a:pt x="36" y="54"/>
                    </a:lnTo>
                    <a:lnTo>
                      <a:pt x="41" y="56"/>
                    </a:lnTo>
                    <a:lnTo>
                      <a:pt x="47" y="57"/>
                    </a:lnTo>
                    <a:lnTo>
                      <a:pt x="55" y="57"/>
                    </a:lnTo>
                    <a:lnTo>
                      <a:pt x="62" y="56"/>
                    </a:lnTo>
                    <a:lnTo>
                      <a:pt x="70" y="55"/>
                    </a:lnTo>
                    <a:lnTo>
                      <a:pt x="77" y="53"/>
                    </a:lnTo>
                    <a:lnTo>
                      <a:pt x="83" y="50"/>
                    </a:lnTo>
                    <a:lnTo>
                      <a:pt x="89" y="48"/>
                    </a:lnTo>
                    <a:lnTo>
                      <a:pt x="93" y="44"/>
                    </a:lnTo>
                    <a:lnTo>
                      <a:pt x="97" y="40"/>
                    </a:lnTo>
                    <a:lnTo>
                      <a:pt x="106" y="32"/>
                    </a:lnTo>
                    <a:lnTo>
                      <a:pt x="112" y="23"/>
                    </a:lnTo>
                    <a:lnTo>
                      <a:pt x="116" y="13"/>
                    </a:lnTo>
                    <a:lnTo>
                      <a:pt x="119" y="1"/>
                    </a:lnTo>
                    <a:lnTo>
                      <a:pt x="101" y="0"/>
                    </a:lnTo>
                    <a:lnTo>
                      <a:pt x="82" y="0"/>
                    </a:lnTo>
                    <a:lnTo>
                      <a:pt x="63" y="2"/>
                    </a:lnTo>
                    <a:lnTo>
                      <a:pt x="45" y="5"/>
                    </a:lnTo>
                    <a:lnTo>
                      <a:pt x="36" y="7"/>
                    </a:lnTo>
                    <a:lnTo>
                      <a:pt x="28" y="10"/>
                    </a:lnTo>
                    <a:lnTo>
                      <a:pt x="22" y="13"/>
                    </a:lnTo>
                    <a:lnTo>
                      <a:pt x="15" y="16"/>
                    </a:lnTo>
                    <a:lnTo>
                      <a:pt x="10" y="19"/>
                    </a:lnTo>
                    <a:lnTo>
                      <a:pt x="5" y="23"/>
                    </a:lnTo>
                    <a:lnTo>
                      <a:pt x="2" y="27"/>
                    </a:lnTo>
                    <a:lnTo>
                      <a:pt x="0" y="3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3" name="Freeform 422"/>
              <p:cNvSpPr>
                <a:spLocks/>
              </p:cNvSpPr>
              <p:nvPr/>
            </p:nvSpPr>
            <p:spPr bwMode="auto">
              <a:xfrm>
                <a:off x="1554" y="1335"/>
                <a:ext cx="34" cy="17"/>
              </a:xfrm>
              <a:custGeom>
                <a:avLst/>
                <a:gdLst>
                  <a:gd name="T0" fmla="*/ 0 w 107"/>
                  <a:gd name="T1" fmla="*/ 50 h 52"/>
                  <a:gd name="T2" fmla="*/ 6 w 107"/>
                  <a:gd name="T3" fmla="*/ 51 h 52"/>
                  <a:gd name="T4" fmla="*/ 9 w 107"/>
                  <a:gd name="T5" fmla="*/ 52 h 52"/>
                  <a:gd name="T6" fmla="*/ 13 w 107"/>
                  <a:gd name="T7" fmla="*/ 52 h 52"/>
                  <a:gd name="T8" fmla="*/ 17 w 107"/>
                  <a:gd name="T9" fmla="*/ 52 h 52"/>
                  <a:gd name="T10" fmla="*/ 24 w 107"/>
                  <a:gd name="T11" fmla="*/ 50 h 52"/>
                  <a:gd name="T12" fmla="*/ 34 w 107"/>
                  <a:gd name="T13" fmla="*/ 50 h 52"/>
                  <a:gd name="T14" fmla="*/ 43 w 107"/>
                  <a:gd name="T15" fmla="*/ 49 h 52"/>
                  <a:gd name="T16" fmla="*/ 53 w 107"/>
                  <a:gd name="T17" fmla="*/ 48 h 52"/>
                  <a:gd name="T18" fmla="*/ 62 w 107"/>
                  <a:gd name="T19" fmla="*/ 47 h 52"/>
                  <a:gd name="T20" fmla="*/ 70 w 107"/>
                  <a:gd name="T21" fmla="*/ 43 h 52"/>
                  <a:gd name="T22" fmla="*/ 79 w 107"/>
                  <a:gd name="T23" fmla="*/ 40 h 52"/>
                  <a:gd name="T24" fmla="*/ 88 w 107"/>
                  <a:gd name="T25" fmla="*/ 36 h 52"/>
                  <a:gd name="T26" fmla="*/ 97 w 107"/>
                  <a:gd name="T27" fmla="*/ 31 h 52"/>
                  <a:gd name="T28" fmla="*/ 107 w 107"/>
                  <a:gd name="T29" fmla="*/ 24 h 52"/>
                  <a:gd name="T30" fmla="*/ 107 w 107"/>
                  <a:gd name="T31" fmla="*/ 0 h 52"/>
                  <a:gd name="T32" fmla="*/ 98 w 107"/>
                  <a:gd name="T33" fmla="*/ 1 h 52"/>
                  <a:gd name="T34" fmla="*/ 86 w 107"/>
                  <a:gd name="T35" fmla="*/ 3 h 52"/>
                  <a:gd name="T36" fmla="*/ 72 w 107"/>
                  <a:gd name="T37" fmla="*/ 7 h 52"/>
                  <a:gd name="T38" fmla="*/ 56 w 107"/>
                  <a:gd name="T39" fmla="*/ 13 h 52"/>
                  <a:gd name="T40" fmla="*/ 41 w 107"/>
                  <a:gd name="T41" fmla="*/ 20 h 52"/>
                  <a:gd name="T42" fmla="*/ 25 w 107"/>
                  <a:gd name="T43" fmla="*/ 28 h 52"/>
                  <a:gd name="T44" fmla="*/ 19 w 107"/>
                  <a:gd name="T45" fmla="*/ 33 h 52"/>
                  <a:gd name="T46" fmla="*/ 12 w 107"/>
                  <a:gd name="T47" fmla="*/ 38 h 52"/>
                  <a:gd name="T48" fmla="*/ 6 w 107"/>
                  <a:gd name="T49" fmla="*/ 43 h 52"/>
                  <a:gd name="T50" fmla="*/ 0 w 107"/>
                  <a:gd name="T51" fmla="*/ 50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07" h="52">
                    <a:moveTo>
                      <a:pt x="0" y="50"/>
                    </a:moveTo>
                    <a:lnTo>
                      <a:pt x="6" y="51"/>
                    </a:lnTo>
                    <a:lnTo>
                      <a:pt x="9" y="52"/>
                    </a:lnTo>
                    <a:lnTo>
                      <a:pt x="13" y="52"/>
                    </a:lnTo>
                    <a:lnTo>
                      <a:pt x="17" y="52"/>
                    </a:lnTo>
                    <a:lnTo>
                      <a:pt x="24" y="50"/>
                    </a:lnTo>
                    <a:lnTo>
                      <a:pt x="34" y="50"/>
                    </a:lnTo>
                    <a:lnTo>
                      <a:pt x="43" y="49"/>
                    </a:lnTo>
                    <a:lnTo>
                      <a:pt x="53" y="48"/>
                    </a:lnTo>
                    <a:lnTo>
                      <a:pt x="62" y="47"/>
                    </a:lnTo>
                    <a:lnTo>
                      <a:pt x="70" y="43"/>
                    </a:lnTo>
                    <a:lnTo>
                      <a:pt x="79" y="40"/>
                    </a:lnTo>
                    <a:lnTo>
                      <a:pt x="88" y="36"/>
                    </a:lnTo>
                    <a:lnTo>
                      <a:pt x="97" y="31"/>
                    </a:lnTo>
                    <a:lnTo>
                      <a:pt x="107" y="24"/>
                    </a:lnTo>
                    <a:lnTo>
                      <a:pt x="107" y="0"/>
                    </a:lnTo>
                    <a:lnTo>
                      <a:pt x="98" y="1"/>
                    </a:lnTo>
                    <a:lnTo>
                      <a:pt x="86" y="3"/>
                    </a:lnTo>
                    <a:lnTo>
                      <a:pt x="72" y="7"/>
                    </a:lnTo>
                    <a:lnTo>
                      <a:pt x="56" y="13"/>
                    </a:lnTo>
                    <a:lnTo>
                      <a:pt x="41" y="20"/>
                    </a:lnTo>
                    <a:lnTo>
                      <a:pt x="25" y="28"/>
                    </a:lnTo>
                    <a:lnTo>
                      <a:pt x="19" y="33"/>
                    </a:lnTo>
                    <a:lnTo>
                      <a:pt x="12" y="38"/>
                    </a:lnTo>
                    <a:lnTo>
                      <a:pt x="6" y="43"/>
                    </a:lnTo>
                    <a:lnTo>
                      <a:pt x="0" y="5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4" name="Freeform 423"/>
              <p:cNvSpPr>
                <a:spLocks/>
              </p:cNvSpPr>
              <p:nvPr/>
            </p:nvSpPr>
            <p:spPr bwMode="auto">
              <a:xfrm>
                <a:off x="1381" y="1244"/>
                <a:ext cx="79" cy="32"/>
              </a:xfrm>
              <a:custGeom>
                <a:avLst/>
                <a:gdLst>
                  <a:gd name="T0" fmla="*/ 27 w 246"/>
                  <a:gd name="T1" fmla="*/ 99 h 99"/>
                  <a:gd name="T2" fmla="*/ 22 w 246"/>
                  <a:gd name="T3" fmla="*/ 97 h 99"/>
                  <a:gd name="T4" fmla="*/ 17 w 246"/>
                  <a:gd name="T5" fmla="*/ 96 h 99"/>
                  <a:gd name="T6" fmla="*/ 12 w 246"/>
                  <a:gd name="T7" fmla="*/ 93 h 99"/>
                  <a:gd name="T8" fmla="*/ 9 w 246"/>
                  <a:gd name="T9" fmla="*/ 90 h 99"/>
                  <a:gd name="T10" fmla="*/ 6 w 246"/>
                  <a:gd name="T11" fmla="*/ 86 h 99"/>
                  <a:gd name="T12" fmla="*/ 2 w 246"/>
                  <a:gd name="T13" fmla="*/ 82 h 99"/>
                  <a:gd name="T14" fmla="*/ 1 w 246"/>
                  <a:gd name="T15" fmla="*/ 78 h 99"/>
                  <a:gd name="T16" fmla="*/ 0 w 246"/>
                  <a:gd name="T17" fmla="*/ 73 h 99"/>
                  <a:gd name="T18" fmla="*/ 0 w 246"/>
                  <a:gd name="T19" fmla="*/ 69 h 99"/>
                  <a:gd name="T20" fmla="*/ 1 w 246"/>
                  <a:gd name="T21" fmla="*/ 65 h 99"/>
                  <a:gd name="T22" fmla="*/ 3 w 246"/>
                  <a:gd name="T23" fmla="*/ 60 h 99"/>
                  <a:gd name="T24" fmla="*/ 5 w 246"/>
                  <a:gd name="T25" fmla="*/ 56 h 99"/>
                  <a:gd name="T26" fmla="*/ 10 w 246"/>
                  <a:gd name="T27" fmla="*/ 49 h 99"/>
                  <a:gd name="T28" fmla="*/ 18 w 246"/>
                  <a:gd name="T29" fmla="*/ 41 h 99"/>
                  <a:gd name="T30" fmla="*/ 25 w 246"/>
                  <a:gd name="T31" fmla="*/ 34 h 99"/>
                  <a:gd name="T32" fmla="*/ 35 w 246"/>
                  <a:gd name="T33" fmla="*/ 28 h 99"/>
                  <a:gd name="T34" fmla="*/ 46 w 246"/>
                  <a:gd name="T35" fmla="*/ 23 h 99"/>
                  <a:gd name="T36" fmla="*/ 57 w 246"/>
                  <a:gd name="T37" fmla="*/ 18 h 99"/>
                  <a:gd name="T38" fmla="*/ 69 w 246"/>
                  <a:gd name="T39" fmla="*/ 14 h 99"/>
                  <a:gd name="T40" fmla="*/ 81 w 246"/>
                  <a:gd name="T41" fmla="*/ 10 h 99"/>
                  <a:gd name="T42" fmla="*/ 92 w 246"/>
                  <a:gd name="T43" fmla="*/ 7 h 99"/>
                  <a:gd name="T44" fmla="*/ 104 w 246"/>
                  <a:gd name="T45" fmla="*/ 4 h 99"/>
                  <a:gd name="T46" fmla="*/ 124 w 246"/>
                  <a:gd name="T47" fmla="*/ 1 h 99"/>
                  <a:gd name="T48" fmla="*/ 140 w 246"/>
                  <a:gd name="T49" fmla="*/ 0 h 99"/>
                  <a:gd name="T50" fmla="*/ 168 w 246"/>
                  <a:gd name="T51" fmla="*/ 0 h 99"/>
                  <a:gd name="T52" fmla="*/ 193 w 246"/>
                  <a:gd name="T53" fmla="*/ 1 h 99"/>
                  <a:gd name="T54" fmla="*/ 219 w 246"/>
                  <a:gd name="T55" fmla="*/ 2 h 99"/>
                  <a:gd name="T56" fmla="*/ 246 w 246"/>
                  <a:gd name="T57" fmla="*/ 6 h 99"/>
                  <a:gd name="T58" fmla="*/ 244 w 246"/>
                  <a:gd name="T59" fmla="*/ 11 h 99"/>
                  <a:gd name="T60" fmla="*/ 241 w 246"/>
                  <a:gd name="T61" fmla="*/ 15 h 99"/>
                  <a:gd name="T62" fmla="*/ 236 w 246"/>
                  <a:gd name="T63" fmla="*/ 20 h 99"/>
                  <a:gd name="T64" fmla="*/ 231 w 246"/>
                  <a:gd name="T65" fmla="*/ 26 h 99"/>
                  <a:gd name="T66" fmla="*/ 215 w 246"/>
                  <a:gd name="T67" fmla="*/ 36 h 99"/>
                  <a:gd name="T68" fmla="*/ 199 w 246"/>
                  <a:gd name="T69" fmla="*/ 46 h 99"/>
                  <a:gd name="T70" fmla="*/ 180 w 246"/>
                  <a:gd name="T71" fmla="*/ 55 h 99"/>
                  <a:gd name="T72" fmla="*/ 162 w 246"/>
                  <a:gd name="T73" fmla="*/ 61 h 99"/>
                  <a:gd name="T74" fmla="*/ 152 w 246"/>
                  <a:gd name="T75" fmla="*/ 64 h 99"/>
                  <a:gd name="T76" fmla="*/ 143 w 246"/>
                  <a:gd name="T77" fmla="*/ 66 h 99"/>
                  <a:gd name="T78" fmla="*/ 134 w 246"/>
                  <a:gd name="T79" fmla="*/ 67 h 99"/>
                  <a:gd name="T80" fmla="*/ 126 w 246"/>
                  <a:gd name="T81" fmla="*/ 67 h 99"/>
                  <a:gd name="T82" fmla="*/ 120 w 246"/>
                  <a:gd name="T83" fmla="*/ 67 h 99"/>
                  <a:gd name="T84" fmla="*/ 110 w 246"/>
                  <a:gd name="T85" fmla="*/ 67 h 99"/>
                  <a:gd name="T86" fmla="*/ 100 w 246"/>
                  <a:gd name="T87" fmla="*/ 67 h 99"/>
                  <a:gd name="T88" fmla="*/ 93 w 246"/>
                  <a:gd name="T89" fmla="*/ 67 h 99"/>
                  <a:gd name="T90" fmla="*/ 88 w 246"/>
                  <a:gd name="T91" fmla="*/ 69 h 99"/>
                  <a:gd name="T92" fmla="*/ 80 w 246"/>
                  <a:gd name="T93" fmla="*/ 72 h 99"/>
                  <a:gd name="T94" fmla="*/ 72 w 246"/>
                  <a:gd name="T95" fmla="*/ 77 h 99"/>
                  <a:gd name="T96" fmla="*/ 63 w 246"/>
                  <a:gd name="T97" fmla="*/ 83 h 99"/>
                  <a:gd name="T98" fmla="*/ 53 w 246"/>
                  <a:gd name="T99" fmla="*/ 88 h 99"/>
                  <a:gd name="T100" fmla="*/ 44 w 246"/>
                  <a:gd name="T101" fmla="*/ 93 h 99"/>
                  <a:gd name="T102" fmla="*/ 35 w 246"/>
                  <a:gd name="T103" fmla="*/ 96 h 99"/>
                  <a:gd name="T104" fmla="*/ 27 w 246"/>
                  <a:gd name="T105" fmla="*/ 99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6" h="99">
                    <a:moveTo>
                      <a:pt x="27" y="99"/>
                    </a:moveTo>
                    <a:lnTo>
                      <a:pt x="22" y="97"/>
                    </a:lnTo>
                    <a:lnTo>
                      <a:pt x="17" y="96"/>
                    </a:lnTo>
                    <a:lnTo>
                      <a:pt x="12" y="93"/>
                    </a:lnTo>
                    <a:lnTo>
                      <a:pt x="9" y="90"/>
                    </a:lnTo>
                    <a:lnTo>
                      <a:pt x="6" y="86"/>
                    </a:lnTo>
                    <a:lnTo>
                      <a:pt x="2" y="82"/>
                    </a:lnTo>
                    <a:lnTo>
                      <a:pt x="1" y="78"/>
                    </a:lnTo>
                    <a:lnTo>
                      <a:pt x="0" y="73"/>
                    </a:lnTo>
                    <a:lnTo>
                      <a:pt x="0" y="69"/>
                    </a:lnTo>
                    <a:lnTo>
                      <a:pt x="1" y="65"/>
                    </a:lnTo>
                    <a:lnTo>
                      <a:pt x="3" y="60"/>
                    </a:lnTo>
                    <a:lnTo>
                      <a:pt x="5" y="56"/>
                    </a:lnTo>
                    <a:lnTo>
                      <a:pt x="10" y="49"/>
                    </a:lnTo>
                    <a:lnTo>
                      <a:pt x="18" y="41"/>
                    </a:lnTo>
                    <a:lnTo>
                      <a:pt x="25" y="34"/>
                    </a:lnTo>
                    <a:lnTo>
                      <a:pt x="35" y="28"/>
                    </a:lnTo>
                    <a:lnTo>
                      <a:pt x="46" y="23"/>
                    </a:lnTo>
                    <a:lnTo>
                      <a:pt x="57" y="18"/>
                    </a:lnTo>
                    <a:lnTo>
                      <a:pt x="69" y="14"/>
                    </a:lnTo>
                    <a:lnTo>
                      <a:pt x="81" y="10"/>
                    </a:lnTo>
                    <a:lnTo>
                      <a:pt x="92" y="7"/>
                    </a:lnTo>
                    <a:lnTo>
                      <a:pt x="104" y="4"/>
                    </a:lnTo>
                    <a:lnTo>
                      <a:pt x="124" y="1"/>
                    </a:lnTo>
                    <a:lnTo>
                      <a:pt x="140" y="0"/>
                    </a:lnTo>
                    <a:lnTo>
                      <a:pt x="168" y="0"/>
                    </a:lnTo>
                    <a:lnTo>
                      <a:pt x="193" y="1"/>
                    </a:lnTo>
                    <a:lnTo>
                      <a:pt x="219" y="2"/>
                    </a:lnTo>
                    <a:lnTo>
                      <a:pt x="246" y="6"/>
                    </a:lnTo>
                    <a:lnTo>
                      <a:pt x="244" y="11"/>
                    </a:lnTo>
                    <a:lnTo>
                      <a:pt x="241" y="15"/>
                    </a:lnTo>
                    <a:lnTo>
                      <a:pt x="236" y="20"/>
                    </a:lnTo>
                    <a:lnTo>
                      <a:pt x="231" y="26"/>
                    </a:lnTo>
                    <a:lnTo>
                      <a:pt x="215" y="36"/>
                    </a:lnTo>
                    <a:lnTo>
                      <a:pt x="199" y="46"/>
                    </a:lnTo>
                    <a:lnTo>
                      <a:pt x="180" y="55"/>
                    </a:lnTo>
                    <a:lnTo>
                      <a:pt x="162" y="61"/>
                    </a:lnTo>
                    <a:lnTo>
                      <a:pt x="152" y="64"/>
                    </a:lnTo>
                    <a:lnTo>
                      <a:pt x="143" y="66"/>
                    </a:lnTo>
                    <a:lnTo>
                      <a:pt x="134" y="67"/>
                    </a:lnTo>
                    <a:lnTo>
                      <a:pt x="126" y="67"/>
                    </a:lnTo>
                    <a:lnTo>
                      <a:pt x="120" y="67"/>
                    </a:lnTo>
                    <a:lnTo>
                      <a:pt x="110" y="67"/>
                    </a:lnTo>
                    <a:lnTo>
                      <a:pt x="100" y="67"/>
                    </a:lnTo>
                    <a:lnTo>
                      <a:pt x="93" y="67"/>
                    </a:lnTo>
                    <a:lnTo>
                      <a:pt x="88" y="69"/>
                    </a:lnTo>
                    <a:lnTo>
                      <a:pt x="80" y="72"/>
                    </a:lnTo>
                    <a:lnTo>
                      <a:pt x="72" y="77"/>
                    </a:lnTo>
                    <a:lnTo>
                      <a:pt x="63" y="83"/>
                    </a:lnTo>
                    <a:lnTo>
                      <a:pt x="53" y="88"/>
                    </a:lnTo>
                    <a:lnTo>
                      <a:pt x="44" y="93"/>
                    </a:lnTo>
                    <a:lnTo>
                      <a:pt x="35" y="96"/>
                    </a:lnTo>
                    <a:lnTo>
                      <a:pt x="27" y="99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5" name="Freeform 424"/>
              <p:cNvSpPr>
                <a:spLocks/>
              </p:cNvSpPr>
              <p:nvPr/>
            </p:nvSpPr>
            <p:spPr bwMode="auto">
              <a:xfrm>
                <a:off x="1294" y="1248"/>
                <a:ext cx="76" cy="40"/>
              </a:xfrm>
              <a:custGeom>
                <a:avLst/>
                <a:gdLst>
                  <a:gd name="T0" fmla="*/ 33 w 233"/>
                  <a:gd name="T1" fmla="*/ 88 h 123"/>
                  <a:gd name="T2" fmla="*/ 10 w 233"/>
                  <a:gd name="T3" fmla="*/ 78 h 123"/>
                  <a:gd name="T4" fmla="*/ 0 w 233"/>
                  <a:gd name="T5" fmla="*/ 55 h 123"/>
                  <a:gd name="T6" fmla="*/ 20 w 233"/>
                  <a:gd name="T7" fmla="*/ 37 h 123"/>
                  <a:gd name="T8" fmla="*/ 40 w 233"/>
                  <a:gd name="T9" fmla="*/ 37 h 123"/>
                  <a:gd name="T10" fmla="*/ 61 w 233"/>
                  <a:gd name="T11" fmla="*/ 37 h 123"/>
                  <a:gd name="T12" fmla="*/ 72 w 233"/>
                  <a:gd name="T13" fmla="*/ 36 h 123"/>
                  <a:gd name="T14" fmla="*/ 83 w 233"/>
                  <a:gd name="T15" fmla="*/ 33 h 123"/>
                  <a:gd name="T16" fmla="*/ 104 w 233"/>
                  <a:gd name="T17" fmla="*/ 23 h 123"/>
                  <a:gd name="T18" fmla="*/ 123 w 233"/>
                  <a:gd name="T19" fmla="*/ 11 h 123"/>
                  <a:gd name="T20" fmla="*/ 146 w 233"/>
                  <a:gd name="T21" fmla="*/ 0 h 123"/>
                  <a:gd name="T22" fmla="*/ 161 w 233"/>
                  <a:gd name="T23" fmla="*/ 8 h 123"/>
                  <a:gd name="T24" fmla="*/ 181 w 233"/>
                  <a:gd name="T25" fmla="*/ 12 h 123"/>
                  <a:gd name="T26" fmla="*/ 190 w 233"/>
                  <a:gd name="T27" fmla="*/ 10 h 123"/>
                  <a:gd name="T28" fmla="*/ 201 w 233"/>
                  <a:gd name="T29" fmla="*/ 6 h 123"/>
                  <a:gd name="T30" fmla="*/ 213 w 233"/>
                  <a:gd name="T31" fmla="*/ 0 h 123"/>
                  <a:gd name="T32" fmla="*/ 232 w 233"/>
                  <a:gd name="T33" fmla="*/ 6 h 123"/>
                  <a:gd name="T34" fmla="*/ 228 w 233"/>
                  <a:gd name="T35" fmla="*/ 18 h 123"/>
                  <a:gd name="T36" fmla="*/ 219 w 233"/>
                  <a:gd name="T37" fmla="*/ 25 h 123"/>
                  <a:gd name="T38" fmla="*/ 207 w 233"/>
                  <a:gd name="T39" fmla="*/ 30 h 123"/>
                  <a:gd name="T40" fmla="*/ 201 w 233"/>
                  <a:gd name="T41" fmla="*/ 43 h 123"/>
                  <a:gd name="T42" fmla="*/ 206 w 233"/>
                  <a:gd name="T43" fmla="*/ 62 h 123"/>
                  <a:gd name="T44" fmla="*/ 185 w 233"/>
                  <a:gd name="T45" fmla="*/ 85 h 123"/>
                  <a:gd name="T46" fmla="*/ 157 w 233"/>
                  <a:gd name="T47" fmla="*/ 96 h 123"/>
                  <a:gd name="T48" fmla="*/ 139 w 233"/>
                  <a:gd name="T49" fmla="*/ 98 h 123"/>
                  <a:gd name="T50" fmla="*/ 116 w 233"/>
                  <a:gd name="T51" fmla="*/ 100 h 123"/>
                  <a:gd name="T52" fmla="*/ 96 w 233"/>
                  <a:gd name="T53" fmla="*/ 106 h 123"/>
                  <a:gd name="T54" fmla="*/ 82 w 233"/>
                  <a:gd name="T55" fmla="*/ 115 h 123"/>
                  <a:gd name="T56" fmla="*/ 67 w 233"/>
                  <a:gd name="T57" fmla="*/ 122 h 123"/>
                  <a:gd name="T58" fmla="*/ 58 w 233"/>
                  <a:gd name="T59" fmla="*/ 122 h 123"/>
                  <a:gd name="T60" fmla="*/ 53 w 233"/>
                  <a:gd name="T61" fmla="*/ 115 h 123"/>
                  <a:gd name="T62" fmla="*/ 48 w 233"/>
                  <a:gd name="T63" fmla="*/ 10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3" h="123">
                    <a:moveTo>
                      <a:pt x="47" y="93"/>
                    </a:moveTo>
                    <a:lnTo>
                      <a:pt x="33" y="88"/>
                    </a:lnTo>
                    <a:lnTo>
                      <a:pt x="21" y="83"/>
                    </a:lnTo>
                    <a:lnTo>
                      <a:pt x="10" y="78"/>
                    </a:lnTo>
                    <a:lnTo>
                      <a:pt x="0" y="74"/>
                    </a:lnTo>
                    <a:lnTo>
                      <a:pt x="0" y="55"/>
                    </a:lnTo>
                    <a:lnTo>
                      <a:pt x="10" y="46"/>
                    </a:lnTo>
                    <a:lnTo>
                      <a:pt x="20" y="37"/>
                    </a:lnTo>
                    <a:lnTo>
                      <a:pt x="30" y="37"/>
                    </a:lnTo>
                    <a:lnTo>
                      <a:pt x="40" y="37"/>
                    </a:lnTo>
                    <a:lnTo>
                      <a:pt x="51" y="37"/>
                    </a:lnTo>
                    <a:lnTo>
                      <a:pt x="61" y="37"/>
                    </a:lnTo>
                    <a:lnTo>
                      <a:pt x="66" y="37"/>
                    </a:lnTo>
                    <a:lnTo>
                      <a:pt x="72" y="36"/>
                    </a:lnTo>
                    <a:lnTo>
                      <a:pt x="77" y="35"/>
                    </a:lnTo>
                    <a:lnTo>
                      <a:pt x="83" y="33"/>
                    </a:lnTo>
                    <a:lnTo>
                      <a:pt x="94" y="28"/>
                    </a:lnTo>
                    <a:lnTo>
                      <a:pt x="104" y="23"/>
                    </a:lnTo>
                    <a:lnTo>
                      <a:pt x="114" y="17"/>
                    </a:lnTo>
                    <a:lnTo>
                      <a:pt x="123" y="11"/>
                    </a:lnTo>
                    <a:lnTo>
                      <a:pt x="134" y="5"/>
                    </a:lnTo>
                    <a:lnTo>
                      <a:pt x="146" y="0"/>
                    </a:lnTo>
                    <a:lnTo>
                      <a:pt x="153" y="4"/>
                    </a:lnTo>
                    <a:lnTo>
                      <a:pt x="161" y="8"/>
                    </a:lnTo>
                    <a:lnTo>
                      <a:pt x="171" y="11"/>
                    </a:lnTo>
                    <a:lnTo>
                      <a:pt x="181" y="12"/>
                    </a:lnTo>
                    <a:lnTo>
                      <a:pt x="185" y="12"/>
                    </a:lnTo>
                    <a:lnTo>
                      <a:pt x="190" y="10"/>
                    </a:lnTo>
                    <a:lnTo>
                      <a:pt x="196" y="8"/>
                    </a:lnTo>
                    <a:lnTo>
                      <a:pt x="201" y="6"/>
                    </a:lnTo>
                    <a:lnTo>
                      <a:pt x="210" y="2"/>
                    </a:lnTo>
                    <a:lnTo>
                      <a:pt x="213" y="0"/>
                    </a:lnTo>
                    <a:lnTo>
                      <a:pt x="233" y="0"/>
                    </a:lnTo>
                    <a:lnTo>
                      <a:pt x="232" y="6"/>
                    </a:lnTo>
                    <a:lnTo>
                      <a:pt x="231" y="12"/>
                    </a:lnTo>
                    <a:lnTo>
                      <a:pt x="228" y="18"/>
                    </a:lnTo>
                    <a:lnTo>
                      <a:pt x="224" y="22"/>
                    </a:lnTo>
                    <a:lnTo>
                      <a:pt x="219" y="25"/>
                    </a:lnTo>
                    <a:lnTo>
                      <a:pt x="213" y="28"/>
                    </a:lnTo>
                    <a:lnTo>
                      <a:pt x="207" y="30"/>
                    </a:lnTo>
                    <a:lnTo>
                      <a:pt x="200" y="30"/>
                    </a:lnTo>
                    <a:lnTo>
                      <a:pt x="201" y="43"/>
                    </a:lnTo>
                    <a:lnTo>
                      <a:pt x="204" y="52"/>
                    </a:lnTo>
                    <a:lnTo>
                      <a:pt x="206" y="62"/>
                    </a:lnTo>
                    <a:lnTo>
                      <a:pt x="207" y="74"/>
                    </a:lnTo>
                    <a:lnTo>
                      <a:pt x="185" y="85"/>
                    </a:lnTo>
                    <a:lnTo>
                      <a:pt x="166" y="93"/>
                    </a:lnTo>
                    <a:lnTo>
                      <a:pt x="157" y="96"/>
                    </a:lnTo>
                    <a:lnTo>
                      <a:pt x="149" y="98"/>
                    </a:lnTo>
                    <a:lnTo>
                      <a:pt x="139" y="98"/>
                    </a:lnTo>
                    <a:lnTo>
                      <a:pt x="127" y="99"/>
                    </a:lnTo>
                    <a:lnTo>
                      <a:pt x="116" y="100"/>
                    </a:lnTo>
                    <a:lnTo>
                      <a:pt x="105" y="103"/>
                    </a:lnTo>
                    <a:lnTo>
                      <a:pt x="96" y="106"/>
                    </a:lnTo>
                    <a:lnTo>
                      <a:pt x="88" y="111"/>
                    </a:lnTo>
                    <a:lnTo>
                      <a:pt x="82" y="115"/>
                    </a:lnTo>
                    <a:lnTo>
                      <a:pt x="74" y="119"/>
                    </a:lnTo>
                    <a:lnTo>
                      <a:pt x="67" y="122"/>
                    </a:lnTo>
                    <a:lnTo>
                      <a:pt x="61" y="123"/>
                    </a:lnTo>
                    <a:lnTo>
                      <a:pt x="58" y="122"/>
                    </a:lnTo>
                    <a:lnTo>
                      <a:pt x="55" y="119"/>
                    </a:lnTo>
                    <a:lnTo>
                      <a:pt x="53" y="115"/>
                    </a:lnTo>
                    <a:lnTo>
                      <a:pt x="51" y="110"/>
                    </a:lnTo>
                    <a:lnTo>
                      <a:pt x="48" y="100"/>
                    </a:lnTo>
                    <a:lnTo>
                      <a:pt x="47" y="9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6" name="Freeform 425"/>
              <p:cNvSpPr>
                <a:spLocks/>
              </p:cNvSpPr>
              <p:nvPr/>
            </p:nvSpPr>
            <p:spPr bwMode="auto">
              <a:xfrm>
                <a:off x="983" y="1236"/>
                <a:ext cx="157" cy="56"/>
              </a:xfrm>
              <a:custGeom>
                <a:avLst/>
                <a:gdLst>
                  <a:gd name="T0" fmla="*/ 0 w 484"/>
                  <a:gd name="T1" fmla="*/ 147 h 172"/>
                  <a:gd name="T2" fmla="*/ 3 w 484"/>
                  <a:gd name="T3" fmla="*/ 156 h 172"/>
                  <a:gd name="T4" fmla="*/ 9 w 484"/>
                  <a:gd name="T5" fmla="*/ 162 h 172"/>
                  <a:gd name="T6" fmla="*/ 17 w 484"/>
                  <a:gd name="T7" fmla="*/ 167 h 172"/>
                  <a:gd name="T8" fmla="*/ 31 w 484"/>
                  <a:gd name="T9" fmla="*/ 170 h 172"/>
                  <a:gd name="T10" fmla="*/ 51 w 484"/>
                  <a:gd name="T11" fmla="*/ 172 h 172"/>
                  <a:gd name="T12" fmla="*/ 73 w 484"/>
                  <a:gd name="T13" fmla="*/ 172 h 172"/>
                  <a:gd name="T14" fmla="*/ 99 w 484"/>
                  <a:gd name="T15" fmla="*/ 167 h 172"/>
                  <a:gd name="T16" fmla="*/ 139 w 484"/>
                  <a:gd name="T17" fmla="*/ 156 h 172"/>
                  <a:gd name="T18" fmla="*/ 189 w 484"/>
                  <a:gd name="T19" fmla="*/ 135 h 172"/>
                  <a:gd name="T20" fmla="*/ 240 w 484"/>
                  <a:gd name="T21" fmla="*/ 113 h 172"/>
                  <a:gd name="T22" fmla="*/ 287 w 484"/>
                  <a:gd name="T23" fmla="*/ 100 h 172"/>
                  <a:gd name="T24" fmla="*/ 350 w 484"/>
                  <a:gd name="T25" fmla="*/ 87 h 172"/>
                  <a:gd name="T26" fmla="*/ 401 w 484"/>
                  <a:gd name="T27" fmla="*/ 75 h 172"/>
                  <a:gd name="T28" fmla="*/ 434 w 484"/>
                  <a:gd name="T29" fmla="*/ 64 h 172"/>
                  <a:gd name="T30" fmla="*/ 461 w 484"/>
                  <a:gd name="T31" fmla="*/ 52 h 172"/>
                  <a:gd name="T32" fmla="*/ 475 w 484"/>
                  <a:gd name="T33" fmla="*/ 42 h 172"/>
                  <a:gd name="T34" fmla="*/ 482 w 484"/>
                  <a:gd name="T35" fmla="*/ 35 h 172"/>
                  <a:gd name="T36" fmla="*/ 449 w 484"/>
                  <a:gd name="T37" fmla="*/ 26 h 172"/>
                  <a:gd name="T38" fmla="*/ 387 w 484"/>
                  <a:gd name="T39" fmla="*/ 16 h 172"/>
                  <a:gd name="T40" fmla="*/ 331 w 484"/>
                  <a:gd name="T41" fmla="*/ 6 h 172"/>
                  <a:gd name="T42" fmla="*/ 272 w 484"/>
                  <a:gd name="T43" fmla="*/ 0 h 172"/>
                  <a:gd name="T44" fmla="*/ 225 w 484"/>
                  <a:gd name="T45" fmla="*/ 0 h 172"/>
                  <a:gd name="T46" fmla="*/ 203 w 484"/>
                  <a:gd name="T47" fmla="*/ 4 h 172"/>
                  <a:gd name="T48" fmla="*/ 186 w 484"/>
                  <a:gd name="T49" fmla="*/ 8 h 172"/>
                  <a:gd name="T50" fmla="*/ 176 w 484"/>
                  <a:gd name="T51" fmla="*/ 6 h 172"/>
                  <a:gd name="T52" fmla="*/ 169 w 484"/>
                  <a:gd name="T53" fmla="*/ 3 h 172"/>
                  <a:gd name="T54" fmla="*/ 165 w 484"/>
                  <a:gd name="T55" fmla="*/ 8 h 172"/>
                  <a:gd name="T56" fmla="*/ 161 w 484"/>
                  <a:gd name="T57" fmla="*/ 24 h 172"/>
                  <a:gd name="T58" fmla="*/ 154 w 484"/>
                  <a:gd name="T59" fmla="*/ 36 h 172"/>
                  <a:gd name="T60" fmla="*/ 144 w 484"/>
                  <a:gd name="T61" fmla="*/ 46 h 172"/>
                  <a:gd name="T62" fmla="*/ 127 w 484"/>
                  <a:gd name="T63" fmla="*/ 58 h 172"/>
                  <a:gd name="T64" fmla="*/ 97 w 484"/>
                  <a:gd name="T65" fmla="*/ 69 h 172"/>
                  <a:gd name="T66" fmla="*/ 66 w 484"/>
                  <a:gd name="T67" fmla="*/ 78 h 172"/>
                  <a:gd name="T68" fmla="*/ 38 w 484"/>
                  <a:gd name="T69" fmla="*/ 88 h 172"/>
                  <a:gd name="T70" fmla="*/ 19 w 484"/>
                  <a:gd name="T71" fmla="*/ 98 h 172"/>
                  <a:gd name="T72" fmla="*/ 10 w 484"/>
                  <a:gd name="T73" fmla="*/ 107 h 172"/>
                  <a:gd name="T74" fmla="*/ 3 w 484"/>
                  <a:gd name="T75" fmla="*/ 119 h 172"/>
                  <a:gd name="T76" fmla="*/ 0 w 484"/>
                  <a:gd name="T77" fmla="*/ 13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84" h="172">
                    <a:moveTo>
                      <a:pt x="0" y="142"/>
                    </a:moveTo>
                    <a:lnTo>
                      <a:pt x="0" y="147"/>
                    </a:lnTo>
                    <a:lnTo>
                      <a:pt x="1" y="152"/>
                    </a:lnTo>
                    <a:lnTo>
                      <a:pt x="3" y="156"/>
                    </a:lnTo>
                    <a:lnTo>
                      <a:pt x="6" y="159"/>
                    </a:lnTo>
                    <a:lnTo>
                      <a:pt x="9" y="162"/>
                    </a:lnTo>
                    <a:lnTo>
                      <a:pt x="13" y="165"/>
                    </a:lnTo>
                    <a:lnTo>
                      <a:pt x="17" y="167"/>
                    </a:lnTo>
                    <a:lnTo>
                      <a:pt x="21" y="168"/>
                    </a:lnTo>
                    <a:lnTo>
                      <a:pt x="31" y="170"/>
                    </a:lnTo>
                    <a:lnTo>
                      <a:pt x="41" y="172"/>
                    </a:lnTo>
                    <a:lnTo>
                      <a:pt x="51" y="172"/>
                    </a:lnTo>
                    <a:lnTo>
                      <a:pt x="59" y="172"/>
                    </a:lnTo>
                    <a:lnTo>
                      <a:pt x="73" y="172"/>
                    </a:lnTo>
                    <a:lnTo>
                      <a:pt x="86" y="170"/>
                    </a:lnTo>
                    <a:lnTo>
                      <a:pt x="99" y="167"/>
                    </a:lnTo>
                    <a:lnTo>
                      <a:pt x="113" y="164"/>
                    </a:lnTo>
                    <a:lnTo>
                      <a:pt x="139" y="156"/>
                    </a:lnTo>
                    <a:lnTo>
                      <a:pt x="164" y="146"/>
                    </a:lnTo>
                    <a:lnTo>
                      <a:pt x="189" y="135"/>
                    </a:lnTo>
                    <a:lnTo>
                      <a:pt x="215" y="124"/>
                    </a:lnTo>
                    <a:lnTo>
                      <a:pt x="240" y="113"/>
                    </a:lnTo>
                    <a:lnTo>
                      <a:pt x="265" y="104"/>
                    </a:lnTo>
                    <a:lnTo>
                      <a:pt x="287" y="100"/>
                    </a:lnTo>
                    <a:lnTo>
                      <a:pt x="316" y="94"/>
                    </a:lnTo>
                    <a:lnTo>
                      <a:pt x="350" y="87"/>
                    </a:lnTo>
                    <a:lnTo>
                      <a:pt x="385" y="80"/>
                    </a:lnTo>
                    <a:lnTo>
                      <a:pt x="401" y="75"/>
                    </a:lnTo>
                    <a:lnTo>
                      <a:pt x="418" y="70"/>
                    </a:lnTo>
                    <a:lnTo>
                      <a:pt x="434" y="64"/>
                    </a:lnTo>
                    <a:lnTo>
                      <a:pt x="449" y="58"/>
                    </a:lnTo>
                    <a:lnTo>
                      <a:pt x="461" y="52"/>
                    </a:lnTo>
                    <a:lnTo>
                      <a:pt x="471" y="46"/>
                    </a:lnTo>
                    <a:lnTo>
                      <a:pt x="475" y="42"/>
                    </a:lnTo>
                    <a:lnTo>
                      <a:pt x="479" y="39"/>
                    </a:lnTo>
                    <a:lnTo>
                      <a:pt x="482" y="35"/>
                    </a:lnTo>
                    <a:lnTo>
                      <a:pt x="484" y="31"/>
                    </a:lnTo>
                    <a:lnTo>
                      <a:pt x="449" y="26"/>
                    </a:lnTo>
                    <a:lnTo>
                      <a:pt x="417" y="21"/>
                    </a:lnTo>
                    <a:lnTo>
                      <a:pt x="387" y="16"/>
                    </a:lnTo>
                    <a:lnTo>
                      <a:pt x="359" y="10"/>
                    </a:lnTo>
                    <a:lnTo>
                      <a:pt x="331" y="6"/>
                    </a:lnTo>
                    <a:lnTo>
                      <a:pt x="303" y="3"/>
                    </a:lnTo>
                    <a:lnTo>
                      <a:pt x="272" y="0"/>
                    </a:lnTo>
                    <a:lnTo>
                      <a:pt x="239" y="0"/>
                    </a:lnTo>
                    <a:lnTo>
                      <a:pt x="225" y="0"/>
                    </a:lnTo>
                    <a:lnTo>
                      <a:pt x="213" y="2"/>
                    </a:lnTo>
                    <a:lnTo>
                      <a:pt x="203" y="4"/>
                    </a:lnTo>
                    <a:lnTo>
                      <a:pt x="195" y="6"/>
                    </a:lnTo>
                    <a:lnTo>
                      <a:pt x="186" y="8"/>
                    </a:lnTo>
                    <a:lnTo>
                      <a:pt x="180" y="7"/>
                    </a:lnTo>
                    <a:lnTo>
                      <a:pt x="176" y="6"/>
                    </a:lnTo>
                    <a:lnTo>
                      <a:pt x="173" y="5"/>
                    </a:lnTo>
                    <a:lnTo>
                      <a:pt x="169" y="3"/>
                    </a:lnTo>
                    <a:lnTo>
                      <a:pt x="165" y="0"/>
                    </a:lnTo>
                    <a:lnTo>
                      <a:pt x="165" y="8"/>
                    </a:lnTo>
                    <a:lnTo>
                      <a:pt x="163" y="17"/>
                    </a:lnTo>
                    <a:lnTo>
                      <a:pt x="161" y="24"/>
                    </a:lnTo>
                    <a:lnTo>
                      <a:pt x="159" y="31"/>
                    </a:lnTo>
                    <a:lnTo>
                      <a:pt x="154" y="36"/>
                    </a:lnTo>
                    <a:lnTo>
                      <a:pt x="150" y="42"/>
                    </a:lnTo>
                    <a:lnTo>
                      <a:pt x="144" y="46"/>
                    </a:lnTo>
                    <a:lnTo>
                      <a:pt x="139" y="50"/>
                    </a:lnTo>
                    <a:lnTo>
                      <a:pt x="127" y="58"/>
                    </a:lnTo>
                    <a:lnTo>
                      <a:pt x="113" y="63"/>
                    </a:lnTo>
                    <a:lnTo>
                      <a:pt x="97" y="69"/>
                    </a:lnTo>
                    <a:lnTo>
                      <a:pt x="82" y="73"/>
                    </a:lnTo>
                    <a:lnTo>
                      <a:pt x="66" y="78"/>
                    </a:lnTo>
                    <a:lnTo>
                      <a:pt x="52" y="82"/>
                    </a:lnTo>
                    <a:lnTo>
                      <a:pt x="38" y="88"/>
                    </a:lnTo>
                    <a:lnTo>
                      <a:pt x="25" y="94"/>
                    </a:lnTo>
                    <a:lnTo>
                      <a:pt x="19" y="98"/>
                    </a:lnTo>
                    <a:lnTo>
                      <a:pt x="15" y="103"/>
                    </a:lnTo>
                    <a:lnTo>
                      <a:pt x="10" y="107"/>
                    </a:lnTo>
                    <a:lnTo>
                      <a:pt x="6" y="113"/>
                    </a:lnTo>
                    <a:lnTo>
                      <a:pt x="3" y="119"/>
                    </a:lnTo>
                    <a:lnTo>
                      <a:pt x="1" y="126"/>
                    </a:lnTo>
                    <a:lnTo>
                      <a:pt x="0" y="134"/>
                    </a:lnTo>
                    <a:lnTo>
                      <a:pt x="0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7" name="Freeform 426"/>
              <p:cNvSpPr>
                <a:spLocks/>
              </p:cNvSpPr>
              <p:nvPr/>
            </p:nvSpPr>
            <p:spPr bwMode="auto">
              <a:xfrm>
                <a:off x="1043" y="1255"/>
                <a:ext cx="221" cy="79"/>
              </a:xfrm>
              <a:custGeom>
                <a:avLst/>
                <a:gdLst>
                  <a:gd name="T0" fmla="*/ 317 w 684"/>
                  <a:gd name="T1" fmla="*/ 5 h 240"/>
                  <a:gd name="T2" fmla="*/ 304 w 684"/>
                  <a:gd name="T3" fmla="*/ 27 h 240"/>
                  <a:gd name="T4" fmla="*/ 297 w 684"/>
                  <a:gd name="T5" fmla="*/ 41 h 240"/>
                  <a:gd name="T6" fmla="*/ 299 w 684"/>
                  <a:gd name="T7" fmla="*/ 43 h 240"/>
                  <a:gd name="T8" fmla="*/ 337 w 684"/>
                  <a:gd name="T9" fmla="*/ 39 h 240"/>
                  <a:gd name="T10" fmla="*/ 372 w 684"/>
                  <a:gd name="T11" fmla="*/ 19 h 240"/>
                  <a:gd name="T12" fmla="*/ 379 w 684"/>
                  <a:gd name="T13" fmla="*/ 38 h 240"/>
                  <a:gd name="T14" fmla="*/ 377 w 684"/>
                  <a:gd name="T15" fmla="*/ 55 h 240"/>
                  <a:gd name="T16" fmla="*/ 405 w 684"/>
                  <a:gd name="T17" fmla="*/ 69 h 240"/>
                  <a:gd name="T18" fmla="*/ 511 w 684"/>
                  <a:gd name="T19" fmla="*/ 51 h 240"/>
                  <a:gd name="T20" fmla="*/ 514 w 684"/>
                  <a:gd name="T21" fmla="*/ 70 h 240"/>
                  <a:gd name="T22" fmla="*/ 541 w 684"/>
                  <a:gd name="T23" fmla="*/ 63 h 240"/>
                  <a:gd name="T24" fmla="*/ 557 w 684"/>
                  <a:gd name="T25" fmla="*/ 45 h 240"/>
                  <a:gd name="T26" fmla="*/ 558 w 684"/>
                  <a:gd name="T27" fmla="*/ 19 h 240"/>
                  <a:gd name="T28" fmla="*/ 563 w 684"/>
                  <a:gd name="T29" fmla="*/ 8 h 240"/>
                  <a:gd name="T30" fmla="*/ 579 w 684"/>
                  <a:gd name="T31" fmla="*/ 0 h 240"/>
                  <a:gd name="T32" fmla="*/ 624 w 684"/>
                  <a:gd name="T33" fmla="*/ 3 h 240"/>
                  <a:gd name="T34" fmla="*/ 645 w 684"/>
                  <a:gd name="T35" fmla="*/ 0 h 240"/>
                  <a:gd name="T36" fmla="*/ 657 w 684"/>
                  <a:gd name="T37" fmla="*/ 39 h 240"/>
                  <a:gd name="T38" fmla="*/ 653 w 684"/>
                  <a:gd name="T39" fmla="*/ 70 h 240"/>
                  <a:gd name="T40" fmla="*/ 637 w 684"/>
                  <a:gd name="T41" fmla="*/ 101 h 240"/>
                  <a:gd name="T42" fmla="*/ 618 w 684"/>
                  <a:gd name="T43" fmla="*/ 124 h 240"/>
                  <a:gd name="T44" fmla="*/ 648 w 684"/>
                  <a:gd name="T45" fmla="*/ 137 h 240"/>
                  <a:gd name="T46" fmla="*/ 672 w 684"/>
                  <a:gd name="T47" fmla="*/ 145 h 240"/>
                  <a:gd name="T48" fmla="*/ 684 w 684"/>
                  <a:gd name="T49" fmla="*/ 180 h 240"/>
                  <a:gd name="T50" fmla="*/ 639 w 684"/>
                  <a:gd name="T51" fmla="*/ 185 h 240"/>
                  <a:gd name="T52" fmla="*/ 608 w 684"/>
                  <a:gd name="T53" fmla="*/ 181 h 240"/>
                  <a:gd name="T54" fmla="*/ 574 w 684"/>
                  <a:gd name="T55" fmla="*/ 180 h 240"/>
                  <a:gd name="T56" fmla="*/ 564 w 684"/>
                  <a:gd name="T57" fmla="*/ 184 h 240"/>
                  <a:gd name="T58" fmla="*/ 542 w 684"/>
                  <a:gd name="T59" fmla="*/ 200 h 240"/>
                  <a:gd name="T60" fmla="*/ 524 w 684"/>
                  <a:gd name="T61" fmla="*/ 209 h 240"/>
                  <a:gd name="T62" fmla="*/ 493 w 684"/>
                  <a:gd name="T63" fmla="*/ 209 h 240"/>
                  <a:gd name="T64" fmla="*/ 452 w 684"/>
                  <a:gd name="T65" fmla="*/ 204 h 240"/>
                  <a:gd name="T66" fmla="*/ 422 w 684"/>
                  <a:gd name="T67" fmla="*/ 198 h 240"/>
                  <a:gd name="T68" fmla="*/ 337 w 684"/>
                  <a:gd name="T69" fmla="*/ 211 h 240"/>
                  <a:gd name="T70" fmla="*/ 231 w 684"/>
                  <a:gd name="T71" fmla="*/ 230 h 240"/>
                  <a:gd name="T72" fmla="*/ 169 w 684"/>
                  <a:gd name="T73" fmla="*/ 238 h 240"/>
                  <a:gd name="T74" fmla="*/ 124 w 684"/>
                  <a:gd name="T75" fmla="*/ 238 h 240"/>
                  <a:gd name="T76" fmla="*/ 100 w 684"/>
                  <a:gd name="T77" fmla="*/ 228 h 240"/>
                  <a:gd name="T78" fmla="*/ 67 w 684"/>
                  <a:gd name="T79" fmla="*/ 208 h 240"/>
                  <a:gd name="T80" fmla="*/ 29 w 684"/>
                  <a:gd name="T81" fmla="*/ 196 h 240"/>
                  <a:gd name="T82" fmla="*/ 0 w 684"/>
                  <a:gd name="T83" fmla="*/ 173 h 240"/>
                  <a:gd name="T84" fmla="*/ 64 w 684"/>
                  <a:gd name="T85" fmla="*/ 159 h 240"/>
                  <a:gd name="T86" fmla="*/ 100 w 684"/>
                  <a:gd name="T87" fmla="*/ 154 h 240"/>
                  <a:gd name="T88" fmla="*/ 156 w 684"/>
                  <a:gd name="T89" fmla="*/ 160 h 240"/>
                  <a:gd name="T90" fmla="*/ 201 w 684"/>
                  <a:gd name="T91" fmla="*/ 165 h 240"/>
                  <a:gd name="T92" fmla="*/ 224 w 684"/>
                  <a:gd name="T93" fmla="*/ 162 h 240"/>
                  <a:gd name="T94" fmla="*/ 26 w 684"/>
                  <a:gd name="T95" fmla="*/ 136 h 240"/>
                  <a:gd name="T96" fmla="*/ 52 w 684"/>
                  <a:gd name="T97" fmla="*/ 128 h 240"/>
                  <a:gd name="T98" fmla="*/ 109 w 684"/>
                  <a:gd name="T99" fmla="*/ 117 h 240"/>
                  <a:gd name="T100" fmla="*/ 165 w 684"/>
                  <a:gd name="T101" fmla="*/ 108 h 240"/>
                  <a:gd name="T102" fmla="*/ 187 w 684"/>
                  <a:gd name="T103" fmla="*/ 99 h 240"/>
                  <a:gd name="T104" fmla="*/ 166 w 684"/>
                  <a:gd name="T105" fmla="*/ 93 h 240"/>
                  <a:gd name="T106" fmla="*/ 125 w 684"/>
                  <a:gd name="T107" fmla="*/ 98 h 240"/>
                  <a:gd name="T108" fmla="*/ 71 w 684"/>
                  <a:gd name="T109" fmla="*/ 110 h 240"/>
                  <a:gd name="T110" fmla="*/ 52 w 684"/>
                  <a:gd name="T111" fmla="*/ 106 h 240"/>
                  <a:gd name="T112" fmla="*/ 55 w 684"/>
                  <a:gd name="T113" fmla="*/ 90 h 240"/>
                  <a:gd name="T114" fmla="*/ 54 w 684"/>
                  <a:gd name="T115" fmla="*/ 81 h 240"/>
                  <a:gd name="T116" fmla="*/ 59 w 684"/>
                  <a:gd name="T117" fmla="*/ 78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84" h="240">
                    <a:moveTo>
                      <a:pt x="60" y="75"/>
                    </a:moveTo>
                    <a:lnTo>
                      <a:pt x="320" y="0"/>
                    </a:lnTo>
                    <a:lnTo>
                      <a:pt x="317" y="5"/>
                    </a:lnTo>
                    <a:lnTo>
                      <a:pt x="314" y="13"/>
                    </a:lnTo>
                    <a:lnTo>
                      <a:pt x="310" y="20"/>
                    </a:lnTo>
                    <a:lnTo>
                      <a:pt x="304" y="27"/>
                    </a:lnTo>
                    <a:lnTo>
                      <a:pt x="300" y="33"/>
                    </a:lnTo>
                    <a:lnTo>
                      <a:pt x="297" y="39"/>
                    </a:lnTo>
                    <a:lnTo>
                      <a:pt x="297" y="41"/>
                    </a:lnTo>
                    <a:lnTo>
                      <a:pt x="297" y="42"/>
                    </a:lnTo>
                    <a:lnTo>
                      <a:pt x="298" y="43"/>
                    </a:lnTo>
                    <a:lnTo>
                      <a:pt x="299" y="43"/>
                    </a:lnTo>
                    <a:lnTo>
                      <a:pt x="315" y="43"/>
                    </a:lnTo>
                    <a:lnTo>
                      <a:pt x="327" y="41"/>
                    </a:lnTo>
                    <a:lnTo>
                      <a:pt x="337" y="39"/>
                    </a:lnTo>
                    <a:lnTo>
                      <a:pt x="346" y="36"/>
                    </a:lnTo>
                    <a:lnTo>
                      <a:pt x="359" y="28"/>
                    </a:lnTo>
                    <a:lnTo>
                      <a:pt x="372" y="19"/>
                    </a:lnTo>
                    <a:lnTo>
                      <a:pt x="376" y="26"/>
                    </a:lnTo>
                    <a:lnTo>
                      <a:pt x="378" y="32"/>
                    </a:lnTo>
                    <a:lnTo>
                      <a:pt x="379" y="38"/>
                    </a:lnTo>
                    <a:lnTo>
                      <a:pt x="378" y="44"/>
                    </a:lnTo>
                    <a:lnTo>
                      <a:pt x="378" y="49"/>
                    </a:lnTo>
                    <a:lnTo>
                      <a:pt x="377" y="55"/>
                    </a:lnTo>
                    <a:lnTo>
                      <a:pt x="378" y="61"/>
                    </a:lnTo>
                    <a:lnTo>
                      <a:pt x="379" y="69"/>
                    </a:lnTo>
                    <a:lnTo>
                      <a:pt x="405" y="69"/>
                    </a:lnTo>
                    <a:lnTo>
                      <a:pt x="512" y="19"/>
                    </a:lnTo>
                    <a:lnTo>
                      <a:pt x="511" y="36"/>
                    </a:lnTo>
                    <a:lnTo>
                      <a:pt x="511" y="51"/>
                    </a:lnTo>
                    <a:lnTo>
                      <a:pt x="511" y="58"/>
                    </a:lnTo>
                    <a:lnTo>
                      <a:pt x="512" y="65"/>
                    </a:lnTo>
                    <a:lnTo>
                      <a:pt x="514" y="70"/>
                    </a:lnTo>
                    <a:lnTo>
                      <a:pt x="518" y="75"/>
                    </a:lnTo>
                    <a:lnTo>
                      <a:pt x="531" y="68"/>
                    </a:lnTo>
                    <a:lnTo>
                      <a:pt x="541" y="63"/>
                    </a:lnTo>
                    <a:lnTo>
                      <a:pt x="549" y="57"/>
                    </a:lnTo>
                    <a:lnTo>
                      <a:pt x="553" y="51"/>
                    </a:lnTo>
                    <a:lnTo>
                      <a:pt x="557" y="45"/>
                    </a:lnTo>
                    <a:lnTo>
                      <a:pt x="558" y="38"/>
                    </a:lnTo>
                    <a:lnTo>
                      <a:pt x="558" y="30"/>
                    </a:lnTo>
                    <a:lnTo>
                      <a:pt x="558" y="19"/>
                    </a:lnTo>
                    <a:lnTo>
                      <a:pt x="559" y="15"/>
                    </a:lnTo>
                    <a:lnTo>
                      <a:pt x="560" y="11"/>
                    </a:lnTo>
                    <a:lnTo>
                      <a:pt x="563" y="8"/>
                    </a:lnTo>
                    <a:lnTo>
                      <a:pt x="566" y="5"/>
                    </a:lnTo>
                    <a:lnTo>
                      <a:pt x="572" y="1"/>
                    </a:lnTo>
                    <a:lnTo>
                      <a:pt x="579" y="0"/>
                    </a:lnTo>
                    <a:lnTo>
                      <a:pt x="600" y="1"/>
                    </a:lnTo>
                    <a:lnTo>
                      <a:pt x="616" y="2"/>
                    </a:lnTo>
                    <a:lnTo>
                      <a:pt x="624" y="3"/>
                    </a:lnTo>
                    <a:lnTo>
                      <a:pt x="630" y="3"/>
                    </a:lnTo>
                    <a:lnTo>
                      <a:pt x="637" y="2"/>
                    </a:lnTo>
                    <a:lnTo>
                      <a:pt x="645" y="0"/>
                    </a:lnTo>
                    <a:lnTo>
                      <a:pt x="650" y="15"/>
                    </a:lnTo>
                    <a:lnTo>
                      <a:pt x="653" y="28"/>
                    </a:lnTo>
                    <a:lnTo>
                      <a:pt x="657" y="39"/>
                    </a:lnTo>
                    <a:lnTo>
                      <a:pt x="658" y="50"/>
                    </a:lnTo>
                    <a:lnTo>
                      <a:pt x="657" y="59"/>
                    </a:lnTo>
                    <a:lnTo>
                      <a:pt x="653" y="70"/>
                    </a:lnTo>
                    <a:lnTo>
                      <a:pt x="649" y="81"/>
                    </a:lnTo>
                    <a:lnTo>
                      <a:pt x="643" y="91"/>
                    </a:lnTo>
                    <a:lnTo>
                      <a:pt x="637" y="101"/>
                    </a:lnTo>
                    <a:lnTo>
                      <a:pt x="630" y="110"/>
                    </a:lnTo>
                    <a:lnTo>
                      <a:pt x="624" y="119"/>
                    </a:lnTo>
                    <a:lnTo>
                      <a:pt x="618" y="124"/>
                    </a:lnTo>
                    <a:lnTo>
                      <a:pt x="628" y="130"/>
                    </a:lnTo>
                    <a:lnTo>
                      <a:pt x="638" y="134"/>
                    </a:lnTo>
                    <a:lnTo>
                      <a:pt x="648" y="137"/>
                    </a:lnTo>
                    <a:lnTo>
                      <a:pt x="657" y="139"/>
                    </a:lnTo>
                    <a:lnTo>
                      <a:pt x="664" y="142"/>
                    </a:lnTo>
                    <a:lnTo>
                      <a:pt x="672" y="145"/>
                    </a:lnTo>
                    <a:lnTo>
                      <a:pt x="679" y="149"/>
                    </a:lnTo>
                    <a:lnTo>
                      <a:pt x="684" y="154"/>
                    </a:lnTo>
                    <a:lnTo>
                      <a:pt x="684" y="180"/>
                    </a:lnTo>
                    <a:lnTo>
                      <a:pt x="665" y="183"/>
                    </a:lnTo>
                    <a:lnTo>
                      <a:pt x="650" y="185"/>
                    </a:lnTo>
                    <a:lnTo>
                      <a:pt x="639" y="185"/>
                    </a:lnTo>
                    <a:lnTo>
                      <a:pt x="629" y="184"/>
                    </a:lnTo>
                    <a:lnTo>
                      <a:pt x="619" y="183"/>
                    </a:lnTo>
                    <a:lnTo>
                      <a:pt x="608" y="181"/>
                    </a:lnTo>
                    <a:lnTo>
                      <a:pt x="595" y="180"/>
                    </a:lnTo>
                    <a:lnTo>
                      <a:pt x="579" y="180"/>
                    </a:lnTo>
                    <a:lnTo>
                      <a:pt x="574" y="180"/>
                    </a:lnTo>
                    <a:lnTo>
                      <a:pt x="571" y="181"/>
                    </a:lnTo>
                    <a:lnTo>
                      <a:pt x="568" y="182"/>
                    </a:lnTo>
                    <a:lnTo>
                      <a:pt x="564" y="184"/>
                    </a:lnTo>
                    <a:lnTo>
                      <a:pt x="557" y="189"/>
                    </a:lnTo>
                    <a:lnTo>
                      <a:pt x="550" y="195"/>
                    </a:lnTo>
                    <a:lnTo>
                      <a:pt x="542" y="200"/>
                    </a:lnTo>
                    <a:lnTo>
                      <a:pt x="534" y="205"/>
                    </a:lnTo>
                    <a:lnTo>
                      <a:pt x="528" y="207"/>
                    </a:lnTo>
                    <a:lnTo>
                      <a:pt x="524" y="209"/>
                    </a:lnTo>
                    <a:lnTo>
                      <a:pt x="518" y="210"/>
                    </a:lnTo>
                    <a:lnTo>
                      <a:pt x="512" y="210"/>
                    </a:lnTo>
                    <a:lnTo>
                      <a:pt x="493" y="209"/>
                    </a:lnTo>
                    <a:lnTo>
                      <a:pt x="478" y="208"/>
                    </a:lnTo>
                    <a:lnTo>
                      <a:pt x="463" y="206"/>
                    </a:lnTo>
                    <a:lnTo>
                      <a:pt x="452" y="204"/>
                    </a:lnTo>
                    <a:lnTo>
                      <a:pt x="441" y="202"/>
                    </a:lnTo>
                    <a:lnTo>
                      <a:pt x="432" y="200"/>
                    </a:lnTo>
                    <a:lnTo>
                      <a:pt x="422" y="198"/>
                    </a:lnTo>
                    <a:lnTo>
                      <a:pt x="412" y="198"/>
                    </a:lnTo>
                    <a:lnTo>
                      <a:pt x="389" y="202"/>
                    </a:lnTo>
                    <a:lnTo>
                      <a:pt x="337" y="211"/>
                    </a:lnTo>
                    <a:lnTo>
                      <a:pt x="283" y="221"/>
                    </a:lnTo>
                    <a:lnTo>
                      <a:pt x="253" y="228"/>
                    </a:lnTo>
                    <a:lnTo>
                      <a:pt x="231" y="230"/>
                    </a:lnTo>
                    <a:lnTo>
                      <a:pt x="209" y="232"/>
                    </a:lnTo>
                    <a:lnTo>
                      <a:pt x="189" y="235"/>
                    </a:lnTo>
                    <a:lnTo>
                      <a:pt x="169" y="238"/>
                    </a:lnTo>
                    <a:lnTo>
                      <a:pt x="150" y="240"/>
                    </a:lnTo>
                    <a:lnTo>
                      <a:pt x="132" y="239"/>
                    </a:lnTo>
                    <a:lnTo>
                      <a:pt x="124" y="238"/>
                    </a:lnTo>
                    <a:lnTo>
                      <a:pt x="115" y="236"/>
                    </a:lnTo>
                    <a:lnTo>
                      <a:pt x="108" y="233"/>
                    </a:lnTo>
                    <a:lnTo>
                      <a:pt x="100" y="228"/>
                    </a:lnTo>
                    <a:lnTo>
                      <a:pt x="100" y="210"/>
                    </a:lnTo>
                    <a:lnTo>
                      <a:pt x="84" y="209"/>
                    </a:lnTo>
                    <a:lnTo>
                      <a:pt x="67" y="208"/>
                    </a:lnTo>
                    <a:lnTo>
                      <a:pt x="53" y="205"/>
                    </a:lnTo>
                    <a:lnTo>
                      <a:pt x="41" y="201"/>
                    </a:lnTo>
                    <a:lnTo>
                      <a:pt x="29" y="196"/>
                    </a:lnTo>
                    <a:lnTo>
                      <a:pt x="18" y="189"/>
                    </a:lnTo>
                    <a:lnTo>
                      <a:pt x="9" y="182"/>
                    </a:lnTo>
                    <a:lnTo>
                      <a:pt x="0" y="173"/>
                    </a:lnTo>
                    <a:lnTo>
                      <a:pt x="28" y="167"/>
                    </a:lnTo>
                    <a:lnTo>
                      <a:pt x="53" y="161"/>
                    </a:lnTo>
                    <a:lnTo>
                      <a:pt x="64" y="159"/>
                    </a:lnTo>
                    <a:lnTo>
                      <a:pt x="76" y="156"/>
                    </a:lnTo>
                    <a:lnTo>
                      <a:pt x="88" y="155"/>
                    </a:lnTo>
                    <a:lnTo>
                      <a:pt x="100" y="154"/>
                    </a:lnTo>
                    <a:lnTo>
                      <a:pt x="121" y="155"/>
                    </a:lnTo>
                    <a:lnTo>
                      <a:pt x="140" y="157"/>
                    </a:lnTo>
                    <a:lnTo>
                      <a:pt x="156" y="160"/>
                    </a:lnTo>
                    <a:lnTo>
                      <a:pt x="171" y="162"/>
                    </a:lnTo>
                    <a:lnTo>
                      <a:pt x="186" y="164"/>
                    </a:lnTo>
                    <a:lnTo>
                      <a:pt x="201" y="165"/>
                    </a:lnTo>
                    <a:lnTo>
                      <a:pt x="209" y="164"/>
                    </a:lnTo>
                    <a:lnTo>
                      <a:pt x="216" y="164"/>
                    </a:lnTo>
                    <a:lnTo>
                      <a:pt x="224" y="162"/>
                    </a:lnTo>
                    <a:lnTo>
                      <a:pt x="233" y="160"/>
                    </a:lnTo>
                    <a:lnTo>
                      <a:pt x="126" y="142"/>
                    </a:lnTo>
                    <a:lnTo>
                      <a:pt x="26" y="136"/>
                    </a:lnTo>
                    <a:lnTo>
                      <a:pt x="34" y="133"/>
                    </a:lnTo>
                    <a:lnTo>
                      <a:pt x="42" y="130"/>
                    </a:lnTo>
                    <a:lnTo>
                      <a:pt x="52" y="128"/>
                    </a:lnTo>
                    <a:lnTo>
                      <a:pt x="62" y="125"/>
                    </a:lnTo>
                    <a:lnTo>
                      <a:pt x="85" y="122"/>
                    </a:lnTo>
                    <a:lnTo>
                      <a:pt x="109" y="117"/>
                    </a:lnTo>
                    <a:lnTo>
                      <a:pt x="133" y="114"/>
                    </a:lnTo>
                    <a:lnTo>
                      <a:pt x="155" y="110"/>
                    </a:lnTo>
                    <a:lnTo>
                      <a:pt x="165" y="108"/>
                    </a:lnTo>
                    <a:lnTo>
                      <a:pt x="174" y="105"/>
                    </a:lnTo>
                    <a:lnTo>
                      <a:pt x="180" y="102"/>
                    </a:lnTo>
                    <a:lnTo>
                      <a:pt x="187" y="99"/>
                    </a:lnTo>
                    <a:lnTo>
                      <a:pt x="180" y="96"/>
                    </a:lnTo>
                    <a:lnTo>
                      <a:pt x="172" y="94"/>
                    </a:lnTo>
                    <a:lnTo>
                      <a:pt x="166" y="93"/>
                    </a:lnTo>
                    <a:lnTo>
                      <a:pt x="158" y="93"/>
                    </a:lnTo>
                    <a:lnTo>
                      <a:pt x="142" y="95"/>
                    </a:lnTo>
                    <a:lnTo>
                      <a:pt x="125" y="98"/>
                    </a:lnTo>
                    <a:lnTo>
                      <a:pt x="107" y="102"/>
                    </a:lnTo>
                    <a:lnTo>
                      <a:pt x="89" y="107"/>
                    </a:lnTo>
                    <a:lnTo>
                      <a:pt x="71" y="110"/>
                    </a:lnTo>
                    <a:lnTo>
                      <a:pt x="54" y="111"/>
                    </a:lnTo>
                    <a:lnTo>
                      <a:pt x="52" y="110"/>
                    </a:lnTo>
                    <a:lnTo>
                      <a:pt x="52" y="106"/>
                    </a:lnTo>
                    <a:lnTo>
                      <a:pt x="53" y="102"/>
                    </a:lnTo>
                    <a:lnTo>
                      <a:pt x="54" y="96"/>
                    </a:lnTo>
                    <a:lnTo>
                      <a:pt x="55" y="90"/>
                    </a:lnTo>
                    <a:lnTo>
                      <a:pt x="55" y="86"/>
                    </a:lnTo>
                    <a:lnTo>
                      <a:pt x="55" y="82"/>
                    </a:lnTo>
                    <a:lnTo>
                      <a:pt x="54" y="81"/>
                    </a:lnTo>
                    <a:lnTo>
                      <a:pt x="55" y="81"/>
                    </a:lnTo>
                    <a:lnTo>
                      <a:pt x="57" y="80"/>
                    </a:lnTo>
                    <a:lnTo>
                      <a:pt x="59" y="78"/>
                    </a:lnTo>
                    <a:lnTo>
                      <a:pt x="60" y="75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8" name="Freeform 427"/>
              <p:cNvSpPr>
                <a:spLocks/>
              </p:cNvSpPr>
              <p:nvPr/>
            </p:nvSpPr>
            <p:spPr bwMode="auto">
              <a:xfrm>
                <a:off x="1645" y="1643"/>
                <a:ext cx="108" cy="93"/>
              </a:xfrm>
              <a:custGeom>
                <a:avLst/>
                <a:gdLst>
                  <a:gd name="T0" fmla="*/ 180 w 332"/>
                  <a:gd name="T1" fmla="*/ 38 h 287"/>
                  <a:gd name="T2" fmla="*/ 202 w 332"/>
                  <a:gd name="T3" fmla="*/ 24 h 287"/>
                  <a:gd name="T4" fmla="*/ 226 w 332"/>
                  <a:gd name="T5" fmla="*/ 7 h 287"/>
                  <a:gd name="T6" fmla="*/ 240 w 332"/>
                  <a:gd name="T7" fmla="*/ 1 h 287"/>
                  <a:gd name="T8" fmla="*/ 246 w 332"/>
                  <a:gd name="T9" fmla="*/ 1 h 287"/>
                  <a:gd name="T10" fmla="*/ 245 w 332"/>
                  <a:gd name="T11" fmla="*/ 12 h 287"/>
                  <a:gd name="T12" fmla="*/ 234 w 332"/>
                  <a:gd name="T13" fmla="*/ 33 h 287"/>
                  <a:gd name="T14" fmla="*/ 217 w 332"/>
                  <a:gd name="T15" fmla="*/ 55 h 287"/>
                  <a:gd name="T16" fmla="*/ 202 w 332"/>
                  <a:gd name="T17" fmla="*/ 67 h 287"/>
                  <a:gd name="T18" fmla="*/ 191 w 332"/>
                  <a:gd name="T19" fmla="*/ 71 h 287"/>
                  <a:gd name="T20" fmla="*/ 191 w 332"/>
                  <a:gd name="T21" fmla="*/ 73 h 287"/>
                  <a:gd name="T22" fmla="*/ 201 w 332"/>
                  <a:gd name="T23" fmla="*/ 74 h 287"/>
                  <a:gd name="T24" fmla="*/ 216 w 332"/>
                  <a:gd name="T25" fmla="*/ 72 h 287"/>
                  <a:gd name="T26" fmla="*/ 224 w 332"/>
                  <a:gd name="T27" fmla="*/ 77 h 287"/>
                  <a:gd name="T28" fmla="*/ 217 w 332"/>
                  <a:gd name="T29" fmla="*/ 88 h 287"/>
                  <a:gd name="T30" fmla="*/ 214 w 332"/>
                  <a:gd name="T31" fmla="*/ 97 h 287"/>
                  <a:gd name="T32" fmla="*/ 217 w 332"/>
                  <a:gd name="T33" fmla="*/ 105 h 287"/>
                  <a:gd name="T34" fmla="*/ 249 w 332"/>
                  <a:gd name="T35" fmla="*/ 113 h 287"/>
                  <a:gd name="T36" fmla="*/ 308 w 332"/>
                  <a:gd name="T37" fmla="*/ 124 h 287"/>
                  <a:gd name="T38" fmla="*/ 322 w 332"/>
                  <a:gd name="T39" fmla="*/ 131 h 287"/>
                  <a:gd name="T40" fmla="*/ 315 w 332"/>
                  <a:gd name="T41" fmla="*/ 140 h 287"/>
                  <a:gd name="T42" fmla="*/ 303 w 332"/>
                  <a:gd name="T43" fmla="*/ 149 h 287"/>
                  <a:gd name="T44" fmla="*/ 299 w 332"/>
                  <a:gd name="T45" fmla="*/ 154 h 287"/>
                  <a:gd name="T46" fmla="*/ 302 w 332"/>
                  <a:gd name="T47" fmla="*/ 160 h 287"/>
                  <a:gd name="T48" fmla="*/ 308 w 332"/>
                  <a:gd name="T49" fmla="*/ 168 h 287"/>
                  <a:gd name="T50" fmla="*/ 319 w 332"/>
                  <a:gd name="T51" fmla="*/ 176 h 287"/>
                  <a:gd name="T52" fmla="*/ 329 w 332"/>
                  <a:gd name="T53" fmla="*/ 184 h 287"/>
                  <a:gd name="T54" fmla="*/ 290 w 332"/>
                  <a:gd name="T55" fmla="*/ 211 h 287"/>
                  <a:gd name="T56" fmla="*/ 241 w 332"/>
                  <a:gd name="T57" fmla="*/ 241 h 287"/>
                  <a:gd name="T58" fmla="*/ 207 w 332"/>
                  <a:gd name="T59" fmla="*/ 268 h 287"/>
                  <a:gd name="T60" fmla="*/ 173 w 332"/>
                  <a:gd name="T61" fmla="*/ 244 h 287"/>
                  <a:gd name="T62" fmla="*/ 182 w 332"/>
                  <a:gd name="T63" fmla="*/ 243 h 287"/>
                  <a:gd name="T64" fmla="*/ 189 w 332"/>
                  <a:gd name="T65" fmla="*/ 240 h 287"/>
                  <a:gd name="T66" fmla="*/ 200 w 332"/>
                  <a:gd name="T67" fmla="*/ 232 h 287"/>
                  <a:gd name="T68" fmla="*/ 149 w 332"/>
                  <a:gd name="T69" fmla="*/ 232 h 287"/>
                  <a:gd name="T70" fmla="*/ 101 w 332"/>
                  <a:gd name="T71" fmla="*/ 232 h 287"/>
                  <a:gd name="T72" fmla="*/ 58 w 332"/>
                  <a:gd name="T73" fmla="*/ 232 h 287"/>
                  <a:gd name="T74" fmla="*/ 27 w 332"/>
                  <a:gd name="T75" fmla="*/ 232 h 287"/>
                  <a:gd name="T76" fmla="*/ 11 w 332"/>
                  <a:gd name="T77" fmla="*/ 227 h 287"/>
                  <a:gd name="T78" fmla="*/ 3 w 332"/>
                  <a:gd name="T79" fmla="*/ 222 h 287"/>
                  <a:gd name="T80" fmla="*/ 0 w 332"/>
                  <a:gd name="T81" fmla="*/ 213 h 287"/>
                  <a:gd name="T82" fmla="*/ 4 w 332"/>
                  <a:gd name="T83" fmla="*/ 205 h 287"/>
                  <a:gd name="T84" fmla="*/ 13 w 332"/>
                  <a:gd name="T85" fmla="*/ 197 h 287"/>
                  <a:gd name="T86" fmla="*/ 41 w 332"/>
                  <a:gd name="T87" fmla="*/ 179 h 287"/>
                  <a:gd name="T88" fmla="*/ 73 w 332"/>
                  <a:gd name="T89" fmla="*/ 162 h 287"/>
                  <a:gd name="T90" fmla="*/ 85 w 332"/>
                  <a:gd name="T91" fmla="*/ 152 h 287"/>
                  <a:gd name="T92" fmla="*/ 93 w 332"/>
                  <a:gd name="T93" fmla="*/ 145 h 287"/>
                  <a:gd name="T94" fmla="*/ 106 w 332"/>
                  <a:gd name="T95" fmla="*/ 130 h 287"/>
                  <a:gd name="T96" fmla="*/ 116 w 332"/>
                  <a:gd name="T97" fmla="*/ 114 h 287"/>
                  <a:gd name="T98" fmla="*/ 130 w 332"/>
                  <a:gd name="T99" fmla="*/ 79 h 287"/>
                  <a:gd name="T100" fmla="*/ 138 w 332"/>
                  <a:gd name="T101" fmla="*/ 64 h 287"/>
                  <a:gd name="T102" fmla="*/ 147 w 332"/>
                  <a:gd name="T103" fmla="*/ 52 h 287"/>
                  <a:gd name="T104" fmla="*/ 158 w 332"/>
                  <a:gd name="T105" fmla="*/ 43 h 287"/>
                  <a:gd name="T106" fmla="*/ 173 w 332"/>
                  <a:gd name="T107" fmla="*/ 40 h 2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32" h="287">
                    <a:moveTo>
                      <a:pt x="173" y="40"/>
                    </a:moveTo>
                    <a:lnTo>
                      <a:pt x="180" y="38"/>
                    </a:lnTo>
                    <a:lnTo>
                      <a:pt x="190" y="32"/>
                    </a:lnTo>
                    <a:lnTo>
                      <a:pt x="202" y="24"/>
                    </a:lnTo>
                    <a:lnTo>
                      <a:pt x="215" y="15"/>
                    </a:lnTo>
                    <a:lnTo>
                      <a:pt x="226" y="7"/>
                    </a:lnTo>
                    <a:lnTo>
                      <a:pt x="237" y="2"/>
                    </a:lnTo>
                    <a:lnTo>
                      <a:pt x="240" y="1"/>
                    </a:lnTo>
                    <a:lnTo>
                      <a:pt x="243" y="0"/>
                    </a:lnTo>
                    <a:lnTo>
                      <a:pt x="246" y="1"/>
                    </a:lnTo>
                    <a:lnTo>
                      <a:pt x="246" y="4"/>
                    </a:lnTo>
                    <a:lnTo>
                      <a:pt x="245" y="12"/>
                    </a:lnTo>
                    <a:lnTo>
                      <a:pt x="240" y="22"/>
                    </a:lnTo>
                    <a:lnTo>
                      <a:pt x="234" y="33"/>
                    </a:lnTo>
                    <a:lnTo>
                      <a:pt x="226" y="44"/>
                    </a:lnTo>
                    <a:lnTo>
                      <a:pt x="217" y="55"/>
                    </a:lnTo>
                    <a:lnTo>
                      <a:pt x="207" y="64"/>
                    </a:lnTo>
                    <a:lnTo>
                      <a:pt x="202" y="67"/>
                    </a:lnTo>
                    <a:lnTo>
                      <a:pt x="196" y="69"/>
                    </a:lnTo>
                    <a:lnTo>
                      <a:pt x="191" y="71"/>
                    </a:lnTo>
                    <a:lnTo>
                      <a:pt x="186" y="71"/>
                    </a:lnTo>
                    <a:lnTo>
                      <a:pt x="191" y="73"/>
                    </a:lnTo>
                    <a:lnTo>
                      <a:pt x="196" y="74"/>
                    </a:lnTo>
                    <a:lnTo>
                      <a:pt x="201" y="74"/>
                    </a:lnTo>
                    <a:lnTo>
                      <a:pt x="206" y="74"/>
                    </a:lnTo>
                    <a:lnTo>
                      <a:pt x="216" y="72"/>
                    </a:lnTo>
                    <a:lnTo>
                      <a:pt x="226" y="71"/>
                    </a:lnTo>
                    <a:lnTo>
                      <a:pt x="224" y="77"/>
                    </a:lnTo>
                    <a:lnTo>
                      <a:pt x="219" y="84"/>
                    </a:lnTo>
                    <a:lnTo>
                      <a:pt x="217" y="88"/>
                    </a:lnTo>
                    <a:lnTo>
                      <a:pt x="215" y="93"/>
                    </a:lnTo>
                    <a:lnTo>
                      <a:pt x="214" y="97"/>
                    </a:lnTo>
                    <a:lnTo>
                      <a:pt x="213" y="102"/>
                    </a:lnTo>
                    <a:lnTo>
                      <a:pt x="217" y="105"/>
                    </a:lnTo>
                    <a:lnTo>
                      <a:pt x="230" y="109"/>
                    </a:lnTo>
                    <a:lnTo>
                      <a:pt x="249" y="113"/>
                    </a:lnTo>
                    <a:lnTo>
                      <a:pt x="269" y="117"/>
                    </a:lnTo>
                    <a:lnTo>
                      <a:pt x="308" y="124"/>
                    </a:lnTo>
                    <a:lnTo>
                      <a:pt x="326" y="127"/>
                    </a:lnTo>
                    <a:lnTo>
                      <a:pt x="322" y="131"/>
                    </a:lnTo>
                    <a:lnTo>
                      <a:pt x="319" y="136"/>
                    </a:lnTo>
                    <a:lnTo>
                      <a:pt x="315" y="140"/>
                    </a:lnTo>
                    <a:lnTo>
                      <a:pt x="310" y="144"/>
                    </a:lnTo>
                    <a:lnTo>
                      <a:pt x="303" y="149"/>
                    </a:lnTo>
                    <a:lnTo>
                      <a:pt x="299" y="151"/>
                    </a:lnTo>
                    <a:lnTo>
                      <a:pt x="299" y="154"/>
                    </a:lnTo>
                    <a:lnTo>
                      <a:pt x="301" y="157"/>
                    </a:lnTo>
                    <a:lnTo>
                      <a:pt x="302" y="160"/>
                    </a:lnTo>
                    <a:lnTo>
                      <a:pt x="304" y="164"/>
                    </a:lnTo>
                    <a:lnTo>
                      <a:pt x="308" y="168"/>
                    </a:lnTo>
                    <a:lnTo>
                      <a:pt x="314" y="173"/>
                    </a:lnTo>
                    <a:lnTo>
                      <a:pt x="319" y="176"/>
                    </a:lnTo>
                    <a:lnTo>
                      <a:pt x="325" y="180"/>
                    </a:lnTo>
                    <a:lnTo>
                      <a:pt x="329" y="184"/>
                    </a:lnTo>
                    <a:lnTo>
                      <a:pt x="332" y="188"/>
                    </a:lnTo>
                    <a:lnTo>
                      <a:pt x="290" y="211"/>
                    </a:lnTo>
                    <a:lnTo>
                      <a:pt x="257" y="231"/>
                    </a:lnTo>
                    <a:lnTo>
                      <a:pt x="241" y="241"/>
                    </a:lnTo>
                    <a:lnTo>
                      <a:pt x="225" y="253"/>
                    </a:lnTo>
                    <a:lnTo>
                      <a:pt x="207" y="268"/>
                    </a:lnTo>
                    <a:lnTo>
                      <a:pt x="186" y="287"/>
                    </a:lnTo>
                    <a:lnTo>
                      <a:pt x="173" y="244"/>
                    </a:lnTo>
                    <a:lnTo>
                      <a:pt x="178" y="244"/>
                    </a:lnTo>
                    <a:lnTo>
                      <a:pt x="182" y="243"/>
                    </a:lnTo>
                    <a:lnTo>
                      <a:pt x="185" y="242"/>
                    </a:lnTo>
                    <a:lnTo>
                      <a:pt x="189" y="240"/>
                    </a:lnTo>
                    <a:lnTo>
                      <a:pt x="194" y="236"/>
                    </a:lnTo>
                    <a:lnTo>
                      <a:pt x="200" y="232"/>
                    </a:lnTo>
                    <a:lnTo>
                      <a:pt x="174" y="232"/>
                    </a:lnTo>
                    <a:lnTo>
                      <a:pt x="149" y="232"/>
                    </a:lnTo>
                    <a:lnTo>
                      <a:pt x="125" y="232"/>
                    </a:lnTo>
                    <a:lnTo>
                      <a:pt x="101" y="232"/>
                    </a:lnTo>
                    <a:lnTo>
                      <a:pt x="79" y="232"/>
                    </a:lnTo>
                    <a:lnTo>
                      <a:pt x="58" y="232"/>
                    </a:lnTo>
                    <a:lnTo>
                      <a:pt x="41" y="232"/>
                    </a:lnTo>
                    <a:lnTo>
                      <a:pt x="27" y="232"/>
                    </a:lnTo>
                    <a:lnTo>
                      <a:pt x="19" y="231"/>
                    </a:lnTo>
                    <a:lnTo>
                      <a:pt x="11" y="227"/>
                    </a:lnTo>
                    <a:lnTo>
                      <a:pt x="6" y="225"/>
                    </a:lnTo>
                    <a:lnTo>
                      <a:pt x="3" y="222"/>
                    </a:lnTo>
                    <a:lnTo>
                      <a:pt x="1" y="218"/>
                    </a:lnTo>
                    <a:lnTo>
                      <a:pt x="0" y="213"/>
                    </a:lnTo>
                    <a:lnTo>
                      <a:pt x="1" y="209"/>
                    </a:lnTo>
                    <a:lnTo>
                      <a:pt x="4" y="205"/>
                    </a:lnTo>
                    <a:lnTo>
                      <a:pt x="7" y="201"/>
                    </a:lnTo>
                    <a:lnTo>
                      <a:pt x="13" y="197"/>
                    </a:lnTo>
                    <a:lnTo>
                      <a:pt x="26" y="188"/>
                    </a:lnTo>
                    <a:lnTo>
                      <a:pt x="41" y="179"/>
                    </a:lnTo>
                    <a:lnTo>
                      <a:pt x="58" y="170"/>
                    </a:lnTo>
                    <a:lnTo>
                      <a:pt x="73" y="162"/>
                    </a:lnTo>
                    <a:lnTo>
                      <a:pt x="80" y="156"/>
                    </a:lnTo>
                    <a:lnTo>
                      <a:pt x="85" y="152"/>
                    </a:lnTo>
                    <a:lnTo>
                      <a:pt x="90" y="149"/>
                    </a:lnTo>
                    <a:lnTo>
                      <a:pt x="93" y="145"/>
                    </a:lnTo>
                    <a:lnTo>
                      <a:pt x="100" y="138"/>
                    </a:lnTo>
                    <a:lnTo>
                      <a:pt x="106" y="130"/>
                    </a:lnTo>
                    <a:lnTo>
                      <a:pt x="112" y="122"/>
                    </a:lnTo>
                    <a:lnTo>
                      <a:pt x="116" y="114"/>
                    </a:lnTo>
                    <a:lnTo>
                      <a:pt x="124" y="96"/>
                    </a:lnTo>
                    <a:lnTo>
                      <a:pt x="130" y="79"/>
                    </a:lnTo>
                    <a:lnTo>
                      <a:pt x="134" y="71"/>
                    </a:lnTo>
                    <a:lnTo>
                      <a:pt x="138" y="64"/>
                    </a:lnTo>
                    <a:lnTo>
                      <a:pt x="141" y="58"/>
                    </a:lnTo>
                    <a:lnTo>
                      <a:pt x="147" y="52"/>
                    </a:lnTo>
                    <a:lnTo>
                      <a:pt x="151" y="47"/>
                    </a:lnTo>
                    <a:lnTo>
                      <a:pt x="158" y="43"/>
                    </a:lnTo>
                    <a:lnTo>
                      <a:pt x="164" y="41"/>
                    </a:lnTo>
                    <a:lnTo>
                      <a:pt x="173" y="4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99" name="Freeform 428"/>
              <p:cNvSpPr>
                <a:spLocks/>
              </p:cNvSpPr>
              <p:nvPr/>
            </p:nvSpPr>
            <p:spPr bwMode="auto">
              <a:xfrm>
                <a:off x="1102" y="1190"/>
                <a:ext cx="111" cy="27"/>
              </a:xfrm>
              <a:custGeom>
                <a:avLst/>
                <a:gdLst>
                  <a:gd name="T0" fmla="*/ 106 w 345"/>
                  <a:gd name="T1" fmla="*/ 86 h 86"/>
                  <a:gd name="T2" fmla="*/ 119 w 345"/>
                  <a:gd name="T3" fmla="*/ 81 h 86"/>
                  <a:gd name="T4" fmla="*/ 133 w 345"/>
                  <a:gd name="T5" fmla="*/ 76 h 86"/>
                  <a:gd name="T6" fmla="*/ 148 w 345"/>
                  <a:gd name="T7" fmla="*/ 72 h 86"/>
                  <a:gd name="T8" fmla="*/ 164 w 345"/>
                  <a:gd name="T9" fmla="*/ 69 h 86"/>
                  <a:gd name="T10" fmla="*/ 197 w 345"/>
                  <a:gd name="T11" fmla="*/ 63 h 86"/>
                  <a:gd name="T12" fmla="*/ 231 w 345"/>
                  <a:gd name="T13" fmla="*/ 57 h 86"/>
                  <a:gd name="T14" fmla="*/ 247 w 345"/>
                  <a:gd name="T15" fmla="*/ 53 h 86"/>
                  <a:gd name="T16" fmla="*/ 264 w 345"/>
                  <a:gd name="T17" fmla="*/ 50 h 86"/>
                  <a:gd name="T18" fmla="*/ 279 w 345"/>
                  <a:gd name="T19" fmla="*/ 46 h 86"/>
                  <a:gd name="T20" fmla="*/ 294 w 345"/>
                  <a:gd name="T21" fmla="*/ 40 h 86"/>
                  <a:gd name="T22" fmla="*/ 309 w 345"/>
                  <a:gd name="T23" fmla="*/ 35 h 86"/>
                  <a:gd name="T24" fmla="*/ 322 w 345"/>
                  <a:gd name="T25" fmla="*/ 28 h 86"/>
                  <a:gd name="T26" fmla="*/ 334 w 345"/>
                  <a:gd name="T27" fmla="*/ 21 h 86"/>
                  <a:gd name="T28" fmla="*/ 345 w 345"/>
                  <a:gd name="T29" fmla="*/ 13 h 86"/>
                  <a:gd name="T30" fmla="*/ 335 w 345"/>
                  <a:gd name="T31" fmla="*/ 12 h 86"/>
                  <a:gd name="T32" fmla="*/ 326 w 345"/>
                  <a:gd name="T33" fmla="*/ 11 h 86"/>
                  <a:gd name="T34" fmla="*/ 317 w 345"/>
                  <a:gd name="T35" fmla="*/ 9 h 86"/>
                  <a:gd name="T36" fmla="*/ 309 w 345"/>
                  <a:gd name="T37" fmla="*/ 6 h 86"/>
                  <a:gd name="T38" fmla="*/ 300 w 345"/>
                  <a:gd name="T39" fmla="*/ 4 h 86"/>
                  <a:gd name="T40" fmla="*/ 291 w 345"/>
                  <a:gd name="T41" fmla="*/ 2 h 86"/>
                  <a:gd name="T42" fmla="*/ 281 w 345"/>
                  <a:gd name="T43" fmla="*/ 1 h 86"/>
                  <a:gd name="T44" fmla="*/ 272 w 345"/>
                  <a:gd name="T45" fmla="*/ 0 h 86"/>
                  <a:gd name="T46" fmla="*/ 259 w 345"/>
                  <a:gd name="T47" fmla="*/ 1 h 86"/>
                  <a:gd name="T48" fmla="*/ 245 w 345"/>
                  <a:gd name="T49" fmla="*/ 3 h 86"/>
                  <a:gd name="T50" fmla="*/ 227 w 345"/>
                  <a:gd name="T51" fmla="*/ 5 h 86"/>
                  <a:gd name="T52" fmla="*/ 209 w 345"/>
                  <a:gd name="T53" fmla="*/ 9 h 86"/>
                  <a:gd name="T54" fmla="*/ 168 w 345"/>
                  <a:gd name="T55" fmla="*/ 18 h 86"/>
                  <a:gd name="T56" fmla="*/ 126 w 345"/>
                  <a:gd name="T57" fmla="*/ 29 h 86"/>
                  <a:gd name="T58" fmla="*/ 104 w 345"/>
                  <a:gd name="T59" fmla="*/ 36 h 86"/>
                  <a:gd name="T60" fmla="*/ 85 w 345"/>
                  <a:gd name="T61" fmla="*/ 42 h 86"/>
                  <a:gd name="T62" fmla="*/ 66 w 345"/>
                  <a:gd name="T63" fmla="*/ 50 h 86"/>
                  <a:gd name="T64" fmla="*/ 47 w 345"/>
                  <a:gd name="T65" fmla="*/ 58 h 86"/>
                  <a:gd name="T66" fmla="*/ 32 w 345"/>
                  <a:gd name="T67" fmla="*/ 65 h 86"/>
                  <a:gd name="T68" fmla="*/ 19 w 345"/>
                  <a:gd name="T69" fmla="*/ 72 h 86"/>
                  <a:gd name="T70" fmla="*/ 8 w 345"/>
                  <a:gd name="T71" fmla="*/ 79 h 86"/>
                  <a:gd name="T72" fmla="*/ 0 w 345"/>
                  <a:gd name="T73" fmla="*/ 86 h 86"/>
                  <a:gd name="T74" fmla="*/ 106 w 345"/>
                  <a:gd name="T75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345" h="86">
                    <a:moveTo>
                      <a:pt x="106" y="86"/>
                    </a:moveTo>
                    <a:lnTo>
                      <a:pt x="119" y="81"/>
                    </a:lnTo>
                    <a:lnTo>
                      <a:pt x="133" y="76"/>
                    </a:lnTo>
                    <a:lnTo>
                      <a:pt x="148" y="72"/>
                    </a:lnTo>
                    <a:lnTo>
                      <a:pt x="164" y="69"/>
                    </a:lnTo>
                    <a:lnTo>
                      <a:pt x="197" y="63"/>
                    </a:lnTo>
                    <a:lnTo>
                      <a:pt x="231" y="57"/>
                    </a:lnTo>
                    <a:lnTo>
                      <a:pt x="247" y="53"/>
                    </a:lnTo>
                    <a:lnTo>
                      <a:pt x="264" y="50"/>
                    </a:lnTo>
                    <a:lnTo>
                      <a:pt x="279" y="46"/>
                    </a:lnTo>
                    <a:lnTo>
                      <a:pt x="294" y="40"/>
                    </a:lnTo>
                    <a:lnTo>
                      <a:pt x="309" y="35"/>
                    </a:lnTo>
                    <a:lnTo>
                      <a:pt x="322" y="28"/>
                    </a:lnTo>
                    <a:lnTo>
                      <a:pt x="334" y="21"/>
                    </a:lnTo>
                    <a:lnTo>
                      <a:pt x="345" y="13"/>
                    </a:lnTo>
                    <a:lnTo>
                      <a:pt x="335" y="12"/>
                    </a:lnTo>
                    <a:lnTo>
                      <a:pt x="326" y="11"/>
                    </a:lnTo>
                    <a:lnTo>
                      <a:pt x="317" y="9"/>
                    </a:lnTo>
                    <a:lnTo>
                      <a:pt x="309" y="6"/>
                    </a:lnTo>
                    <a:lnTo>
                      <a:pt x="300" y="4"/>
                    </a:lnTo>
                    <a:lnTo>
                      <a:pt x="291" y="2"/>
                    </a:lnTo>
                    <a:lnTo>
                      <a:pt x="281" y="1"/>
                    </a:lnTo>
                    <a:lnTo>
                      <a:pt x="272" y="0"/>
                    </a:lnTo>
                    <a:lnTo>
                      <a:pt x="259" y="1"/>
                    </a:lnTo>
                    <a:lnTo>
                      <a:pt x="245" y="3"/>
                    </a:lnTo>
                    <a:lnTo>
                      <a:pt x="227" y="5"/>
                    </a:lnTo>
                    <a:lnTo>
                      <a:pt x="209" y="9"/>
                    </a:lnTo>
                    <a:lnTo>
                      <a:pt x="168" y="18"/>
                    </a:lnTo>
                    <a:lnTo>
                      <a:pt x="126" y="29"/>
                    </a:lnTo>
                    <a:lnTo>
                      <a:pt x="104" y="36"/>
                    </a:lnTo>
                    <a:lnTo>
                      <a:pt x="85" y="42"/>
                    </a:lnTo>
                    <a:lnTo>
                      <a:pt x="66" y="50"/>
                    </a:lnTo>
                    <a:lnTo>
                      <a:pt x="47" y="58"/>
                    </a:lnTo>
                    <a:lnTo>
                      <a:pt x="32" y="65"/>
                    </a:lnTo>
                    <a:lnTo>
                      <a:pt x="19" y="72"/>
                    </a:lnTo>
                    <a:lnTo>
                      <a:pt x="8" y="79"/>
                    </a:lnTo>
                    <a:lnTo>
                      <a:pt x="0" y="86"/>
                    </a:lnTo>
                    <a:lnTo>
                      <a:pt x="106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00" name="Freeform 429"/>
              <p:cNvSpPr>
                <a:spLocks/>
              </p:cNvSpPr>
              <p:nvPr/>
            </p:nvSpPr>
            <p:spPr bwMode="auto">
              <a:xfrm>
                <a:off x="1158" y="1199"/>
                <a:ext cx="149" cy="43"/>
              </a:xfrm>
              <a:custGeom>
                <a:avLst/>
                <a:gdLst>
                  <a:gd name="T0" fmla="*/ 19 w 464"/>
                  <a:gd name="T1" fmla="*/ 86 h 130"/>
                  <a:gd name="T2" fmla="*/ 77 w 464"/>
                  <a:gd name="T3" fmla="*/ 81 h 130"/>
                  <a:gd name="T4" fmla="*/ 103 w 464"/>
                  <a:gd name="T5" fmla="*/ 81 h 130"/>
                  <a:gd name="T6" fmla="*/ 92 w 464"/>
                  <a:gd name="T7" fmla="*/ 89 h 130"/>
                  <a:gd name="T8" fmla="*/ 81 w 464"/>
                  <a:gd name="T9" fmla="*/ 100 h 130"/>
                  <a:gd name="T10" fmla="*/ 73 w 464"/>
                  <a:gd name="T11" fmla="*/ 112 h 130"/>
                  <a:gd name="T12" fmla="*/ 73 w 464"/>
                  <a:gd name="T13" fmla="*/ 119 h 130"/>
                  <a:gd name="T14" fmla="*/ 79 w 464"/>
                  <a:gd name="T15" fmla="*/ 124 h 130"/>
                  <a:gd name="T16" fmla="*/ 92 w 464"/>
                  <a:gd name="T17" fmla="*/ 129 h 130"/>
                  <a:gd name="T18" fmla="*/ 109 w 464"/>
                  <a:gd name="T19" fmla="*/ 129 h 130"/>
                  <a:gd name="T20" fmla="*/ 128 w 464"/>
                  <a:gd name="T21" fmla="*/ 127 h 130"/>
                  <a:gd name="T22" fmla="*/ 157 w 464"/>
                  <a:gd name="T23" fmla="*/ 119 h 130"/>
                  <a:gd name="T24" fmla="*/ 196 w 464"/>
                  <a:gd name="T25" fmla="*/ 108 h 130"/>
                  <a:gd name="T26" fmla="*/ 226 w 464"/>
                  <a:gd name="T27" fmla="*/ 101 h 130"/>
                  <a:gd name="T28" fmla="*/ 248 w 464"/>
                  <a:gd name="T29" fmla="*/ 99 h 130"/>
                  <a:gd name="T30" fmla="*/ 266 w 464"/>
                  <a:gd name="T31" fmla="*/ 99 h 130"/>
                  <a:gd name="T32" fmla="*/ 304 w 464"/>
                  <a:gd name="T33" fmla="*/ 99 h 130"/>
                  <a:gd name="T34" fmla="*/ 333 w 464"/>
                  <a:gd name="T35" fmla="*/ 98 h 130"/>
                  <a:gd name="T36" fmla="*/ 376 w 464"/>
                  <a:gd name="T37" fmla="*/ 93 h 130"/>
                  <a:gd name="T38" fmla="*/ 415 w 464"/>
                  <a:gd name="T39" fmla="*/ 83 h 130"/>
                  <a:gd name="T40" fmla="*/ 449 w 464"/>
                  <a:gd name="T41" fmla="*/ 66 h 130"/>
                  <a:gd name="T42" fmla="*/ 455 w 464"/>
                  <a:gd name="T43" fmla="*/ 51 h 130"/>
                  <a:gd name="T44" fmla="*/ 439 w 464"/>
                  <a:gd name="T45" fmla="*/ 48 h 130"/>
                  <a:gd name="T46" fmla="*/ 413 w 464"/>
                  <a:gd name="T47" fmla="*/ 48 h 130"/>
                  <a:gd name="T48" fmla="*/ 396 w 464"/>
                  <a:gd name="T49" fmla="*/ 46 h 130"/>
                  <a:gd name="T50" fmla="*/ 406 w 464"/>
                  <a:gd name="T51" fmla="*/ 36 h 130"/>
                  <a:gd name="T52" fmla="*/ 413 w 464"/>
                  <a:gd name="T53" fmla="*/ 22 h 130"/>
                  <a:gd name="T54" fmla="*/ 418 w 464"/>
                  <a:gd name="T55" fmla="*/ 7 h 130"/>
                  <a:gd name="T56" fmla="*/ 378 w 464"/>
                  <a:gd name="T57" fmla="*/ 0 h 130"/>
                  <a:gd name="T58" fmla="*/ 360 w 464"/>
                  <a:gd name="T59" fmla="*/ 19 h 130"/>
                  <a:gd name="T60" fmla="*/ 343 w 464"/>
                  <a:gd name="T61" fmla="*/ 41 h 130"/>
                  <a:gd name="T62" fmla="*/ 323 w 464"/>
                  <a:gd name="T63" fmla="*/ 59 h 130"/>
                  <a:gd name="T64" fmla="*/ 312 w 464"/>
                  <a:gd name="T65" fmla="*/ 65 h 130"/>
                  <a:gd name="T66" fmla="*/ 298 w 464"/>
                  <a:gd name="T67" fmla="*/ 68 h 130"/>
                  <a:gd name="T68" fmla="*/ 278 w 464"/>
                  <a:gd name="T69" fmla="*/ 66 h 130"/>
                  <a:gd name="T70" fmla="*/ 262 w 464"/>
                  <a:gd name="T71" fmla="*/ 63 h 130"/>
                  <a:gd name="T72" fmla="*/ 239 w 464"/>
                  <a:gd name="T73" fmla="*/ 54 h 130"/>
                  <a:gd name="T74" fmla="*/ 205 w 464"/>
                  <a:gd name="T75" fmla="*/ 31 h 130"/>
                  <a:gd name="T76" fmla="*/ 180 w 464"/>
                  <a:gd name="T77" fmla="*/ 29 h 130"/>
                  <a:gd name="T78" fmla="*/ 150 w 464"/>
                  <a:gd name="T79" fmla="*/ 31 h 130"/>
                  <a:gd name="T80" fmla="*/ 117 w 464"/>
                  <a:gd name="T81" fmla="*/ 37 h 130"/>
                  <a:gd name="T82" fmla="*/ 85 w 464"/>
                  <a:gd name="T83" fmla="*/ 45 h 130"/>
                  <a:gd name="T84" fmla="*/ 54 w 464"/>
                  <a:gd name="T85" fmla="*/ 54 h 130"/>
                  <a:gd name="T86" fmla="*/ 29 w 464"/>
                  <a:gd name="T87" fmla="*/ 65 h 130"/>
                  <a:gd name="T88" fmla="*/ 9 w 464"/>
                  <a:gd name="T89" fmla="*/ 77 h 130"/>
                  <a:gd name="T90" fmla="*/ 0 w 464"/>
                  <a:gd name="T91" fmla="*/ 8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64" h="130">
                    <a:moveTo>
                      <a:pt x="0" y="86"/>
                    </a:moveTo>
                    <a:lnTo>
                      <a:pt x="19" y="86"/>
                    </a:lnTo>
                    <a:lnTo>
                      <a:pt x="48" y="83"/>
                    </a:lnTo>
                    <a:lnTo>
                      <a:pt x="77" y="81"/>
                    </a:lnTo>
                    <a:lnTo>
                      <a:pt x="106" y="80"/>
                    </a:lnTo>
                    <a:lnTo>
                      <a:pt x="103" y="81"/>
                    </a:lnTo>
                    <a:lnTo>
                      <a:pt x="97" y="84"/>
                    </a:lnTo>
                    <a:lnTo>
                      <a:pt x="92" y="89"/>
                    </a:lnTo>
                    <a:lnTo>
                      <a:pt x="86" y="94"/>
                    </a:lnTo>
                    <a:lnTo>
                      <a:pt x="81" y="100"/>
                    </a:lnTo>
                    <a:lnTo>
                      <a:pt x="76" y="106"/>
                    </a:lnTo>
                    <a:lnTo>
                      <a:pt x="73" y="112"/>
                    </a:lnTo>
                    <a:lnTo>
                      <a:pt x="72" y="117"/>
                    </a:lnTo>
                    <a:lnTo>
                      <a:pt x="73" y="119"/>
                    </a:lnTo>
                    <a:lnTo>
                      <a:pt x="75" y="121"/>
                    </a:lnTo>
                    <a:lnTo>
                      <a:pt x="79" y="124"/>
                    </a:lnTo>
                    <a:lnTo>
                      <a:pt x="83" y="126"/>
                    </a:lnTo>
                    <a:lnTo>
                      <a:pt x="92" y="129"/>
                    </a:lnTo>
                    <a:lnTo>
                      <a:pt x="99" y="130"/>
                    </a:lnTo>
                    <a:lnTo>
                      <a:pt x="109" y="129"/>
                    </a:lnTo>
                    <a:lnTo>
                      <a:pt x="119" y="129"/>
                    </a:lnTo>
                    <a:lnTo>
                      <a:pt x="128" y="127"/>
                    </a:lnTo>
                    <a:lnTo>
                      <a:pt x="138" y="125"/>
                    </a:lnTo>
                    <a:lnTo>
                      <a:pt x="157" y="119"/>
                    </a:lnTo>
                    <a:lnTo>
                      <a:pt x="176" y="114"/>
                    </a:lnTo>
                    <a:lnTo>
                      <a:pt x="196" y="108"/>
                    </a:lnTo>
                    <a:lnTo>
                      <a:pt x="216" y="103"/>
                    </a:lnTo>
                    <a:lnTo>
                      <a:pt x="226" y="101"/>
                    </a:lnTo>
                    <a:lnTo>
                      <a:pt x="237" y="100"/>
                    </a:lnTo>
                    <a:lnTo>
                      <a:pt x="248" y="99"/>
                    </a:lnTo>
                    <a:lnTo>
                      <a:pt x="259" y="99"/>
                    </a:lnTo>
                    <a:lnTo>
                      <a:pt x="266" y="99"/>
                    </a:lnTo>
                    <a:lnTo>
                      <a:pt x="285" y="99"/>
                    </a:lnTo>
                    <a:lnTo>
                      <a:pt x="304" y="99"/>
                    </a:lnTo>
                    <a:lnTo>
                      <a:pt x="311" y="99"/>
                    </a:lnTo>
                    <a:lnTo>
                      <a:pt x="333" y="98"/>
                    </a:lnTo>
                    <a:lnTo>
                      <a:pt x="355" y="96"/>
                    </a:lnTo>
                    <a:lnTo>
                      <a:pt x="376" y="93"/>
                    </a:lnTo>
                    <a:lnTo>
                      <a:pt x="396" y="89"/>
                    </a:lnTo>
                    <a:lnTo>
                      <a:pt x="415" y="83"/>
                    </a:lnTo>
                    <a:lnTo>
                      <a:pt x="432" y="76"/>
                    </a:lnTo>
                    <a:lnTo>
                      <a:pt x="449" y="66"/>
                    </a:lnTo>
                    <a:lnTo>
                      <a:pt x="464" y="55"/>
                    </a:lnTo>
                    <a:lnTo>
                      <a:pt x="455" y="51"/>
                    </a:lnTo>
                    <a:lnTo>
                      <a:pt x="446" y="49"/>
                    </a:lnTo>
                    <a:lnTo>
                      <a:pt x="439" y="48"/>
                    </a:lnTo>
                    <a:lnTo>
                      <a:pt x="430" y="48"/>
                    </a:lnTo>
                    <a:lnTo>
                      <a:pt x="413" y="48"/>
                    </a:lnTo>
                    <a:lnTo>
                      <a:pt x="392" y="49"/>
                    </a:lnTo>
                    <a:lnTo>
                      <a:pt x="396" y="46"/>
                    </a:lnTo>
                    <a:lnTo>
                      <a:pt x="401" y="42"/>
                    </a:lnTo>
                    <a:lnTo>
                      <a:pt x="406" y="36"/>
                    </a:lnTo>
                    <a:lnTo>
                      <a:pt x="410" y="29"/>
                    </a:lnTo>
                    <a:lnTo>
                      <a:pt x="413" y="22"/>
                    </a:lnTo>
                    <a:lnTo>
                      <a:pt x="416" y="15"/>
                    </a:lnTo>
                    <a:lnTo>
                      <a:pt x="418" y="7"/>
                    </a:lnTo>
                    <a:lnTo>
                      <a:pt x="418" y="0"/>
                    </a:lnTo>
                    <a:lnTo>
                      <a:pt x="378" y="0"/>
                    </a:lnTo>
                    <a:lnTo>
                      <a:pt x="368" y="8"/>
                    </a:lnTo>
                    <a:lnTo>
                      <a:pt x="360" y="19"/>
                    </a:lnTo>
                    <a:lnTo>
                      <a:pt x="352" y="30"/>
                    </a:lnTo>
                    <a:lnTo>
                      <a:pt x="343" y="41"/>
                    </a:lnTo>
                    <a:lnTo>
                      <a:pt x="334" y="51"/>
                    </a:lnTo>
                    <a:lnTo>
                      <a:pt x="323" y="59"/>
                    </a:lnTo>
                    <a:lnTo>
                      <a:pt x="318" y="63"/>
                    </a:lnTo>
                    <a:lnTo>
                      <a:pt x="312" y="65"/>
                    </a:lnTo>
                    <a:lnTo>
                      <a:pt x="306" y="68"/>
                    </a:lnTo>
                    <a:lnTo>
                      <a:pt x="298" y="68"/>
                    </a:lnTo>
                    <a:lnTo>
                      <a:pt x="287" y="68"/>
                    </a:lnTo>
                    <a:lnTo>
                      <a:pt x="278" y="66"/>
                    </a:lnTo>
                    <a:lnTo>
                      <a:pt x="270" y="65"/>
                    </a:lnTo>
                    <a:lnTo>
                      <a:pt x="262" y="63"/>
                    </a:lnTo>
                    <a:lnTo>
                      <a:pt x="250" y="59"/>
                    </a:lnTo>
                    <a:lnTo>
                      <a:pt x="239" y="54"/>
                    </a:lnTo>
                    <a:lnTo>
                      <a:pt x="222" y="42"/>
                    </a:lnTo>
                    <a:lnTo>
                      <a:pt x="205" y="31"/>
                    </a:lnTo>
                    <a:lnTo>
                      <a:pt x="193" y="29"/>
                    </a:lnTo>
                    <a:lnTo>
                      <a:pt x="180" y="29"/>
                    </a:lnTo>
                    <a:lnTo>
                      <a:pt x="165" y="29"/>
                    </a:lnTo>
                    <a:lnTo>
                      <a:pt x="150" y="31"/>
                    </a:lnTo>
                    <a:lnTo>
                      <a:pt x="133" y="33"/>
                    </a:lnTo>
                    <a:lnTo>
                      <a:pt x="117" y="37"/>
                    </a:lnTo>
                    <a:lnTo>
                      <a:pt x="101" y="40"/>
                    </a:lnTo>
                    <a:lnTo>
                      <a:pt x="85" y="45"/>
                    </a:lnTo>
                    <a:lnTo>
                      <a:pt x="70" y="49"/>
                    </a:lnTo>
                    <a:lnTo>
                      <a:pt x="54" y="54"/>
                    </a:lnTo>
                    <a:lnTo>
                      <a:pt x="41" y="60"/>
                    </a:lnTo>
                    <a:lnTo>
                      <a:pt x="29" y="65"/>
                    </a:lnTo>
                    <a:lnTo>
                      <a:pt x="18" y="71"/>
                    </a:lnTo>
                    <a:lnTo>
                      <a:pt x="9" y="77"/>
                    </a:lnTo>
                    <a:lnTo>
                      <a:pt x="3" y="82"/>
                    </a:lnTo>
                    <a:lnTo>
                      <a:pt x="0" y="8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01" name="Freeform 430"/>
              <p:cNvSpPr>
                <a:spLocks/>
              </p:cNvSpPr>
              <p:nvPr/>
            </p:nvSpPr>
            <p:spPr bwMode="auto">
              <a:xfrm>
                <a:off x="1472" y="1205"/>
                <a:ext cx="153" cy="31"/>
              </a:xfrm>
              <a:custGeom>
                <a:avLst/>
                <a:gdLst>
                  <a:gd name="T0" fmla="*/ 63 w 472"/>
                  <a:gd name="T1" fmla="*/ 0 h 92"/>
                  <a:gd name="T2" fmla="*/ 44 w 472"/>
                  <a:gd name="T3" fmla="*/ 0 h 92"/>
                  <a:gd name="T4" fmla="*/ 24 w 472"/>
                  <a:gd name="T5" fmla="*/ 0 h 92"/>
                  <a:gd name="T6" fmla="*/ 12 w 472"/>
                  <a:gd name="T7" fmla="*/ 3 h 92"/>
                  <a:gd name="T8" fmla="*/ 7 w 472"/>
                  <a:gd name="T9" fmla="*/ 8 h 92"/>
                  <a:gd name="T10" fmla="*/ 7 w 472"/>
                  <a:gd name="T11" fmla="*/ 16 h 92"/>
                  <a:gd name="T12" fmla="*/ 10 w 472"/>
                  <a:gd name="T13" fmla="*/ 23 h 92"/>
                  <a:gd name="T14" fmla="*/ 15 w 472"/>
                  <a:gd name="T15" fmla="*/ 32 h 92"/>
                  <a:gd name="T16" fmla="*/ 14 w 472"/>
                  <a:gd name="T17" fmla="*/ 41 h 92"/>
                  <a:gd name="T18" fmla="*/ 4 w 472"/>
                  <a:gd name="T19" fmla="*/ 50 h 92"/>
                  <a:gd name="T20" fmla="*/ 1 w 472"/>
                  <a:gd name="T21" fmla="*/ 57 h 92"/>
                  <a:gd name="T22" fmla="*/ 2 w 472"/>
                  <a:gd name="T23" fmla="*/ 64 h 92"/>
                  <a:gd name="T24" fmla="*/ 14 w 472"/>
                  <a:gd name="T25" fmla="*/ 69 h 92"/>
                  <a:gd name="T26" fmla="*/ 48 w 472"/>
                  <a:gd name="T27" fmla="*/ 76 h 92"/>
                  <a:gd name="T28" fmla="*/ 109 w 472"/>
                  <a:gd name="T29" fmla="*/ 85 h 92"/>
                  <a:gd name="T30" fmla="*/ 167 w 472"/>
                  <a:gd name="T31" fmla="*/ 91 h 92"/>
                  <a:gd name="T32" fmla="*/ 365 w 472"/>
                  <a:gd name="T33" fmla="*/ 92 h 92"/>
                  <a:gd name="T34" fmla="*/ 374 w 472"/>
                  <a:gd name="T35" fmla="*/ 81 h 92"/>
                  <a:gd name="T36" fmla="*/ 385 w 472"/>
                  <a:gd name="T37" fmla="*/ 75 h 92"/>
                  <a:gd name="T38" fmla="*/ 397 w 472"/>
                  <a:gd name="T39" fmla="*/ 73 h 92"/>
                  <a:gd name="T40" fmla="*/ 411 w 472"/>
                  <a:gd name="T41" fmla="*/ 73 h 92"/>
                  <a:gd name="T42" fmla="*/ 441 w 472"/>
                  <a:gd name="T43" fmla="*/ 76 h 92"/>
                  <a:gd name="T44" fmla="*/ 456 w 472"/>
                  <a:gd name="T45" fmla="*/ 76 h 92"/>
                  <a:gd name="T46" fmla="*/ 472 w 472"/>
                  <a:gd name="T47" fmla="*/ 73 h 92"/>
                  <a:gd name="T48" fmla="*/ 465 w 472"/>
                  <a:gd name="T49" fmla="*/ 33 h 92"/>
                  <a:gd name="T50" fmla="*/ 453 w 472"/>
                  <a:gd name="T51" fmla="*/ 26 h 92"/>
                  <a:gd name="T52" fmla="*/ 443 w 472"/>
                  <a:gd name="T53" fmla="*/ 18 h 92"/>
                  <a:gd name="T54" fmla="*/ 432 w 472"/>
                  <a:gd name="T55" fmla="*/ 13 h 92"/>
                  <a:gd name="T56" fmla="*/ 416 w 472"/>
                  <a:gd name="T57" fmla="*/ 12 h 92"/>
                  <a:gd name="T58" fmla="*/ 396 w 472"/>
                  <a:gd name="T59" fmla="*/ 15 h 92"/>
                  <a:gd name="T60" fmla="*/ 367 w 472"/>
                  <a:gd name="T61" fmla="*/ 22 h 92"/>
                  <a:gd name="T62" fmla="*/ 328 w 472"/>
                  <a:gd name="T63" fmla="*/ 33 h 92"/>
                  <a:gd name="T64" fmla="*/ 298 w 472"/>
                  <a:gd name="T65" fmla="*/ 39 h 92"/>
                  <a:gd name="T66" fmla="*/ 276 w 472"/>
                  <a:gd name="T67" fmla="*/ 42 h 92"/>
                  <a:gd name="T68" fmla="*/ 236 w 472"/>
                  <a:gd name="T69" fmla="*/ 42 h 92"/>
                  <a:gd name="T70" fmla="*/ 191 w 472"/>
                  <a:gd name="T71" fmla="*/ 42 h 92"/>
                  <a:gd name="T72" fmla="*/ 156 w 472"/>
                  <a:gd name="T73" fmla="*/ 42 h 92"/>
                  <a:gd name="T74" fmla="*/ 120 w 472"/>
                  <a:gd name="T75" fmla="*/ 42 h 92"/>
                  <a:gd name="T76" fmla="*/ 91 w 472"/>
                  <a:gd name="T77" fmla="*/ 41 h 92"/>
                  <a:gd name="T78" fmla="*/ 78 w 472"/>
                  <a:gd name="T79" fmla="*/ 36 h 92"/>
                  <a:gd name="T80" fmla="*/ 70 w 472"/>
                  <a:gd name="T81" fmla="*/ 27 h 92"/>
                  <a:gd name="T82" fmla="*/ 67 w 472"/>
                  <a:gd name="T83" fmla="*/ 17 h 92"/>
                  <a:gd name="T84" fmla="*/ 69 w 472"/>
                  <a:gd name="T85" fmla="*/ 8 h 92"/>
                  <a:gd name="T86" fmla="*/ 74 w 472"/>
                  <a:gd name="T87" fmla="*/ 2 h 92"/>
                  <a:gd name="T88" fmla="*/ 74 w 472"/>
                  <a:gd name="T89" fmla="*/ 0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72" h="92">
                    <a:moveTo>
                      <a:pt x="73" y="0"/>
                    </a:moveTo>
                    <a:lnTo>
                      <a:pt x="63" y="0"/>
                    </a:lnTo>
                    <a:lnTo>
                      <a:pt x="53" y="0"/>
                    </a:lnTo>
                    <a:lnTo>
                      <a:pt x="44" y="0"/>
                    </a:lnTo>
                    <a:lnTo>
                      <a:pt x="34" y="0"/>
                    </a:lnTo>
                    <a:lnTo>
                      <a:pt x="24" y="0"/>
                    </a:lnTo>
                    <a:lnTo>
                      <a:pt x="15" y="1"/>
                    </a:lnTo>
                    <a:lnTo>
                      <a:pt x="12" y="3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6" y="12"/>
                    </a:lnTo>
                    <a:lnTo>
                      <a:pt x="7" y="16"/>
                    </a:lnTo>
                    <a:lnTo>
                      <a:pt x="7" y="20"/>
                    </a:lnTo>
                    <a:lnTo>
                      <a:pt x="10" y="23"/>
                    </a:lnTo>
                    <a:lnTo>
                      <a:pt x="11" y="26"/>
                    </a:lnTo>
                    <a:lnTo>
                      <a:pt x="15" y="32"/>
                    </a:lnTo>
                    <a:lnTo>
                      <a:pt x="19" y="36"/>
                    </a:lnTo>
                    <a:lnTo>
                      <a:pt x="14" y="41"/>
                    </a:lnTo>
                    <a:lnTo>
                      <a:pt x="7" y="46"/>
                    </a:lnTo>
                    <a:lnTo>
                      <a:pt x="4" y="50"/>
                    </a:lnTo>
                    <a:lnTo>
                      <a:pt x="2" y="53"/>
                    </a:lnTo>
                    <a:lnTo>
                      <a:pt x="1" y="57"/>
                    </a:lnTo>
                    <a:lnTo>
                      <a:pt x="0" y="61"/>
                    </a:lnTo>
                    <a:lnTo>
                      <a:pt x="2" y="64"/>
                    </a:lnTo>
                    <a:lnTo>
                      <a:pt x="6" y="66"/>
                    </a:lnTo>
                    <a:lnTo>
                      <a:pt x="14" y="69"/>
                    </a:lnTo>
                    <a:lnTo>
                      <a:pt x="24" y="71"/>
                    </a:lnTo>
                    <a:lnTo>
                      <a:pt x="48" y="76"/>
                    </a:lnTo>
                    <a:lnTo>
                      <a:pt x="78" y="81"/>
                    </a:lnTo>
                    <a:lnTo>
                      <a:pt x="109" y="85"/>
                    </a:lnTo>
                    <a:lnTo>
                      <a:pt x="140" y="89"/>
                    </a:lnTo>
                    <a:lnTo>
                      <a:pt x="167" y="91"/>
                    </a:lnTo>
                    <a:lnTo>
                      <a:pt x="186" y="92"/>
                    </a:lnTo>
                    <a:lnTo>
                      <a:pt x="365" y="92"/>
                    </a:lnTo>
                    <a:lnTo>
                      <a:pt x="370" y="86"/>
                    </a:lnTo>
                    <a:lnTo>
                      <a:pt x="374" y="81"/>
                    </a:lnTo>
                    <a:lnTo>
                      <a:pt x="380" y="78"/>
                    </a:lnTo>
                    <a:lnTo>
                      <a:pt x="385" y="75"/>
                    </a:lnTo>
                    <a:lnTo>
                      <a:pt x="391" y="74"/>
                    </a:lnTo>
                    <a:lnTo>
                      <a:pt x="397" y="73"/>
                    </a:lnTo>
                    <a:lnTo>
                      <a:pt x="404" y="73"/>
                    </a:lnTo>
                    <a:lnTo>
                      <a:pt x="411" y="73"/>
                    </a:lnTo>
                    <a:lnTo>
                      <a:pt x="426" y="75"/>
                    </a:lnTo>
                    <a:lnTo>
                      <a:pt x="441" y="76"/>
                    </a:lnTo>
                    <a:lnTo>
                      <a:pt x="449" y="77"/>
                    </a:lnTo>
                    <a:lnTo>
                      <a:pt x="456" y="76"/>
                    </a:lnTo>
                    <a:lnTo>
                      <a:pt x="464" y="75"/>
                    </a:lnTo>
                    <a:lnTo>
                      <a:pt x="472" y="73"/>
                    </a:lnTo>
                    <a:lnTo>
                      <a:pt x="472" y="36"/>
                    </a:lnTo>
                    <a:lnTo>
                      <a:pt x="465" y="33"/>
                    </a:lnTo>
                    <a:lnTo>
                      <a:pt x="459" y="30"/>
                    </a:lnTo>
                    <a:lnTo>
                      <a:pt x="453" y="26"/>
                    </a:lnTo>
                    <a:lnTo>
                      <a:pt x="449" y="22"/>
                    </a:lnTo>
                    <a:lnTo>
                      <a:pt x="443" y="18"/>
                    </a:lnTo>
                    <a:lnTo>
                      <a:pt x="438" y="15"/>
                    </a:lnTo>
                    <a:lnTo>
                      <a:pt x="432" y="13"/>
                    </a:lnTo>
                    <a:lnTo>
                      <a:pt x="426" y="12"/>
                    </a:lnTo>
                    <a:lnTo>
                      <a:pt x="416" y="12"/>
                    </a:lnTo>
                    <a:lnTo>
                      <a:pt x="406" y="13"/>
                    </a:lnTo>
                    <a:lnTo>
                      <a:pt x="396" y="15"/>
                    </a:lnTo>
                    <a:lnTo>
                      <a:pt x="386" y="17"/>
                    </a:lnTo>
                    <a:lnTo>
                      <a:pt x="367" y="22"/>
                    </a:lnTo>
                    <a:lnTo>
                      <a:pt x="348" y="27"/>
                    </a:lnTo>
                    <a:lnTo>
                      <a:pt x="328" y="33"/>
                    </a:lnTo>
                    <a:lnTo>
                      <a:pt x="308" y="38"/>
                    </a:lnTo>
                    <a:lnTo>
                      <a:pt x="298" y="39"/>
                    </a:lnTo>
                    <a:lnTo>
                      <a:pt x="287" y="41"/>
                    </a:lnTo>
                    <a:lnTo>
                      <a:pt x="276" y="42"/>
                    </a:lnTo>
                    <a:lnTo>
                      <a:pt x="265" y="42"/>
                    </a:lnTo>
                    <a:lnTo>
                      <a:pt x="236" y="42"/>
                    </a:lnTo>
                    <a:lnTo>
                      <a:pt x="212" y="42"/>
                    </a:lnTo>
                    <a:lnTo>
                      <a:pt x="191" y="42"/>
                    </a:lnTo>
                    <a:lnTo>
                      <a:pt x="173" y="42"/>
                    </a:lnTo>
                    <a:lnTo>
                      <a:pt x="156" y="42"/>
                    </a:lnTo>
                    <a:lnTo>
                      <a:pt x="139" y="42"/>
                    </a:lnTo>
                    <a:lnTo>
                      <a:pt x="120" y="42"/>
                    </a:lnTo>
                    <a:lnTo>
                      <a:pt x="100" y="42"/>
                    </a:lnTo>
                    <a:lnTo>
                      <a:pt x="91" y="41"/>
                    </a:lnTo>
                    <a:lnTo>
                      <a:pt x="83" y="39"/>
                    </a:lnTo>
                    <a:lnTo>
                      <a:pt x="78" y="36"/>
                    </a:lnTo>
                    <a:lnTo>
                      <a:pt x="73" y="32"/>
                    </a:lnTo>
                    <a:lnTo>
                      <a:pt x="70" y="27"/>
                    </a:lnTo>
                    <a:lnTo>
                      <a:pt x="68" y="22"/>
                    </a:lnTo>
                    <a:lnTo>
                      <a:pt x="67" y="17"/>
                    </a:lnTo>
                    <a:lnTo>
                      <a:pt x="67" y="12"/>
                    </a:lnTo>
                    <a:lnTo>
                      <a:pt x="69" y="8"/>
                    </a:lnTo>
                    <a:lnTo>
                      <a:pt x="72" y="4"/>
                    </a:lnTo>
                    <a:lnTo>
                      <a:pt x="74" y="2"/>
                    </a:lnTo>
                    <a:lnTo>
                      <a:pt x="75" y="1"/>
                    </a:lnTo>
                    <a:lnTo>
                      <a:pt x="74" y="0"/>
                    </a:lnTo>
                    <a:lnTo>
                      <a:pt x="7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02" name="Freeform 431"/>
              <p:cNvSpPr>
                <a:spLocks/>
              </p:cNvSpPr>
              <p:nvPr/>
            </p:nvSpPr>
            <p:spPr bwMode="auto">
              <a:xfrm>
                <a:off x="1513" y="1136"/>
                <a:ext cx="106" cy="45"/>
              </a:xfrm>
              <a:custGeom>
                <a:avLst/>
                <a:gdLst>
                  <a:gd name="T0" fmla="*/ 145 w 326"/>
                  <a:gd name="T1" fmla="*/ 107 h 135"/>
                  <a:gd name="T2" fmla="*/ 203 w 326"/>
                  <a:gd name="T3" fmla="*/ 97 h 135"/>
                  <a:gd name="T4" fmla="*/ 262 w 326"/>
                  <a:gd name="T5" fmla="*/ 84 h 135"/>
                  <a:gd name="T6" fmla="*/ 300 w 326"/>
                  <a:gd name="T7" fmla="*/ 74 h 135"/>
                  <a:gd name="T8" fmla="*/ 318 w 326"/>
                  <a:gd name="T9" fmla="*/ 66 h 135"/>
                  <a:gd name="T10" fmla="*/ 322 w 326"/>
                  <a:gd name="T11" fmla="*/ 56 h 135"/>
                  <a:gd name="T12" fmla="*/ 312 w 326"/>
                  <a:gd name="T13" fmla="*/ 48 h 135"/>
                  <a:gd name="T14" fmla="*/ 300 w 326"/>
                  <a:gd name="T15" fmla="*/ 41 h 135"/>
                  <a:gd name="T16" fmla="*/ 286 w 326"/>
                  <a:gd name="T17" fmla="*/ 37 h 135"/>
                  <a:gd name="T18" fmla="*/ 263 w 326"/>
                  <a:gd name="T19" fmla="*/ 32 h 135"/>
                  <a:gd name="T20" fmla="*/ 230 w 326"/>
                  <a:gd name="T21" fmla="*/ 30 h 135"/>
                  <a:gd name="T22" fmla="*/ 209 w 326"/>
                  <a:gd name="T23" fmla="*/ 30 h 135"/>
                  <a:gd name="T24" fmla="*/ 202 w 326"/>
                  <a:gd name="T25" fmla="*/ 24 h 135"/>
                  <a:gd name="T26" fmla="*/ 196 w 326"/>
                  <a:gd name="T27" fmla="*/ 17 h 135"/>
                  <a:gd name="T28" fmla="*/ 191 w 326"/>
                  <a:gd name="T29" fmla="*/ 9 h 135"/>
                  <a:gd name="T30" fmla="*/ 180 w 326"/>
                  <a:gd name="T31" fmla="*/ 5 h 135"/>
                  <a:gd name="T32" fmla="*/ 162 w 326"/>
                  <a:gd name="T33" fmla="*/ 1 h 135"/>
                  <a:gd name="T34" fmla="*/ 135 w 326"/>
                  <a:gd name="T35" fmla="*/ 1 h 135"/>
                  <a:gd name="T36" fmla="*/ 87 w 326"/>
                  <a:gd name="T37" fmla="*/ 8 h 135"/>
                  <a:gd name="T38" fmla="*/ 49 w 326"/>
                  <a:gd name="T39" fmla="*/ 17 h 135"/>
                  <a:gd name="T40" fmla="*/ 27 w 326"/>
                  <a:gd name="T41" fmla="*/ 26 h 135"/>
                  <a:gd name="T42" fmla="*/ 11 w 326"/>
                  <a:gd name="T43" fmla="*/ 37 h 135"/>
                  <a:gd name="T44" fmla="*/ 3 w 326"/>
                  <a:gd name="T45" fmla="*/ 46 h 135"/>
                  <a:gd name="T46" fmla="*/ 1 w 326"/>
                  <a:gd name="T47" fmla="*/ 52 h 135"/>
                  <a:gd name="T48" fmla="*/ 34 w 326"/>
                  <a:gd name="T49" fmla="*/ 74 h 135"/>
                  <a:gd name="T50" fmla="*/ 56 w 326"/>
                  <a:gd name="T51" fmla="*/ 81 h 135"/>
                  <a:gd name="T52" fmla="*/ 41 w 326"/>
                  <a:gd name="T53" fmla="*/ 90 h 135"/>
                  <a:gd name="T54" fmla="*/ 38 w 326"/>
                  <a:gd name="T55" fmla="*/ 99 h 135"/>
                  <a:gd name="T56" fmla="*/ 44 w 326"/>
                  <a:gd name="T57" fmla="*/ 114 h 135"/>
                  <a:gd name="T58" fmla="*/ 48 w 326"/>
                  <a:gd name="T59" fmla="*/ 128 h 135"/>
                  <a:gd name="T60" fmla="*/ 55 w 326"/>
                  <a:gd name="T61" fmla="*/ 134 h 135"/>
                  <a:gd name="T62" fmla="*/ 69 w 326"/>
                  <a:gd name="T63" fmla="*/ 135 h 135"/>
                  <a:gd name="T64" fmla="*/ 86 w 326"/>
                  <a:gd name="T65" fmla="*/ 131 h 135"/>
                  <a:gd name="T66" fmla="*/ 101 w 326"/>
                  <a:gd name="T67" fmla="*/ 127 h 135"/>
                  <a:gd name="T68" fmla="*/ 117 w 326"/>
                  <a:gd name="T69" fmla="*/ 124 h 135"/>
                  <a:gd name="T70" fmla="*/ 120 w 326"/>
                  <a:gd name="T71" fmla="*/ 111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326" h="135">
                    <a:moveTo>
                      <a:pt x="120" y="111"/>
                    </a:moveTo>
                    <a:lnTo>
                      <a:pt x="145" y="107"/>
                    </a:lnTo>
                    <a:lnTo>
                      <a:pt x="172" y="102"/>
                    </a:lnTo>
                    <a:lnTo>
                      <a:pt x="203" y="97"/>
                    </a:lnTo>
                    <a:lnTo>
                      <a:pt x="233" y="90"/>
                    </a:lnTo>
                    <a:lnTo>
                      <a:pt x="262" y="84"/>
                    </a:lnTo>
                    <a:lnTo>
                      <a:pt x="288" y="78"/>
                    </a:lnTo>
                    <a:lnTo>
                      <a:pt x="300" y="74"/>
                    </a:lnTo>
                    <a:lnTo>
                      <a:pt x="310" y="70"/>
                    </a:lnTo>
                    <a:lnTo>
                      <a:pt x="318" y="66"/>
                    </a:lnTo>
                    <a:lnTo>
                      <a:pt x="326" y="62"/>
                    </a:lnTo>
                    <a:lnTo>
                      <a:pt x="322" y="56"/>
                    </a:lnTo>
                    <a:lnTo>
                      <a:pt x="317" y="52"/>
                    </a:lnTo>
                    <a:lnTo>
                      <a:pt x="312" y="48"/>
                    </a:lnTo>
                    <a:lnTo>
                      <a:pt x="306" y="44"/>
                    </a:lnTo>
                    <a:lnTo>
                      <a:pt x="300" y="41"/>
                    </a:lnTo>
                    <a:lnTo>
                      <a:pt x="293" y="39"/>
                    </a:lnTo>
                    <a:lnTo>
                      <a:pt x="286" y="37"/>
                    </a:lnTo>
                    <a:lnTo>
                      <a:pt x="279" y="34"/>
                    </a:lnTo>
                    <a:lnTo>
                      <a:pt x="263" y="32"/>
                    </a:lnTo>
                    <a:lnTo>
                      <a:pt x="247" y="31"/>
                    </a:lnTo>
                    <a:lnTo>
                      <a:pt x="230" y="30"/>
                    </a:lnTo>
                    <a:lnTo>
                      <a:pt x="213" y="30"/>
                    </a:lnTo>
                    <a:lnTo>
                      <a:pt x="209" y="30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200" y="21"/>
                    </a:lnTo>
                    <a:lnTo>
                      <a:pt x="196" y="17"/>
                    </a:lnTo>
                    <a:lnTo>
                      <a:pt x="194" y="13"/>
                    </a:lnTo>
                    <a:lnTo>
                      <a:pt x="191" y="9"/>
                    </a:lnTo>
                    <a:lnTo>
                      <a:pt x="187" y="6"/>
                    </a:lnTo>
                    <a:lnTo>
                      <a:pt x="180" y="5"/>
                    </a:lnTo>
                    <a:lnTo>
                      <a:pt x="172" y="3"/>
                    </a:lnTo>
                    <a:lnTo>
                      <a:pt x="162" y="1"/>
                    </a:lnTo>
                    <a:lnTo>
                      <a:pt x="153" y="0"/>
                    </a:lnTo>
                    <a:lnTo>
                      <a:pt x="135" y="1"/>
                    </a:lnTo>
                    <a:lnTo>
                      <a:pt x="112" y="4"/>
                    </a:lnTo>
                    <a:lnTo>
                      <a:pt x="87" y="8"/>
                    </a:lnTo>
                    <a:lnTo>
                      <a:pt x="61" y="14"/>
                    </a:lnTo>
                    <a:lnTo>
                      <a:pt x="49" y="17"/>
                    </a:lnTo>
                    <a:lnTo>
                      <a:pt x="38" y="21"/>
                    </a:lnTo>
                    <a:lnTo>
                      <a:pt x="27" y="26"/>
                    </a:lnTo>
                    <a:lnTo>
                      <a:pt x="19" y="31"/>
                    </a:lnTo>
                    <a:lnTo>
                      <a:pt x="11" y="37"/>
                    </a:lnTo>
                    <a:lnTo>
                      <a:pt x="5" y="43"/>
                    </a:lnTo>
                    <a:lnTo>
                      <a:pt x="3" y="46"/>
                    </a:lnTo>
                    <a:lnTo>
                      <a:pt x="1" y="49"/>
                    </a:lnTo>
                    <a:lnTo>
                      <a:pt x="1" y="52"/>
                    </a:lnTo>
                    <a:lnTo>
                      <a:pt x="0" y="56"/>
                    </a:lnTo>
                    <a:lnTo>
                      <a:pt x="34" y="74"/>
                    </a:lnTo>
                    <a:lnTo>
                      <a:pt x="73" y="74"/>
                    </a:lnTo>
                    <a:lnTo>
                      <a:pt x="56" y="81"/>
                    </a:lnTo>
                    <a:lnTo>
                      <a:pt x="44" y="87"/>
                    </a:lnTo>
                    <a:lnTo>
                      <a:pt x="41" y="90"/>
                    </a:lnTo>
                    <a:lnTo>
                      <a:pt x="38" y="94"/>
                    </a:lnTo>
                    <a:lnTo>
                      <a:pt x="38" y="99"/>
                    </a:lnTo>
                    <a:lnTo>
                      <a:pt x="41" y="105"/>
                    </a:lnTo>
                    <a:lnTo>
                      <a:pt x="44" y="114"/>
                    </a:lnTo>
                    <a:lnTo>
                      <a:pt x="47" y="123"/>
                    </a:lnTo>
                    <a:lnTo>
                      <a:pt x="48" y="128"/>
                    </a:lnTo>
                    <a:lnTo>
                      <a:pt x="50" y="131"/>
                    </a:lnTo>
                    <a:lnTo>
                      <a:pt x="55" y="134"/>
                    </a:lnTo>
                    <a:lnTo>
                      <a:pt x="60" y="135"/>
                    </a:lnTo>
                    <a:lnTo>
                      <a:pt x="69" y="135"/>
                    </a:lnTo>
                    <a:lnTo>
                      <a:pt x="78" y="133"/>
                    </a:lnTo>
                    <a:lnTo>
                      <a:pt x="86" y="131"/>
                    </a:lnTo>
                    <a:lnTo>
                      <a:pt x="93" y="129"/>
                    </a:lnTo>
                    <a:lnTo>
                      <a:pt x="101" y="127"/>
                    </a:lnTo>
                    <a:lnTo>
                      <a:pt x="109" y="125"/>
                    </a:lnTo>
                    <a:lnTo>
                      <a:pt x="117" y="124"/>
                    </a:lnTo>
                    <a:lnTo>
                      <a:pt x="126" y="123"/>
                    </a:lnTo>
                    <a:lnTo>
                      <a:pt x="120" y="111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03" name="Freeform 432"/>
              <p:cNvSpPr>
                <a:spLocks/>
              </p:cNvSpPr>
              <p:nvPr/>
            </p:nvSpPr>
            <p:spPr bwMode="auto">
              <a:xfrm>
                <a:off x="1584" y="1245"/>
                <a:ext cx="51" cy="18"/>
              </a:xfrm>
              <a:custGeom>
                <a:avLst/>
                <a:gdLst>
                  <a:gd name="T0" fmla="*/ 46 w 159"/>
                  <a:gd name="T1" fmla="*/ 53 h 56"/>
                  <a:gd name="T2" fmla="*/ 40 w 159"/>
                  <a:gd name="T3" fmla="*/ 52 h 56"/>
                  <a:gd name="T4" fmla="*/ 34 w 159"/>
                  <a:gd name="T5" fmla="*/ 49 h 56"/>
                  <a:gd name="T6" fmla="*/ 26 w 159"/>
                  <a:gd name="T7" fmla="*/ 45 h 56"/>
                  <a:gd name="T8" fmla="*/ 18 w 159"/>
                  <a:gd name="T9" fmla="*/ 38 h 56"/>
                  <a:gd name="T10" fmla="*/ 10 w 159"/>
                  <a:gd name="T11" fmla="*/ 31 h 56"/>
                  <a:gd name="T12" fmla="*/ 5 w 159"/>
                  <a:gd name="T13" fmla="*/ 24 h 56"/>
                  <a:gd name="T14" fmla="*/ 3 w 159"/>
                  <a:gd name="T15" fmla="*/ 21 h 56"/>
                  <a:gd name="T16" fmla="*/ 1 w 159"/>
                  <a:gd name="T17" fmla="*/ 17 h 56"/>
                  <a:gd name="T18" fmla="*/ 0 w 159"/>
                  <a:gd name="T19" fmla="*/ 13 h 56"/>
                  <a:gd name="T20" fmla="*/ 0 w 159"/>
                  <a:gd name="T21" fmla="*/ 10 h 56"/>
                  <a:gd name="T22" fmla="*/ 21 w 159"/>
                  <a:gd name="T23" fmla="*/ 10 h 56"/>
                  <a:gd name="T24" fmla="*/ 39 w 159"/>
                  <a:gd name="T25" fmla="*/ 10 h 56"/>
                  <a:gd name="T26" fmla="*/ 52 w 159"/>
                  <a:gd name="T27" fmla="*/ 10 h 56"/>
                  <a:gd name="T28" fmla="*/ 59 w 159"/>
                  <a:gd name="T29" fmla="*/ 10 h 56"/>
                  <a:gd name="T30" fmla="*/ 83 w 159"/>
                  <a:gd name="T31" fmla="*/ 6 h 56"/>
                  <a:gd name="T32" fmla="*/ 117 w 159"/>
                  <a:gd name="T33" fmla="*/ 0 h 56"/>
                  <a:gd name="T34" fmla="*/ 125 w 159"/>
                  <a:gd name="T35" fmla="*/ 0 h 56"/>
                  <a:gd name="T36" fmla="*/ 132 w 159"/>
                  <a:gd name="T37" fmla="*/ 0 h 56"/>
                  <a:gd name="T38" fmla="*/ 140 w 159"/>
                  <a:gd name="T39" fmla="*/ 0 h 56"/>
                  <a:gd name="T40" fmla="*/ 147 w 159"/>
                  <a:gd name="T41" fmla="*/ 2 h 56"/>
                  <a:gd name="T42" fmla="*/ 151 w 159"/>
                  <a:gd name="T43" fmla="*/ 5 h 56"/>
                  <a:gd name="T44" fmla="*/ 155 w 159"/>
                  <a:gd name="T45" fmla="*/ 9 h 56"/>
                  <a:gd name="T46" fmla="*/ 158 w 159"/>
                  <a:gd name="T47" fmla="*/ 15 h 56"/>
                  <a:gd name="T48" fmla="*/ 159 w 159"/>
                  <a:gd name="T49" fmla="*/ 22 h 56"/>
                  <a:gd name="T50" fmla="*/ 158 w 159"/>
                  <a:gd name="T51" fmla="*/ 30 h 56"/>
                  <a:gd name="T52" fmla="*/ 155 w 159"/>
                  <a:gd name="T53" fmla="*/ 37 h 56"/>
                  <a:gd name="T54" fmla="*/ 151 w 159"/>
                  <a:gd name="T55" fmla="*/ 44 h 56"/>
                  <a:gd name="T56" fmla="*/ 146 w 159"/>
                  <a:gd name="T57" fmla="*/ 48 h 56"/>
                  <a:gd name="T58" fmla="*/ 139 w 159"/>
                  <a:gd name="T59" fmla="*/ 52 h 56"/>
                  <a:gd name="T60" fmla="*/ 132 w 159"/>
                  <a:gd name="T61" fmla="*/ 54 h 56"/>
                  <a:gd name="T62" fmla="*/ 124 w 159"/>
                  <a:gd name="T63" fmla="*/ 55 h 56"/>
                  <a:gd name="T64" fmla="*/ 115 w 159"/>
                  <a:gd name="T65" fmla="*/ 56 h 56"/>
                  <a:gd name="T66" fmla="*/ 77 w 159"/>
                  <a:gd name="T67" fmla="*/ 55 h 56"/>
                  <a:gd name="T68" fmla="*/ 46 w 159"/>
                  <a:gd name="T69" fmla="*/ 53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59" h="56">
                    <a:moveTo>
                      <a:pt x="46" y="53"/>
                    </a:moveTo>
                    <a:lnTo>
                      <a:pt x="40" y="52"/>
                    </a:lnTo>
                    <a:lnTo>
                      <a:pt x="34" y="49"/>
                    </a:lnTo>
                    <a:lnTo>
                      <a:pt x="26" y="45"/>
                    </a:lnTo>
                    <a:lnTo>
                      <a:pt x="18" y="38"/>
                    </a:lnTo>
                    <a:lnTo>
                      <a:pt x="10" y="31"/>
                    </a:lnTo>
                    <a:lnTo>
                      <a:pt x="5" y="24"/>
                    </a:lnTo>
                    <a:lnTo>
                      <a:pt x="3" y="21"/>
                    </a:lnTo>
                    <a:lnTo>
                      <a:pt x="1" y="17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1" y="10"/>
                    </a:lnTo>
                    <a:lnTo>
                      <a:pt x="39" y="10"/>
                    </a:lnTo>
                    <a:lnTo>
                      <a:pt x="52" y="10"/>
                    </a:lnTo>
                    <a:lnTo>
                      <a:pt x="59" y="10"/>
                    </a:lnTo>
                    <a:lnTo>
                      <a:pt x="83" y="6"/>
                    </a:lnTo>
                    <a:lnTo>
                      <a:pt x="117" y="0"/>
                    </a:lnTo>
                    <a:lnTo>
                      <a:pt x="125" y="0"/>
                    </a:lnTo>
                    <a:lnTo>
                      <a:pt x="132" y="0"/>
                    </a:lnTo>
                    <a:lnTo>
                      <a:pt x="140" y="0"/>
                    </a:lnTo>
                    <a:lnTo>
                      <a:pt x="147" y="2"/>
                    </a:lnTo>
                    <a:lnTo>
                      <a:pt x="151" y="5"/>
                    </a:lnTo>
                    <a:lnTo>
                      <a:pt x="155" y="9"/>
                    </a:lnTo>
                    <a:lnTo>
                      <a:pt x="158" y="15"/>
                    </a:lnTo>
                    <a:lnTo>
                      <a:pt x="159" y="22"/>
                    </a:lnTo>
                    <a:lnTo>
                      <a:pt x="158" y="30"/>
                    </a:lnTo>
                    <a:lnTo>
                      <a:pt x="155" y="37"/>
                    </a:lnTo>
                    <a:lnTo>
                      <a:pt x="151" y="44"/>
                    </a:lnTo>
                    <a:lnTo>
                      <a:pt x="146" y="48"/>
                    </a:lnTo>
                    <a:lnTo>
                      <a:pt x="139" y="52"/>
                    </a:lnTo>
                    <a:lnTo>
                      <a:pt x="132" y="54"/>
                    </a:lnTo>
                    <a:lnTo>
                      <a:pt x="124" y="55"/>
                    </a:lnTo>
                    <a:lnTo>
                      <a:pt x="115" y="56"/>
                    </a:lnTo>
                    <a:lnTo>
                      <a:pt x="77" y="55"/>
                    </a:lnTo>
                    <a:lnTo>
                      <a:pt x="46" y="5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504" name="Freeform 433"/>
              <p:cNvSpPr>
                <a:spLocks/>
              </p:cNvSpPr>
              <p:nvPr/>
            </p:nvSpPr>
            <p:spPr bwMode="auto">
              <a:xfrm>
                <a:off x="534" y="1280"/>
                <a:ext cx="1205" cy="539"/>
              </a:xfrm>
              <a:custGeom>
                <a:avLst/>
                <a:gdLst>
                  <a:gd name="T0" fmla="*/ 2931 w 3734"/>
                  <a:gd name="T1" fmla="*/ 1362 h 1644"/>
                  <a:gd name="T2" fmla="*/ 2556 w 3734"/>
                  <a:gd name="T3" fmla="*/ 1522 h 1644"/>
                  <a:gd name="T4" fmla="*/ 2312 w 3734"/>
                  <a:gd name="T5" fmla="*/ 1592 h 1644"/>
                  <a:gd name="T6" fmla="*/ 2294 w 3734"/>
                  <a:gd name="T7" fmla="*/ 1634 h 1644"/>
                  <a:gd name="T8" fmla="*/ 2177 w 3734"/>
                  <a:gd name="T9" fmla="*/ 1607 h 1644"/>
                  <a:gd name="T10" fmla="*/ 2279 w 3734"/>
                  <a:gd name="T11" fmla="*/ 1512 h 1644"/>
                  <a:gd name="T12" fmla="*/ 2166 w 3734"/>
                  <a:gd name="T13" fmla="*/ 1416 h 1644"/>
                  <a:gd name="T14" fmla="*/ 2094 w 3734"/>
                  <a:gd name="T15" fmla="*/ 1295 h 1644"/>
                  <a:gd name="T16" fmla="*/ 1947 w 3734"/>
                  <a:gd name="T17" fmla="*/ 1317 h 1644"/>
                  <a:gd name="T18" fmla="*/ 1771 w 3734"/>
                  <a:gd name="T19" fmla="*/ 1281 h 1644"/>
                  <a:gd name="T20" fmla="*/ 261 w 3734"/>
                  <a:gd name="T21" fmla="*/ 1235 h 1644"/>
                  <a:gd name="T22" fmla="*/ 127 w 3734"/>
                  <a:gd name="T23" fmla="*/ 1125 h 1644"/>
                  <a:gd name="T24" fmla="*/ 151 w 3734"/>
                  <a:gd name="T25" fmla="*/ 1040 h 1644"/>
                  <a:gd name="T26" fmla="*/ 147 w 3734"/>
                  <a:gd name="T27" fmla="*/ 927 h 1644"/>
                  <a:gd name="T28" fmla="*/ 259 w 3734"/>
                  <a:gd name="T29" fmla="*/ 859 h 1644"/>
                  <a:gd name="T30" fmla="*/ 250 w 3734"/>
                  <a:gd name="T31" fmla="*/ 747 h 1644"/>
                  <a:gd name="T32" fmla="*/ 128 w 3734"/>
                  <a:gd name="T33" fmla="*/ 665 h 1644"/>
                  <a:gd name="T34" fmla="*/ 602 w 3734"/>
                  <a:gd name="T35" fmla="*/ 114 h 1644"/>
                  <a:gd name="T36" fmla="*/ 1146 w 3734"/>
                  <a:gd name="T37" fmla="*/ 105 h 1644"/>
                  <a:gd name="T38" fmla="*/ 1296 w 3734"/>
                  <a:gd name="T39" fmla="*/ 117 h 1644"/>
                  <a:gd name="T40" fmla="*/ 1641 w 3734"/>
                  <a:gd name="T41" fmla="*/ 166 h 1644"/>
                  <a:gd name="T42" fmla="*/ 1771 w 3734"/>
                  <a:gd name="T43" fmla="*/ 206 h 1644"/>
                  <a:gd name="T44" fmla="*/ 2076 w 3734"/>
                  <a:gd name="T45" fmla="*/ 193 h 1644"/>
                  <a:gd name="T46" fmla="*/ 2286 w 3734"/>
                  <a:gd name="T47" fmla="*/ 216 h 1644"/>
                  <a:gd name="T48" fmla="*/ 2365 w 3734"/>
                  <a:gd name="T49" fmla="*/ 216 h 1644"/>
                  <a:gd name="T50" fmla="*/ 2518 w 3734"/>
                  <a:gd name="T51" fmla="*/ 123 h 1644"/>
                  <a:gd name="T52" fmla="*/ 2587 w 3734"/>
                  <a:gd name="T53" fmla="*/ 2 h 1644"/>
                  <a:gd name="T54" fmla="*/ 2644 w 3734"/>
                  <a:gd name="T55" fmla="*/ 105 h 1644"/>
                  <a:gd name="T56" fmla="*/ 2664 w 3734"/>
                  <a:gd name="T57" fmla="*/ 166 h 1644"/>
                  <a:gd name="T58" fmla="*/ 2716 w 3734"/>
                  <a:gd name="T59" fmla="*/ 196 h 1644"/>
                  <a:gd name="T60" fmla="*/ 2891 w 3734"/>
                  <a:gd name="T61" fmla="*/ 121 h 1644"/>
                  <a:gd name="T62" fmla="*/ 3036 w 3734"/>
                  <a:gd name="T63" fmla="*/ 135 h 1644"/>
                  <a:gd name="T64" fmla="*/ 2883 w 3734"/>
                  <a:gd name="T65" fmla="*/ 271 h 1644"/>
                  <a:gd name="T66" fmla="*/ 2790 w 3734"/>
                  <a:gd name="T67" fmla="*/ 289 h 1644"/>
                  <a:gd name="T68" fmla="*/ 2569 w 3734"/>
                  <a:gd name="T69" fmla="*/ 304 h 1644"/>
                  <a:gd name="T70" fmla="*/ 2501 w 3734"/>
                  <a:gd name="T71" fmla="*/ 402 h 1644"/>
                  <a:gd name="T72" fmla="*/ 2333 w 3734"/>
                  <a:gd name="T73" fmla="*/ 471 h 1644"/>
                  <a:gd name="T74" fmla="*/ 2087 w 3734"/>
                  <a:gd name="T75" fmla="*/ 625 h 1644"/>
                  <a:gd name="T76" fmla="*/ 2106 w 3734"/>
                  <a:gd name="T77" fmla="*/ 793 h 1644"/>
                  <a:gd name="T78" fmla="*/ 2360 w 3734"/>
                  <a:gd name="T79" fmla="*/ 907 h 1644"/>
                  <a:gd name="T80" fmla="*/ 2443 w 3734"/>
                  <a:gd name="T81" fmla="*/ 1059 h 1644"/>
                  <a:gd name="T82" fmla="*/ 2614 w 3734"/>
                  <a:gd name="T83" fmla="*/ 987 h 1644"/>
                  <a:gd name="T84" fmla="*/ 2848 w 3734"/>
                  <a:gd name="T85" fmla="*/ 785 h 1644"/>
                  <a:gd name="T86" fmla="*/ 2896 w 3734"/>
                  <a:gd name="T87" fmla="*/ 597 h 1644"/>
                  <a:gd name="T88" fmla="*/ 3156 w 3734"/>
                  <a:gd name="T89" fmla="*/ 500 h 1644"/>
                  <a:gd name="T90" fmla="*/ 3276 w 3734"/>
                  <a:gd name="T91" fmla="*/ 592 h 1644"/>
                  <a:gd name="T92" fmla="*/ 3226 w 3734"/>
                  <a:gd name="T93" fmla="*/ 736 h 1644"/>
                  <a:gd name="T94" fmla="*/ 3492 w 3734"/>
                  <a:gd name="T95" fmla="*/ 613 h 1644"/>
                  <a:gd name="T96" fmla="*/ 3545 w 3734"/>
                  <a:gd name="T97" fmla="*/ 774 h 1644"/>
                  <a:gd name="T98" fmla="*/ 3662 w 3734"/>
                  <a:gd name="T99" fmla="*/ 924 h 1644"/>
                  <a:gd name="T100" fmla="*/ 3616 w 3734"/>
                  <a:gd name="T101" fmla="*/ 961 h 1644"/>
                  <a:gd name="T102" fmla="*/ 3694 w 3734"/>
                  <a:gd name="T103" fmla="*/ 1028 h 1644"/>
                  <a:gd name="T104" fmla="*/ 3556 w 3734"/>
                  <a:gd name="T105" fmla="*/ 1108 h 1644"/>
                  <a:gd name="T106" fmla="*/ 3151 w 3734"/>
                  <a:gd name="T107" fmla="*/ 1168 h 1644"/>
                  <a:gd name="T108" fmla="*/ 2853 w 3734"/>
                  <a:gd name="T109" fmla="*/ 1335 h 1644"/>
                  <a:gd name="T110" fmla="*/ 2905 w 3734"/>
                  <a:gd name="T111" fmla="*/ 1337 h 1644"/>
                  <a:gd name="T112" fmla="*/ 3216 w 3734"/>
                  <a:gd name="T113" fmla="*/ 1256 h 1644"/>
                  <a:gd name="T114" fmla="*/ 3066 w 3734"/>
                  <a:gd name="T115" fmla="*/ 1298 h 1644"/>
                  <a:gd name="T116" fmla="*/ 3138 w 3734"/>
                  <a:gd name="T117" fmla="*/ 1391 h 1644"/>
                  <a:gd name="T118" fmla="*/ 3248 w 3734"/>
                  <a:gd name="T119" fmla="*/ 1473 h 1644"/>
                  <a:gd name="T120" fmla="*/ 3018 w 3734"/>
                  <a:gd name="T121" fmla="*/ 1564 h 1644"/>
                  <a:gd name="T122" fmla="*/ 3189 w 3734"/>
                  <a:gd name="T123" fmla="*/ 1466 h 1644"/>
                  <a:gd name="T124" fmla="*/ 3016 w 3734"/>
                  <a:gd name="T125" fmla="*/ 1484 h 1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734" h="1644">
                    <a:moveTo>
                      <a:pt x="3010" y="1478"/>
                    </a:moveTo>
                    <a:lnTo>
                      <a:pt x="3010" y="1410"/>
                    </a:lnTo>
                    <a:lnTo>
                      <a:pt x="3013" y="1407"/>
                    </a:lnTo>
                    <a:lnTo>
                      <a:pt x="3016" y="1400"/>
                    </a:lnTo>
                    <a:lnTo>
                      <a:pt x="3021" y="1391"/>
                    </a:lnTo>
                    <a:lnTo>
                      <a:pt x="3025" y="1382"/>
                    </a:lnTo>
                    <a:lnTo>
                      <a:pt x="3029" y="1370"/>
                    </a:lnTo>
                    <a:lnTo>
                      <a:pt x="3033" y="1360"/>
                    </a:lnTo>
                    <a:lnTo>
                      <a:pt x="3036" y="1351"/>
                    </a:lnTo>
                    <a:lnTo>
                      <a:pt x="3036" y="1343"/>
                    </a:lnTo>
                    <a:lnTo>
                      <a:pt x="3032" y="1345"/>
                    </a:lnTo>
                    <a:lnTo>
                      <a:pt x="3026" y="1345"/>
                    </a:lnTo>
                    <a:lnTo>
                      <a:pt x="3021" y="1346"/>
                    </a:lnTo>
                    <a:lnTo>
                      <a:pt x="3014" y="1345"/>
                    </a:lnTo>
                    <a:lnTo>
                      <a:pt x="2997" y="1344"/>
                    </a:lnTo>
                    <a:lnTo>
                      <a:pt x="2977" y="1343"/>
                    </a:lnTo>
                    <a:lnTo>
                      <a:pt x="2967" y="1343"/>
                    </a:lnTo>
                    <a:lnTo>
                      <a:pt x="2958" y="1345"/>
                    </a:lnTo>
                    <a:lnTo>
                      <a:pt x="2950" y="1348"/>
                    </a:lnTo>
                    <a:lnTo>
                      <a:pt x="2943" y="1352"/>
                    </a:lnTo>
                    <a:lnTo>
                      <a:pt x="2936" y="1356"/>
                    </a:lnTo>
                    <a:lnTo>
                      <a:pt x="2931" y="1362"/>
                    </a:lnTo>
                    <a:lnTo>
                      <a:pt x="2925" y="1368"/>
                    </a:lnTo>
                    <a:lnTo>
                      <a:pt x="2920" y="1374"/>
                    </a:lnTo>
                    <a:lnTo>
                      <a:pt x="2909" y="1388"/>
                    </a:lnTo>
                    <a:lnTo>
                      <a:pt x="2899" y="1403"/>
                    </a:lnTo>
                    <a:lnTo>
                      <a:pt x="2889" y="1416"/>
                    </a:lnTo>
                    <a:lnTo>
                      <a:pt x="2877" y="1429"/>
                    </a:lnTo>
                    <a:lnTo>
                      <a:pt x="2867" y="1438"/>
                    </a:lnTo>
                    <a:lnTo>
                      <a:pt x="2857" y="1445"/>
                    </a:lnTo>
                    <a:lnTo>
                      <a:pt x="2847" y="1451"/>
                    </a:lnTo>
                    <a:lnTo>
                      <a:pt x="2836" y="1456"/>
                    </a:lnTo>
                    <a:lnTo>
                      <a:pt x="2826" y="1460"/>
                    </a:lnTo>
                    <a:lnTo>
                      <a:pt x="2815" y="1463"/>
                    </a:lnTo>
                    <a:lnTo>
                      <a:pt x="2803" y="1465"/>
                    </a:lnTo>
                    <a:lnTo>
                      <a:pt x="2792" y="1467"/>
                    </a:lnTo>
                    <a:lnTo>
                      <a:pt x="2767" y="1470"/>
                    </a:lnTo>
                    <a:lnTo>
                      <a:pt x="2741" y="1472"/>
                    </a:lnTo>
                    <a:lnTo>
                      <a:pt x="2711" y="1474"/>
                    </a:lnTo>
                    <a:lnTo>
                      <a:pt x="2678" y="1478"/>
                    </a:lnTo>
                    <a:lnTo>
                      <a:pt x="2591" y="1478"/>
                    </a:lnTo>
                    <a:lnTo>
                      <a:pt x="2580" y="1494"/>
                    </a:lnTo>
                    <a:lnTo>
                      <a:pt x="2569" y="1508"/>
                    </a:lnTo>
                    <a:lnTo>
                      <a:pt x="2556" y="1522"/>
                    </a:lnTo>
                    <a:lnTo>
                      <a:pt x="2543" y="1534"/>
                    </a:lnTo>
                    <a:lnTo>
                      <a:pt x="2530" y="1547"/>
                    </a:lnTo>
                    <a:lnTo>
                      <a:pt x="2514" y="1558"/>
                    </a:lnTo>
                    <a:lnTo>
                      <a:pt x="2500" y="1568"/>
                    </a:lnTo>
                    <a:lnTo>
                      <a:pt x="2485" y="1577"/>
                    </a:lnTo>
                    <a:lnTo>
                      <a:pt x="2492" y="1571"/>
                    </a:lnTo>
                    <a:lnTo>
                      <a:pt x="2498" y="1565"/>
                    </a:lnTo>
                    <a:lnTo>
                      <a:pt x="2502" y="1559"/>
                    </a:lnTo>
                    <a:lnTo>
                      <a:pt x="2504" y="1553"/>
                    </a:lnTo>
                    <a:lnTo>
                      <a:pt x="2478" y="1546"/>
                    </a:lnTo>
                    <a:lnTo>
                      <a:pt x="2445" y="1559"/>
                    </a:lnTo>
                    <a:lnTo>
                      <a:pt x="2408" y="1562"/>
                    </a:lnTo>
                    <a:lnTo>
                      <a:pt x="2364" y="1565"/>
                    </a:lnTo>
                    <a:lnTo>
                      <a:pt x="2353" y="1567"/>
                    </a:lnTo>
                    <a:lnTo>
                      <a:pt x="2343" y="1569"/>
                    </a:lnTo>
                    <a:lnTo>
                      <a:pt x="2334" y="1572"/>
                    </a:lnTo>
                    <a:lnTo>
                      <a:pt x="2328" y="1575"/>
                    </a:lnTo>
                    <a:lnTo>
                      <a:pt x="2321" y="1579"/>
                    </a:lnTo>
                    <a:lnTo>
                      <a:pt x="2316" y="1583"/>
                    </a:lnTo>
                    <a:lnTo>
                      <a:pt x="2315" y="1586"/>
                    </a:lnTo>
                    <a:lnTo>
                      <a:pt x="2313" y="1589"/>
                    </a:lnTo>
                    <a:lnTo>
                      <a:pt x="2312" y="1592"/>
                    </a:lnTo>
                    <a:lnTo>
                      <a:pt x="2312" y="1595"/>
                    </a:lnTo>
                    <a:lnTo>
                      <a:pt x="2312" y="1598"/>
                    </a:lnTo>
                    <a:lnTo>
                      <a:pt x="2313" y="1602"/>
                    </a:lnTo>
                    <a:lnTo>
                      <a:pt x="2316" y="1604"/>
                    </a:lnTo>
                    <a:lnTo>
                      <a:pt x="2318" y="1605"/>
                    </a:lnTo>
                    <a:lnTo>
                      <a:pt x="2324" y="1608"/>
                    </a:lnTo>
                    <a:lnTo>
                      <a:pt x="2332" y="1609"/>
                    </a:lnTo>
                    <a:lnTo>
                      <a:pt x="2351" y="1609"/>
                    </a:lnTo>
                    <a:lnTo>
                      <a:pt x="2372" y="1608"/>
                    </a:lnTo>
                    <a:lnTo>
                      <a:pt x="2388" y="1607"/>
                    </a:lnTo>
                    <a:lnTo>
                      <a:pt x="2405" y="1605"/>
                    </a:lnTo>
                    <a:lnTo>
                      <a:pt x="2421" y="1602"/>
                    </a:lnTo>
                    <a:lnTo>
                      <a:pt x="2438" y="1597"/>
                    </a:lnTo>
                    <a:lnTo>
                      <a:pt x="2425" y="1602"/>
                    </a:lnTo>
                    <a:lnTo>
                      <a:pt x="2414" y="1605"/>
                    </a:lnTo>
                    <a:lnTo>
                      <a:pt x="2402" y="1607"/>
                    </a:lnTo>
                    <a:lnTo>
                      <a:pt x="2391" y="1608"/>
                    </a:lnTo>
                    <a:lnTo>
                      <a:pt x="2319" y="1626"/>
                    </a:lnTo>
                    <a:lnTo>
                      <a:pt x="2313" y="1629"/>
                    </a:lnTo>
                    <a:lnTo>
                      <a:pt x="2307" y="1631"/>
                    </a:lnTo>
                    <a:lnTo>
                      <a:pt x="2300" y="1633"/>
                    </a:lnTo>
                    <a:lnTo>
                      <a:pt x="2294" y="1634"/>
                    </a:lnTo>
                    <a:lnTo>
                      <a:pt x="2296" y="1633"/>
                    </a:lnTo>
                    <a:lnTo>
                      <a:pt x="2299" y="1632"/>
                    </a:lnTo>
                    <a:lnTo>
                      <a:pt x="2290" y="1625"/>
                    </a:lnTo>
                    <a:lnTo>
                      <a:pt x="2283" y="1620"/>
                    </a:lnTo>
                    <a:lnTo>
                      <a:pt x="2273" y="1617"/>
                    </a:lnTo>
                    <a:lnTo>
                      <a:pt x="2263" y="1614"/>
                    </a:lnTo>
                    <a:lnTo>
                      <a:pt x="2253" y="1613"/>
                    </a:lnTo>
                    <a:lnTo>
                      <a:pt x="2243" y="1614"/>
                    </a:lnTo>
                    <a:lnTo>
                      <a:pt x="2233" y="1615"/>
                    </a:lnTo>
                    <a:lnTo>
                      <a:pt x="2224" y="1616"/>
                    </a:lnTo>
                    <a:lnTo>
                      <a:pt x="2207" y="1621"/>
                    </a:lnTo>
                    <a:lnTo>
                      <a:pt x="2193" y="1626"/>
                    </a:lnTo>
                    <a:lnTo>
                      <a:pt x="2183" y="1630"/>
                    </a:lnTo>
                    <a:lnTo>
                      <a:pt x="2179" y="1632"/>
                    </a:lnTo>
                    <a:lnTo>
                      <a:pt x="2172" y="1634"/>
                    </a:lnTo>
                    <a:lnTo>
                      <a:pt x="2162" y="1637"/>
                    </a:lnTo>
                    <a:lnTo>
                      <a:pt x="2150" y="1641"/>
                    </a:lnTo>
                    <a:lnTo>
                      <a:pt x="2137" y="1644"/>
                    </a:lnTo>
                    <a:lnTo>
                      <a:pt x="2147" y="1632"/>
                    </a:lnTo>
                    <a:lnTo>
                      <a:pt x="2156" y="1623"/>
                    </a:lnTo>
                    <a:lnTo>
                      <a:pt x="2167" y="1614"/>
                    </a:lnTo>
                    <a:lnTo>
                      <a:pt x="2177" y="1607"/>
                    </a:lnTo>
                    <a:lnTo>
                      <a:pt x="2187" y="1599"/>
                    </a:lnTo>
                    <a:lnTo>
                      <a:pt x="2196" y="1592"/>
                    </a:lnTo>
                    <a:lnTo>
                      <a:pt x="2200" y="1587"/>
                    </a:lnTo>
                    <a:lnTo>
                      <a:pt x="2205" y="1582"/>
                    </a:lnTo>
                    <a:lnTo>
                      <a:pt x="2209" y="1577"/>
                    </a:lnTo>
                    <a:lnTo>
                      <a:pt x="2212" y="1571"/>
                    </a:lnTo>
                    <a:lnTo>
                      <a:pt x="2219" y="1558"/>
                    </a:lnTo>
                    <a:lnTo>
                      <a:pt x="2222" y="1544"/>
                    </a:lnTo>
                    <a:lnTo>
                      <a:pt x="2224" y="1533"/>
                    </a:lnTo>
                    <a:lnTo>
                      <a:pt x="2228" y="1522"/>
                    </a:lnTo>
                    <a:lnTo>
                      <a:pt x="2230" y="1511"/>
                    </a:lnTo>
                    <a:lnTo>
                      <a:pt x="2234" y="1501"/>
                    </a:lnTo>
                    <a:lnTo>
                      <a:pt x="2238" y="1495"/>
                    </a:lnTo>
                    <a:lnTo>
                      <a:pt x="2242" y="1490"/>
                    </a:lnTo>
                    <a:lnTo>
                      <a:pt x="2246" y="1484"/>
                    </a:lnTo>
                    <a:lnTo>
                      <a:pt x="2252" y="1478"/>
                    </a:lnTo>
                    <a:lnTo>
                      <a:pt x="2265" y="1478"/>
                    </a:lnTo>
                    <a:lnTo>
                      <a:pt x="2266" y="1485"/>
                    </a:lnTo>
                    <a:lnTo>
                      <a:pt x="2267" y="1492"/>
                    </a:lnTo>
                    <a:lnTo>
                      <a:pt x="2271" y="1497"/>
                    </a:lnTo>
                    <a:lnTo>
                      <a:pt x="2273" y="1502"/>
                    </a:lnTo>
                    <a:lnTo>
                      <a:pt x="2279" y="1512"/>
                    </a:lnTo>
                    <a:lnTo>
                      <a:pt x="2286" y="1521"/>
                    </a:lnTo>
                    <a:lnTo>
                      <a:pt x="2298" y="1517"/>
                    </a:lnTo>
                    <a:lnTo>
                      <a:pt x="2310" y="1512"/>
                    </a:lnTo>
                    <a:lnTo>
                      <a:pt x="2324" y="1508"/>
                    </a:lnTo>
                    <a:lnTo>
                      <a:pt x="2345" y="1503"/>
                    </a:lnTo>
                    <a:lnTo>
                      <a:pt x="2345" y="1478"/>
                    </a:lnTo>
                    <a:lnTo>
                      <a:pt x="2331" y="1462"/>
                    </a:lnTo>
                    <a:lnTo>
                      <a:pt x="2317" y="1444"/>
                    </a:lnTo>
                    <a:lnTo>
                      <a:pt x="2309" y="1436"/>
                    </a:lnTo>
                    <a:lnTo>
                      <a:pt x="2300" y="1428"/>
                    </a:lnTo>
                    <a:lnTo>
                      <a:pt x="2296" y="1426"/>
                    </a:lnTo>
                    <a:lnTo>
                      <a:pt x="2290" y="1424"/>
                    </a:lnTo>
                    <a:lnTo>
                      <a:pt x="2285" y="1423"/>
                    </a:lnTo>
                    <a:lnTo>
                      <a:pt x="2279" y="1422"/>
                    </a:lnTo>
                    <a:lnTo>
                      <a:pt x="2249" y="1423"/>
                    </a:lnTo>
                    <a:lnTo>
                      <a:pt x="2215" y="1424"/>
                    </a:lnTo>
                    <a:lnTo>
                      <a:pt x="2199" y="1424"/>
                    </a:lnTo>
                    <a:lnTo>
                      <a:pt x="2185" y="1423"/>
                    </a:lnTo>
                    <a:lnTo>
                      <a:pt x="2178" y="1422"/>
                    </a:lnTo>
                    <a:lnTo>
                      <a:pt x="2173" y="1420"/>
                    </a:lnTo>
                    <a:lnTo>
                      <a:pt x="2168" y="1419"/>
                    </a:lnTo>
                    <a:lnTo>
                      <a:pt x="2166" y="1416"/>
                    </a:lnTo>
                    <a:lnTo>
                      <a:pt x="2163" y="1413"/>
                    </a:lnTo>
                    <a:lnTo>
                      <a:pt x="2161" y="1409"/>
                    </a:lnTo>
                    <a:lnTo>
                      <a:pt x="2159" y="1405"/>
                    </a:lnTo>
                    <a:lnTo>
                      <a:pt x="2159" y="1401"/>
                    </a:lnTo>
                    <a:lnTo>
                      <a:pt x="2159" y="1392"/>
                    </a:lnTo>
                    <a:lnTo>
                      <a:pt x="2160" y="1382"/>
                    </a:lnTo>
                    <a:lnTo>
                      <a:pt x="2161" y="1372"/>
                    </a:lnTo>
                    <a:lnTo>
                      <a:pt x="2161" y="1362"/>
                    </a:lnTo>
                    <a:lnTo>
                      <a:pt x="2160" y="1357"/>
                    </a:lnTo>
                    <a:lnTo>
                      <a:pt x="2159" y="1352"/>
                    </a:lnTo>
                    <a:lnTo>
                      <a:pt x="2155" y="1347"/>
                    </a:lnTo>
                    <a:lnTo>
                      <a:pt x="2153" y="1343"/>
                    </a:lnTo>
                    <a:lnTo>
                      <a:pt x="2149" y="1339"/>
                    </a:lnTo>
                    <a:lnTo>
                      <a:pt x="2144" y="1335"/>
                    </a:lnTo>
                    <a:lnTo>
                      <a:pt x="2139" y="1332"/>
                    </a:lnTo>
                    <a:lnTo>
                      <a:pt x="2133" y="1329"/>
                    </a:lnTo>
                    <a:lnTo>
                      <a:pt x="2122" y="1323"/>
                    </a:lnTo>
                    <a:lnTo>
                      <a:pt x="2111" y="1315"/>
                    </a:lnTo>
                    <a:lnTo>
                      <a:pt x="2107" y="1311"/>
                    </a:lnTo>
                    <a:lnTo>
                      <a:pt x="2102" y="1307"/>
                    </a:lnTo>
                    <a:lnTo>
                      <a:pt x="2097" y="1301"/>
                    </a:lnTo>
                    <a:lnTo>
                      <a:pt x="2094" y="1295"/>
                    </a:lnTo>
                    <a:lnTo>
                      <a:pt x="2091" y="1288"/>
                    </a:lnTo>
                    <a:lnTo>
                      <a:pt x="2088" y="1279"/>
                    </a:lnTo>
                    <a:lnTo>
                      <a:pt x="2087" y="1269"/>
                    </a:lnTo>
                    <a:lnTo>
                      <a:pt x="2086" y="1256"/>
                    </a:lnTo>
                    <a:lnTo>
                      <a:pt x="2060" y="1256"/>
                    </a:lnTo>
                    <a:lnTo>
                      <a:pt x="2046" y="1259"/>
                    </a:lnTo>
                    <a:lnTo>
                      <a:pt x="2027" y="1261"/>
                    </a:lnTo>
                    <a:lnTo>
                      <a:pt x="2017" y="1262"/>
                    </a:lnTo>
                    <a:lnTo>
                      <a:pt x="2007" y="1265"/>
                    </a:lnTo>
                    <a:lnTo>
                      <a:pt x="2003" y="1267"/>
                    </a:lnTo>
                    <a:lnTo>
                      <a:pt x="1999" y="1270"/>
                    </a:lnTo>
                    <a:lnTo>
                      <a:pt x="1996" y="1272"/>
                    </a:lnTo>
                    <a:lnTo>
                      <a:pt x="1993" y="1275"/>
                    </a:lnTo>
                    <a:lnTo>
                      <a:pt x="1985" y="1287"/>
                    </a:lnTo>
                    <a:lnTo>
                      <a:pt x="1976" y="1301"/>
                    </a:lnTo>
                    <a:lnTo>
                      <a:pt x="1974" y="1304"/>
                    </a:lnTo>
                    <a:lnTo>
                      <a:pt x="1971" y="1307"/>
                    </a:lnTo>
                    <a:lnTo>
                      <a:pt x="1968" y="1310"/>
                    </a:lnTo>
                    <a:lnTo>
                      <a:pt x="1963" y="1313"/>
                    </a:lnTo>
                    <a:lnTo>
                      <a:pt x="1959" y="1315"/>
                    </a:lnTo>
                    <a:lnTo>
                      <a:pt x="1953" y="1316"/>
                    </a:lnTo>
                    <a:lnTo>
                      <a:pt x="1947" y="1317"/>
                    </a:lnTo>
                    <a:lnTo>
                      <a:pt x="1940" y="1318"/>
                    </a:lnTo>
                    <a:lnTo>
                      <a:pt x="1930" y="1317"/>
                    </a:lnTo>
                    <a:lnTo>
                      <a:pt x="1920" y="1315"/>
                    </a:lnTo>
                    <a:lnTo>
                      <a:pt x="1910" y="1313"/>
                    </a:lnTo>
                    <a:lnTo>
                      <a:pt x="1901" y="1309"/>
                    </a:lnTo>
                    <a:lnTo>
                      <a:pt x="1892" y="1305"/>
                    </a:lnTo>
                    <a:lnTo>
                      <a:pt x="1883" y="1300"/>
                    </a:lnTo>
                    <a:lnTo>
                      <a:pt x="1874" y="1294"/>
                    </a:lnTo>
                    <a:lnTo>
                      <a:pt x="1867" y="1287"/>
                    </a:lnTo>
                    <a:lnTo>
                      <a:pt x="1864" y="1289"/>
                    </a:lnTo>
                    <a:lnTo>
                      <a:pt x="1860" y="1293"/>
                    </a:lnTo>
                    <a:lnTo>
                      <a:pt x="1853" y="1298"/>
                    </a:lnTo>
                    <a:lnTo>
                      <a:pt x="1847" y="1299"/>
                    </a:lnTo>
                    <a:lnTo>
                      <a:pt x="1840" y="1299"/>
                    </a:lnTo>
                    <a:lnTo>
                      <a:pt x="1833" y="1297"/>
                    </a:lnTo>
                    <a:lnTo>
                      <a:pt x="1826" y="1294"/>
                    </a:lnTo>
                    <a:lnTo>
                      <a:pt x="1819" y="1290"/>
                    </a:lnTo>
                    <a:lnTo>
                      <a:pt x="1813" y="1287"/>
                    </a:lnTo>
                    <a:lnTo>
                      <a:pt x="1805" y="1284"/>
                    </a:lnTo>
                    <a:lnTo>
                      <a:pt x="1796" y="1282"/>
                    </a:lnTo>
                    <a:lnTo>
                      <a:pt x="1787" y="1281"/>
                    </a:lnTo>
                    <a:lnTo>
                      <a:pt x="1771" y="1281"/>
                    </a:lnTo>
                    <a:lnTo>
                      <a:pt x="1761" y="1281"/>
                    </a:lnTo>
                    <a:lnTo>
                      <a:pt x="1756" y="1281"/>
                    </a:lnTo>
                    <a:lnTo>
                      <a:pt x="1751" y="1280"/>
                    </a:lnTo>
                    <a:lnTo>
                      <a:pt x="1747" y="1279"/>
                    </a:lnTo>
                    <a:lnTo>
                      <a:pt x="1742" y="1277"/>
                    </a:lnTo>
                    <a:lnTo>
                      <a:pt x="1734" y="1272"/>
                    </a:lnTo>
                    <a:lnTo>
                      <a:pt x="1727" y="1264"/>
                    </a:lnTo>
                    <a:lnTo>
                      <a:pt x="1722" y="1256"/>
                    </a:lnTo>
                    <a:lnTo>
                      <a:pt x="1717" y="1247"/>
                    </a:lnTo>
                    <a:lnTo>
                      <a:pt x="1715" y="1237"/>
                    </a:lnTo>
                    <a:lnTo>
                      <a:pt x="1714" y="1226"/>
                    </a:lnTo>
                    <a:lnTo>
                      <a:pt x="1681" y="1226"/>
                    </a:lnTo>
                    <a:lnTo>
                      <a:pt x="1682" y="1231"/>
                    </a:lnTo>
                    <a:lnTo>
                      <a:pt x="1684" y="1239"/>
                    </a:lnTo>
                    <a:lnTo>
                      <a:pt x="1686" y="1247"/>
                    </a:lnTo>
                    <a:lnTo>
                      <a:pt x="1688" y="1256"/>
                    </a:lnTo>
                    <a:lnTo>
                      <a:pt x="259" y="1256"/>
                    </a:lnTo>
                    <a:lnTo>
                      <a:pt x="263" y="1245"/>
                    </a:lnTo>
                    <a:lnTo>
                      <a:pt x="265" y="1239"/>
                    </a:lnTo>
                    <a:lnTo>
                      <a:pt x="265" y="1237"/>
                    </a:lnTo>
                    <a:lnTo>
                      <a:pt x="263" y="1236"/>
                    </a:lnTo>
                    <a:lnTo>
                      <a:pt x="261" y="1235"/>
                    </a:lnTo>
                    <a:lnTo>
                      <a:pt x="258" y="1233"/>
                    </a:lnTo>
                    <a:lnTo>
                      <a:pt x="256" y="1229"/>
                    </a:lnTo>
                    <a:lnTo>
                      <a:pt x="252" y="1220"/>
                    </a:lnTo>
                    <a:lnTo>
                      <a:pt x="247" y="1214"/>
                    </a:lnTo>
                    <a:lnTo>
                      <a:pt x="240" y="1207"/>
                    </a:lnTo>
                    <a:lnTo>
                      <a:pt x="235" y="1200"/>
                    </a:lnTo>
                    <a:lnTo>
                      <a:pt x="233" y="1195"/>
                    </a:lnTo>
                    <a:lnTo>
                      <a:pt x="226" y="1194"/>
                    </a:lnTo>
                    <a:lnTo>
                      <a:pt x="217" y="1190"/>
                    </a:lnTo>
                    <a:lnTo>
                      <a:pt x="213" y="1188"/>
                    </a:lnTo>
                    <a:lnTo>
                      <a:pt x="210" y="1184"/>
                    </a:lnTo>
                    <a:lnTo>
                      <a:pt x="206" y="1181"/>
                    </a:lnTo>
                    <a:lnTo>
                      <a:pt x="206" y="1176"/>
                    </a:lnTo>
                    <a:lnTo>
                      <a:pt x="195" y="1173"/>
                    </a:lnTo>
                    <a:lnTo>
                      <a:pt x="182" y="1168"/>
                    </a:lnTo>
                    <a:lnTo>
                      <a:pt x="169" y="1161"/>
                    </a:lnTo>
                    <a:lnTo>
                      <a:pt x="156" y="1153"/>
                    </a:lnTo>
                    <a:lnTo>
                      <a:pt x="145" y="1145"/>
                    </a:lnTo>
                    <a:lnTo>
                      <a:pt x="135" y="1136"/>
                    </a:lnTo>
                    <a:lnTo>
                      <a:pt x="132" y="1132"/>
                    </a:lnTo>
                    <a:lnTo>
                      <a:pt x="128" y="1128"/>
                    </a:lnTo>
                    <a:lnTo>
                      <a:pt x="127" y="1125"/>
                    </a:lnTo>
                    <a:lnTo>
                      <a:pt x="126" y="1121"/>
                    </a:lnTo>
                    <a:lnTo>
                      <a:pt x="127" y="1116"/>
                    </a:lnTo>
                    <a:lnTo>
                      <a:pt x="128" y="1111"/>
                    </a:lnTo>
                    <a:lnTo>
                      <a:pt x="132" y="1106"/>
                    </a:lnTo>
                    <a:lnTo>
                      <a:pt x="136" y="1102"/>
                    </a:lnTo>
                    <a:lnTo>
                      <a:pt x="146" y="1094"/>
                    </a:lnTo>
                    <a:lnTo>
                      <a:pt x="157" y="1088"/>
                    </a:lnTo>
                    <a:lnTo>
                      <a:pt x="169" y="1083"/>
                    </a:lnTo>
                    <a:lnTo>
                      <a:pt x="180" y="1077"/>
                    </a:lnTo>
                    <a:lnTo>
                      <a:pt x="184" y="1075"/>
                    </a:lnTo>
                    <a:lnTo>
                      <a:pt x="188" y="1072"/>
                    </a:lnTo>
                    <a:lnTo>
                      <a:pt x="191" y="1069"/>
                    </a:lnTo>
                    <a:lnTo>
                      <a:pt x="193" y="1066"/>
                    </a:lnTo>
                    <a:lnTo>
                      <a:pt x="183" y="1065"/>
                    </a:lnTo>
                    <a:lnTo>
                      <a:pt x="170" y="1064"/>
                    </a:lnTo>
                    <a:lnTo>
                      <a:pt x="164" y="1063"/>
                    </a:lnTo>
                    <a:lnTo>
                      <a:pt x="158" y="1060"/>
                    </a:lnTo>
                    <a:lnTo>
                      <a:pt x="156" y="1059"/>
                    </a:lnTo>
                    <a:lnTo>
                      <a:pt x="155" y="1057"/>
                    </a:lnTo>
                    <a:lnTo>
                      <a:pt x="154" y="1056"/>
                    </a:lnTo>
                    <a:lnTo>
                      <a:pt x="153" y="1053"/>
                    </a:lnTo>
                    <a:lnTo>
                      <a:pt x="151" y="1040"/>
                    </a:lnTo>
                    <a:lnTo>
                      <a:pt x="148" y="1029"/>
                    </a:lnTo>
                    <a:lnTo>
                      <a:pt x="147" y="1024"/>
                    </a:lnTo>
                    <a:lnTo>
                      <a:pt x="147" y="1019"/>
                    </a:lnTo>
                    <a:lnTo>
                      <a:pt x="149" y="1015"/>
                    </a:lnTo>
                    <a:lnTo>
                      <a:pt x="153" y="1010"/>
                    </a:lnTo>
                    <a:lnTo>
                      <a:pt x="126" y="1010"/>
                    </a:lnTo>
                    <a:lnTo>
                      <a:pt x="133" y="992"/>
                    </a:lnTo>
                    <a:lnTo>
                      <a:pt x="120" y="989"/>
                    </a:lnTo>
                    <a:lnTo>
                      <a:pt x="106" y="985"/>
                    </a:lnTo>
                    <a:lnTo>
                      <a:pt x="108" y="979"/>
                    </a:lnTo>
                    <a:lnTo>
                      <a:pt x="110" y="973"/>
                    </a:lnTo>
                    <a:lnTo>
                      <a:pt x="112" y="969"/>
                    </a:lnTo>
                    <a:lnTo>
                      <a:pt x="114" y="965"/>
                    </a:lnTo>
                    <a:lnTo>
                      <a:pt x="121" y="958"/>
                    </a:lnTo>
                    <a:lnTo>
                      <a:pt x="127" y="954"/>
                    </a:lnTo>
                    <a:lnTo>
                      <a:pt x="134" y="950"/>
                    </a:lnTo>
                    <a:lnTo>
                      <a:pt x="140" y="947"/>
                    </a:lnTo>
                    <a:lnTo>
                      <a:pt x="147" y="942"/>
                    </a:lnTo>
                    <a:lnTo>
                      <a:pt x="153" y="936"/>
                    </a:lnTo>
                    <a:lnTo>
                      <a:pt x="149" y="932"/>
                    </a:lnTo>
                    <a:lnTo>
                      <a:pt x="148" y="929"/>
                    </a:lnTo>
                    <a:lnTo>
                      <a:pt x="147" y="927"/>
                    </a:lnTo>
                    <a:lnTo>
                      <a:pt x="147" y="925"/>
                    </a:lnTo>
                    <a:lnTo>
                      <a:pt x="148" y="923"/>
                    </a:lnTo>
                    <a:lnTo>
                      <a:pt x="149" y="921"/>
                    </a:lnTo>
                    <a:lnTo>
                      <a:pt x="151" y="919"/>
                    </a:lnTo>
                    <a:lnTo>
                      <a:pt x="155" y="917"/>
                    </a:lnTo>
                    <a:lnTo>
                      <a:pt x="161" y="914"/>
                    </a:lnTo>
                    <a:lnTo>
                      <a:pt x="170" y="910"/>
                    </a:lnTo>
                    <a:lnTo>
                      <a:pt x="178" y="905"/>
                    </a:lnTo>
                    <a:lnTo>
                      <a:pt x="187" y="899"/>
                    </a:lnTo>
                    <a:lnTo>
                      <a:pt x="191" y="901"/>
                    </a:lnTo>
                    <a:lnTo>
                      <a:pt x="196" y="902"/>
                    </a:lnTo>
                    <a:lnTo>
                      <a:pt x="203" y="901"/>
                    </a:lnTo>
                    <a:lnTo>
                      <a:pt x="209" y="900"/>
                    </a:lnTo>
                    <a:lnTo>
                      <a:pt x="215" y="898"/>
                    </a:lnTo>
                    <a:lnTo>
                      <a:pt x="221" y="896"/>
                    </a:lnTo>
                    <a:lnTo>
                      <a:pt x="227" y="893"/>
                    </a:lnTo>
                    <a:lnTo>
                      <a:pt x="233" y="889"/>
                    </a:lnTo>
                    <a:lnTo>
                      <a:pt x="243" y="881"/>
                    </a:lnTo>
                    <a:lnTo>
                      <a:pt x="251" y="872"/>
                    </a:lnTo>
                    <a:lnTo>
                      <a:pt x="255" y="868"/>
                    </a:lnTo>
                    <a:lnTo>
                      <a:pt x="257" y="863"/>
                    </a:lnTo>
                    <a:lnTo>
                      <a:pt x="259" y="859"/>
                    </a:lnTo>
                    <a:lnTo>
                      <a:pt x="259" y="856"/>
                    </a:lnTo>
                    <a:lnTo>
                      <a:pt x="259" y="851"/>
                    </a:lnTo>
                    <a:lnTo>
                      <a:pt x="258" y="847"/>
                    </a:lnTo>
                    <a:lnTo>
                      <a:pt x="256" y="843"/>
                    </a:lnTo>
                    <a:lnTo>
                      <a:pt x="254" y="840"/>
                    </a:lnTo>
                    <a:lnTo>
                      <a:pt x="248" y="832"/>
                    </a:lnTo>
                    <a:lnTo>
                      <a:pt x="243" y="826"/>
                    </a:lnTo>
                    <a:lnTo>
                      <a:pt x="236" y="818"/>
                    </a:lnTo>
                    <a:lnTo>
                      <a:pt x="232" y="811"/>
                    </a:lnTo>
                    <a:lnTo>
                      <a:pt x="229" y="807"/>
                    </a:lnTo>
                    <a:lnTo>
                      <a:pt x="227" y="803"/>
                    </a:lnTo>
                    <a:lnTo>
                      <a:pt x="226" y="799"/>
                    </a:lnTo>
                    <a:lnTo>
                      <a:pt x="226" y="794"/>
                    </a:lnTo>
                    <a:lnTo>
                      <a:pt x="226" y="789"/>
                    </a:lnTo>
                    <a:lnTo>
                      <a:pt x="227" y="784"/>
                    </a:lnTo>
                    <a:lnTo>
                      <a:pt x="228" y="780"/>
                    </a:lnTo>
                    <a:lnTo>
                      <a:pt x="231" y="776"/>
                    </a:lnTo>
                    <a:lnTo>
                      <a:pt x="234" y="770"/>
                    </a:lnTo>
                    <a:lnTo>
                      <a:pt x="239" y="763"/>
                    </a:lnTo>
                    <a:lnTo>
                      <a:pt x="244" y="757"/>
                    </a:lnTo>
                    <a:lnTo>
                      <a:pt x="248" y="751"/>
                    </a:lnTo>
                    <a:lnTo>
                      <a:pt x="250" y="747"/>
                    </a:lnTo>
                    <a:lnTo>
                      <a:pt x="251" y="743"/>
                    </a:lnTo>
                    <a:lnTo>
                      <a:pt x="252" y="738"/>
                    </a:lnTo>
                    <a:lnTo>
                      <a:pt x="252" y="733"/>
                    </a:lnTo>
                    <a:lnTo>
                      <a:pt x="252" y="724"/>
                    </a:lnTo>
                    <a:lnTo>
                      <a:pt x="251" y="716"/>
                    </a:lnTo>
                    <a:lnTo>
                      <a:pt x="249" y="707"/>
                    </a:lnTo>
                    <a:lnTo>
                      <a:pt x="247" y="700"/>
                    </a:lnTo>
                    <a:lnTo>
                      <a:pt x="242" y="686"/>
                    </a:lnTo>
                    <a:lnTo>
                      <a:pt x="234" y="674"/>
                    </a:lnTo>
                    <a:lnTo>
                      <a:pt x="218" y="653"/>
                    </a:lnTo>
                    <a:lnTo>
                      <a:pt x="206" y="634"/>
                    </a:lnTo>
                    <a:lnTo>
                      <a:pt x="200" y="634"/>
                    </a:lnTo>
                    <a:lnTo>
                      <a:pt x="194" y="635"/>
                    </a:lnTo>
                    <a:lnTo>
                      <a:pt x="190" y="637"/>
                    </a:lnTo>
                    <a:lnTo>
                      <a:pt x="186" y="639"/>
                    </a:lnTo>
                    <a:lnTo>
                      <a:pt x="177" y="644"/>
                    </a:lnTo>
                    <a:lnTo>
                      <a:pt x="168" y="649"/>
                    </a:lnTo>
                    <a:lnTo>
                      <a:pt x="159" y="656"/>
                    </a:lnTo>
                    <a:lnTo>
                      <a:pt x="148" y="661"/>
                    </a:lnTo>
                    <a:lnTo>
                      <a:pt x="142" y="662"/>
                    </a:lnTo>
                    <a:lnTo>
                      <a:pt x="135" y="664"/>
                    </a:lnTo>
                    <a:lnTo>
                      <a:pt x="128" y="665"/>
                    </a:lnTo>
                    <a:lnTo>
                      <a:pt x="120" y="665"/>
                    </a:lnTo>
                    <a:lnTo>
                      <a:pt x="113" y="663"/>
                    </a:lnTo>
                    <a:lnTo>
                      <a:pt x="104" y="658"/>
                    </a:lnTo>
                    <a:lnTo>
                      <a:pt x="100" y="656"/>
                    </a:lnTo>
                    <a:lnTo>
                      <a:pt x="97" y="652"/>
                    </a:lnTo>
                    <a:lnTo>
                      <a:pt x="94" y="649"/>
                    </a:lnTo>
                    <a:lnTo>
                      <a:pt x="93" y="646"/>
                    </a:lnTo>
                    <a:lnTo>
                      <a:pt x="93" y="640"/>
                    </a:lnTo>
                    <a:lnTo>
                      <a:pt x="95" y="633"/>
                    </a:lnTo>
                    <a:lnTo>
                      <a:pt x="98" y="628"/>
                    </a:lnTo>
                    <a:lnTo>
                      <a:pt x="100" y="622"/>
                    </a:lnTo>
                    <a:lnTo>
                      <a:pt x="102" y="616"/>
                    </a:lnTo>
                    <a:lnTo>
                      <a:pt x="104" y="610"/>
                    </a:lnTo>
                    <a:lnTo>
                      <a:pt x="105" y="604"/>
                    </a:lnTo>
                    <a:lnTo>
                      <a:pt x="106" y="597"/>
                    </a:lnTo>
                    <a:lnTo>
                      <a:pt x="86" y="597"/>
                    </a:lnTo>
                    <a:lnTo>
                      <a:pt x="64" y="597"/>
                    </a:lnTo>
                    <a:lnTo>
                      <a:pt x="35" y="597"/>
                    </a:lnTo>
                    <a:lnTo>
                      <a:pt x="0" y="597"/>
                    </a:lnTo>
                    <a:lnTo>
                      <a:pt x="585" y="117"/>
                    </a:lnTo>
                    <a:lnTo>
                      <a:pt x="594" y="116"/>
                    </a:lnTo>
                    <a:lnTo>
                      <a:pt x="602" y="114"/>
                    </a:lnTo>
                    <a:lnTo>
                      <a:pt x="612" y="112"/>
                    </a:lnTo>
                    <a:lnTo>
                      <a:pt x="625" y="111"/>
                    </a:lnTo>
                    <a:lnTo>
                      <a:pt x="635" y="111"/>
                    </a:lnTo>
                    <a:lnTo>
                      <a:pt x="643" y="113"/>
                    </a:lnTo>
                    <a:lnTo>
                      <a:pt x="651" y="116"/>
                    </a:lnTo>
                    <a:lnTo>
                      <a:pt x="659" y="119"/>
                    </a:lnTo>
                    <a:lnTo>
                      <a:pt x="674" y="128"/>
                    </a:lnTo>
                    <a:lnTo>
                      <a:pt x="687" y="138"/>
                    </a:lnTo>
                    <a:lnTo>
                      <a:pt x="702" y="148"/>
                    </a:lnTo>
                    <a:lnTo>
                      <a:pt x="716" y="158"/>
                    </a:lnTo>
                    <a:lnTo>
                      <a:pt x="724" y="161"/>
                    </a:lnTo>
                    <a:lnTo>
                      <a:pt x="732" y="164"/>
                    </a:lnTo>
                    <a:lnTo>
                      <a:pt x="741" y="166"/>
                    </a:lnTo>
                    <a:lnTo>
                      <a:pt x="751" y="166"/>
                    </a:lnTo>
                    <a:lnTo>
                      <a:pt x="943" y="111"/>
                    </a:lnTo>
                    <a:lnTo>
                      <a:pt x="1096" y="111"/>
                    </a:lnTo>
                    <a:lnTo>
                      <a:pt x="1103" y="112"/>
                    </a:lnTo>
                    <a:lnTo>
                      <a:pt x="1110" y="113"/>
                    </a:lnTo>
                    <a:lnTo>
                      <a:pt x="1117" y="113"/>
                    </a:lnTo>
                    <a:lnTo>
                      <a:pt x="1123" y="113"/>
                    </a:lnTo>
                    <a:lnTo>
                      <a:pt x="1135" y="110"/>
                    </a:lnTo>
                    <a:lnTo>
                      <a:pt x="1146" y="105"/>
                    </a:lnTo>
                    <a:lnTo>
                      <a:pt x="1157" y="100"/>
                    </a:lnTo>
                    <a:lnTo>
                      <a:pt x="1169" y="93"/>
                    </a:lnTo>
                    <a:lnTo>
                      <a:pt x="1181" y="89"/>
                    </a:lnTo>
                    <a:lnTo>
                      <a:pt x="1196" y="85"/>
                    </a:lnTo>
                    <a:lnTo>
                      <a:pt x="1195" y="90"/>
                    </a:lnTo>
                    <a:lnTo>
                      <a:pt x="1195" y="94"/>
                    </a:lnTo>
                    <a:lnTo>
                      <a:pt x="1195" y="100"/>
                    </a:lnTo>
                    <a:lnTo>
                      <a:pt x="1196" y="104"/>
                    </a:lnTo>
                    <a:lnTo>
                      <a:pt x="1198" y="112"/>
                    </a:lnTo>
                    <a:lnTo>
                      <a:pt x="1202" y="120"/>
                    </a:lnTo>
                    <a:lnTo>
                      <a:pt x="1208" y="126"/>
                    </a:lnTo>
                    <a:lnTo>
                      <a:pt x="1214" y="131"/>
                    </a:lnTo>
                    <a:lnTo>
                      <a:pt x="1218" y="132"/>
                    </a:lnTo>
                    <a:lnTo>
                      <a:pt x="1222" y="134"/>
                    </a:lnTo>
                    <a:lnTo>
                      <a:pt x="1225" y="135"/>
                    </a:lnTo>
                    <a:lnTo>
                      <a:pt x="1230" y="135"/>
                    </a:lnTo>
                    <a:lnTo>
                      <a:pt x="1238" y="134"/>
                    </a:lnTo>
                    <a:lnTo>
                      <a:pt x="1247" y="133"/>
                    </a:lnTo>
                    <a:lnTo>
                      <a:pt x="1255" y="131"/>
                    </a:lnTo>
                    <a:lnTo>
                      <a:pt x="1263" y="128"/>
                    </a:lnTo>
                    <a:lnTo>
                      <a:pt x="1278" y="122"/>
                    </a:lnTo>
                    <a:lnTo>
                      <a:pt x="1296" y="117"/>
                    </a:lnTo>
                    <a:lnTo>
                      <a:pt x="1298" y="119"/>
                    </a:lnTo>
                    <a:lnTo>
                      <a:pt x="1300" y="120"/>
                    </a:lnTo>
                    <a:lnTo>
                      <a:pt x="1303" y="122"/>
                    </a:lnTo>
                    <a:lnTo>
                      <a:pt x="1308" y="123"/>
                    </a:lnTo>
                    <a:lnTo>
                      <a:pt x="1319" y="124"/>
                    </a:lnTo>
                    <a:lnTo>
                      <a:pt x="1331" y="124"/>
                    </a:lnTo>
                    <a:lnTo>
                      <a:pt x="1343" y="123"/>
                    </a:lnTo>
                    <a:lnTo>
                      <a:pt x="1355" y="121"/>
                    </a:lnTo>
                    <a:lnTo>
                      <a:pt x="1367" y="119"/>
                    </a:lnTo>
                    <a:lnTo>
                      <a:pt x="1376" y="117"/>
                    </a:lnTo>
                    <a:lnTo>
                      <a:pt x="1386" y="116"/>
                    </a:lnTo>
                    <a:lnTo>
                      <a:pt x="1397" y="114"/>
                    </a:lnTo>
                    <a:lnTo>
                      <a:pt x="1405" y="112"/>
                    </a:lnTo>
                    <a:lnTo>
                      <a:pt x="1409" y="111"/>
                    </a:lnTo>
                    <a:lnTo>
                      <a:pt x="1424" y="112"/>
                    </a:lnTo>
                    <a:lnTo>
                      <a:pt x="1450" y="117"/>
                    </a:lnTo>
                    <a:lnTo>
                      <a:pt x="1483" y="123"/>
                    </a:lnTo>
                    <a:lnTo>
                      <a:pt x="1520" y="131"/>
                    </a:lnTo>
                    <a:lnTo>
                      <a:pt x="1557" y="140"/>
                    </a:lnTo>
                    <a:lnTo>
                      <a:pt x="1592" y="149"/>
                    </a:lnTo>
                    <a:lnTo>
                      <a:pt x="1621" y="159"/>
                    </a:lnTo>
                    <a:lnTo>
                      <a:pt x="1641" y="166"/>
                    </a:lnTo>
                    <a:lnTo>
                      <a:pt x="1632" y="174"/>
                    </a:lnTo>
                    <a:lnTo>
                      <a:pt x="1623" y="179"/>
                    </a:lnTo>
                    <a:lnTo>
                      <a:pt x="1615" y="183"/>
                    </a:lnTo>
                    <a:lnTo>
                      <a:pt x="1607" y="187"/>
                    </a:lnTo>
                    <a:lnTo>
                      <a:pt x="1601" y="189"/>
                    </a:lnTo>
                    <a:lnTo>
                      <a:pt x="1592" y="193"/>
                    </a:lnTo>
                    <a:lnTo>
                      <a:pt x="1584" y="197"/>
                    </a:lnTo>
                    <a:lnTo>
                      <a:pt x="1574" y="202"/>
                    </a:lnTo>
                    <a:lnTo>
                      <a:pt x="1591" y="209"/>
                    </a:lnTo>
                    <a:lnTo>
                      <a:pt x="1606" y="215"/>
                    </a:lnTo>
                    <a:lnTo>
                      <a:pt x="1621" y="219"/>
                    </a:lnTo>
                    <a:lnTo>
                      <a:pt x="1635" y="222"/>
                    </a:lnTo>
                    <a:lnTo>
                      <a:pt x="1648" y="225"/>
                    </a:lnTo>
                    <a:lnTo>
                      <a:pt x="1662" y="226"/>
                    </a:lnTo>
                    <a:lnTo>
                      <a:pt x="1678" y="227"/>
                    </a:lnTo>
                    <a:lnTo>
                      <a:pt x="1694" y="228"/>
                    </a:lnTo>
                    <a:lnTo>
                      <a:pt x="1711" y="227"/>
                    </a:lnTo>
                    <a:lnTo>
                      <a:pt x="1725" y="224"/>
                    </a:lnTo>
                    <a:lnTo>
                      <a:pt x="1737" y="220"/>
                    </a:lnTo>
                    <a:lnTo>
                      <a:pt x="1749" y="216"/>
                    </a:lnTo>
                    <a:lnTo>
                      <a:pt x="1760" y="211"/>
                    </a:lnTo>
                    <a:lnTo>
                      <a:pt x="1771" y="206"/>
                    </a:lnTo>
                    <a:lnTo>
                      <a:pt x="1782" y="203"/>
                    </a:lnTo>
                    <a:lnTo>
                      <a:pt x="1794" y="202"/>
                    </a:lnTo>
                    <a:lnTo>
                      <a:pt x="1800" y="203"/>
                    </a:lnTo>
                    <a:lnTo>
                      <a:pt x="1805" y="204"/>
                    </a:lnTo>
                    <a:lnTo>
                      <a:pt x="1811" y="206"/>
                    </a:lnTo>
                    <a:lnTo>
                      <a:pt x="1816" y="209"/>
                    </a:lnTo>
                    <a:lnTo>
                      <a:pt x="1825" y="217"/>
                    </a:lnTo>
                    <a:lnTo>
                      <a:pt x="1833" y="225"/>
                    </a:lnTo>
                    <a:lnTo>
                      <a:pt x="1841" y="232"/>
                    </a:lnTo>
                    <a:lnTo>
                      <a:pt x="1849" y="239"/>
                    </a:lnTo>
                    <a:lnTo>
                      <a:pt x="1853" y="242"/>
                    </a:lnTo>
                    <a:lnTo>
                      <a:pt x="1858" y="244"/>
                    </a:lnTo>
                    <a:lnTo>
                      <a:pt x="1862" y="245"/>
                    </a:lnTo>
                    <a:lnTo>
                      <a:pt x="1867" y="246"/>
                    </a:lnTo>
                    <a:lnTo>
                      <a:pt x="1880" y="202"/>
                    </a:lnTo>
                    <a:lnTo>
                      <a:pt x="2006" y="178"/>
                    </a:lnTo>
                    <a:lnTo>
                      <a:pt x="2016" y="179"/>
                    </a:lnTo>
                    <a:lnTo>
                      <a:pt x="2026" y="180"/>
                    </a:lnTo>
                    <a:lnTo>
                      <a:pt x="2035" y="181"/>
                    </a:lnTo>
                    <a:lnTo>
                      <a:pt x="2043" y="183"/>
                    </a:lnTo>
                    <a:lnTo>
                      <a:pt x="2060" y="188"/>
                    </a:lnTo>
                    <a:lnTo>
                      <a:pt x="2076" y="193"/>
                    </a:lnTo>
                    <a:lnTo>
                      <a:pt x="2093" y="199"/>
                    </a:lnTo>
                    <a:lnTo>
                      <a:pt x="2109" y="204"/>
                    </a:lnTo>
                    <a:lnTo>
                      <a:pt x="2118" y="206"/>
                    </a:lnTo>
                    <a:lnTo>
                      <a:pt x="2127" y="207"/>
                    </a:lnTo>
                    <a:lnTo>
                      <a:pt x="2137" y="208"/>
                    </a:lnTo>
                    <a:lnTo>
                      <a:pt x="2147" y="208"/>
                    </a:lnTo>
                    <a:lnTo>
                      <a:pt x="2162" y="208"/>
                    </a:lnTo>
                    <a:lnTo>
                      <a:pt x="2173" y="207"/>
                    </a:lnTo>
                    <a:lnTo>
                      <a:pt x="2183" y="205"/>
                    </a:lnTo>
                    <a:lnTo>
                      <a:pt x="2190" y="202"/>
                    </a:lnTo>
                    <a:lnTo>
                      <a:pt x="2198" y="200"/>
                    </a:lnTo>
                    <a:lnTo>
                      <a:pt x="2206" y="198"/>
                    </a:lnTo>
                    <a:lnTo>
                      <a:pt x="2215" y="197"/>
                    </a:lnTo>
                    <a:lnTo>
                      <a:pt x="2226" y="196"/>
                    </a:lnTo>
                    <a:lnTo>
                      <a:pt x="2235" y="197"/>
                    </a:lnTo>
                    <a:lnTo>
                      <a:pt x="2244" y="199"/>
                    </a:lnTo>
                    <a:lnTo>
                      <a:pt x="2253" y="202"/>
                    </a:lnTo>
                    <a:lnTo>
                      <a:pt x="2261" y="205"/>
                    </a:lnTo>
                    <a:lnTo>
                      <a:pt x="2267" y="209"/>
                    </a:lnTo>
                    <a:lnTo>
                      <a:pt x="2274" y="213"/>
                    </a:lnTo>
                    <a:lnTo>
                      <a:pt x="2280" y="215"/>
                    </a:lnTo>
                    <a:lnTo>
                      <a:pt x="2286" y="216"/>
                    </a:lnTo>
                    <a:lnTo>
                      <a:pt x="2290" y="215"/>
                    </a:lnTo>
                    <a:lnTo>
                      <a:pt x="2296" y="213"/>
                    </a:lnTo>
                    <a:lnTo>
                      <a:pt x="2300" y="211"/>
                    </a:lnTo>
                    <a:lnTo>
                      <a:pt x="2305" y="206"/>
                    </a:lnTo>
                    <a:lnTo>
                      <a:pt x="2309" y="202"/>
                    </a:lnTo>
                    <a:lnTo>
                      <a:pt x="2312" y="197"/>
                    </a:lnTo>
                    <a:lnTo>
                      <a:pt x="2316" y="191"/>
                    </a:lnTo>
                    <a:lnTo>
                      <a:pt x="2319" y="184"/>
                    </a:lnTo>
                    <a:lnTo>
                      <a:pt x="2326" y="183"/>
                    </a:lnTo>
                    <a:lnTo>
                      <a:pt x="2334" y="180"/>
                    </a:lnTo>
                    <a:lnTo>
                      <a:pt x="2339" y="179"/>
                    </a:lnTo>
                    <a:lnTo>
                      <a:pt x="2342" y="177"/>
                    </a:lnTo>
                    <a:lnTo>
                      <a:pt x="2344" y="174"/>
                    </a:lnTo>
                    <a:lnTo>
                      <a:pt x="2345" y="172"/>
                    </a:lnTo>
                    <a:lnTo>
                      <a:pt x="2378" y="172"/>
                    </a:lnTo>
                    <a:lnTo>
                      <a:pt x="2376" y="178"/>
                    </a:lnTo>
                    <a:lnTo>
                      <a:pt x="2372" y="185"/>
                    </a:lnTo>
                    <a:lnTo>
                      <a:pt x="2369" y="189"/>
                    </a:lnTo>
                    <a:lnTo>
                      <a:pt x="2367" y="193"/>
                    </a:lnTo>
                    <a:lnTo>
                      <a:pt x="2366" y="198"/>
                    </a:lnTo>
                    <a:lnTo>
                      <a:pt x="2365" y="202"/>
                    </a:lnTo>
                    <a:lnTo>
                      <a:pt x="2365" y="216"/>
                    </a:lnTo>
                    <a:lnTo>
                      <a:pt x="2365" y="228"/>
                    </a:lnTo>
                    <a:lnTo>
                      <a:pt x="2405" y="228"/>
                    </a:lnTo>
                    <a:lnTo>
                      <a:pt x="2401" y="213"/>
                    </a:lnTo>
                    <a:lnTo>
                      <a:pt x="2400" y="203"/>
                    </a:lnTo>
                    <a:lnTo>
                      <a:pt x="2401" y="195"/>
                    </a:lnTo>
                    <a:lnTo>
                      <a:pt x="2405" y="184"/>
                    </a:lnTo>
                    <a:lnTo>
                      <a:pt x="2430" y="184"/>
                    </a:lnTo>
                    <a:lnTo>
                      <a:pt x="2454" y="182"/>
                    </a:lnTo>
                    <a:lnTo>
                      <a:pt x="2465" y="180"/>
                    </a:lnTo>
                    <a:lnTo>
                      <a:pt x="2476" y="178"/>
                    </a:lnTo>
                    <a:lnTo>
                      <a:pt x="2487" y="175"/>
                    </a:lnTo>
                    <a:lnTo>
                      <a:pt x="2497" y="172"/>
                    </a:lnTo>
                    <a:lnTo>
                      <a:pt x="2506" y="168"/>
                    </a:lnTo>
                    <a:lnTo>
                      <a:pt x="2513" y="164"/>
                    </a:lnTo>
                    <a:lnTo>
                      <a:pt x="2521" y="159"/>
                    </a:lnTo>
                    <a:lnTo>
                      <a:pt x="2526" y="153"/>
                    </a:lnTo>
                    <a:lnTo>
                      <a:pt x="2532" y="146"/>
                    </a:lnTo>
                    <a:lnTo>
                      <a:pt x="2535" y="139"/>
                    </a:lnTo>
                    <a:lnTo>
                      <a:pt x="2537" y="131"/>
                    </a:lnTo>
                    <a:lnTo>
                      <a:pt x="2539" y="123"/>
                    </a:lnTo>
                    <a:lnTo>
                      <a:pt x="2532" y="123"/>
                    </a:lnTo>
                    <a:lnTo>
                      <a:pt x="2518" y="123"/>
                    </a:lnTo>
                    <a:lnTo>
                      <a:pt x="2501" y="123"/>
                    </a:lnTo>
                    <a:lnTo>
                      <a:pt x="2491" y="123"/>
                    </a:lnTo>
                    <a:lnTo>
                      <a:pt x="2487" y="120"/>
                    </a:lnTo>
                    <a:lnTo>
                      <a:pt x="2483" y="115"/>
                    </a:lnTo>
                    <a:lnTo>
                      <a:pt x="2479" y="110"/>
                    </a:lnTo>
                    <a:lnTo>
                      <a:pt x="2477" y="105"/>
                    </a:lnTo>
                    <a:lnTo>
                      <a:pt x="2473" y="93"/>
                    </a:lnTo>
                    <a:lnTo>
                      <a:pt x="2472" y="85"/>
                    </a:lnTo>
                    <a:lnTo>
                      <a:pt x="2473" y="81"/>
                    </a:lnTo>
                    <a:lnTo>
                      <a:pt x="2476" y="75"/>
                    </a:lnTo>
                    <a:lnTo>
                      <a:pt x="2480" y="69"/>
                    </a:lnTo>
                    <a:lnTo>
                      <a:pt x="2487" y="62"/>
                    </a:lnTo>
                    <a:lnTo>
                      <a:pt x="2495" y="55"/>
                    </a:lnTo>
                    <a:lnTo>
                      <a:pt x="2503" y="48"/>
                    </a:lnTo>
                    <a:lnTo>
                      <a:pt x="2512" y="40"/>
                    </a:lnTo>
                    <a:lnTo>
                      <a:pt x="2523" y="33"/>
                    </a:lnTo>
                    <a:lnTo>
                      <a:pt x="2534" y="26"/>
                    </a:lnTo>
                    <a:lnTo>
                      <a:pt x="2545" y="20"/>
                    </a:lnTo>
                    <a:lnTo>
                      <a:pt x="2556" y="15"/>
                    </a:lnTo>
                    <a:lnTo>
                      <a:pt x="2567" y="10"/>
                    </a:lnTo>
                    <a:lnTo>
                      <a:pt x="2577" y="6"/>
                    </a:lnTo>
                    <a:lnTo>
                      <a:pt x="2587" y="2"/>
                    </a:lnTo>
                    <a:lnTo>
                      <a:pt x="2597" y="0"/>
                    </a:lnTo>
                    <a:lnTo>
                      <a:pt x="2604" y="0"/>
                    </a:lnTo>
                    <a:lnTo>
                      <a:pt x="2611" y="0"/>
                    </a:lnTo>
                    <a:lnTo>
                      <a:pt x="2621" y="0"/>
                    </a:lnTo>
                    <a:lnTo>
                      <a:pt x="2631" y="0"/>
                    </a:lnTo>
                    <a:lnTo>
                      <a:pt x="2637" y="0"/>
                    </a:lnTo>
                    <a:lnTo>
                      <a:pt x="2638" y="8"/>
                    </a:lnTo>
                    <a:lnTo>
                      <a:pt x="2638" y="16"/>
                    </a:lnTo>
                    <a:lnTo>
                      <a:pt x="2640" y="24"/>
                    </a:lnTo>
                    <a:lnTo>
                      <a:pt x="2642" y="30"/>
                    </a:lnTo>
                    <a:lnTo>
                      <a:pt x="2646" y="42"/>
                    </a:lnTo>
                    <a:lnTo>
                      <a:pt x="2651" y="53"/>
                    </a:lnTo>
                    <a:lnTo>
                      <a:pt x="2656" y="62"/>
                    </a:lnTo>
                    <a:lnTo>
                      <a:pt x="2660" y="71"/>
                    </a:lnTo>
                    <a:lnTo>
                      <a:pt x="2663" y="81"/>
                    </a:lnTo>
                    <a:lnTo>
                      <a:pt x="2664" y="91"/>
                    </a:lnTo>
                    <a:lnTo>
                      <a:pt x="2664" y="95"/>
                    </a:lnTo>
                    <a:lnTo>
                      <a:pt x="2663" y="97"/>
                    </a:lnTo>
                    <a:lnTo>
                      <a:pt x="2660" y="100"/>
                    </a:lnTo>
                    <a:lnTo>
                      <a:pt x="2658" y="101"/>
                    </a:lnTo>
                    <a:lnTo>
                      <a:pt x="2652" y="103"/>
                    </a:lnTo>
                    <a:lnTo>
                      <a:pt x="2644" y="105"/>
                    </a:lnTo>
                    <a:lnTo>
                      <a:pt x="2635" y="106"/>
                    </a:lnTo>
                    <a:lnTo>
                      <a:pt x="2627" y="108"/>
                    </a:lnTo>
                    <a:lnTo>
                      <a:pt x="2624" y="109"/>
                    </a:lnTo>
                    <a:lnTo>
                      <a:pt x="2622" y="111"/>
                    </a:lnTo>
                    <a:lnTo>
                      <a:pt x="2620" y="114"/>
                    </a:lnTo>
                    <a:lnTo>
                      <a:pt x="2618" y="117"/>
                    </a:lnTo>
                    <a:lnTo>
                      <a:pt x="2627" y="118"/>
                    </a:lnTo>
                    <a:lnTo>
                      <a:pt x="2637" y="120"/>
                    </a:lnTo>
                    <a:lnTo>
                      <a:pt x="2647" y="122"/>
                    </a:lnTo>
                    <a:lnTo>
                      <a:pt x="2657" y="123"/>
                    </a:lnTo>
                    <a:lnTo>
                      <a:pt x="2653" y="127"/>
                    </a:lnTo>
                    <a:lnTo>
                      <a:pt x="2649" y="132"/>
                    </a:lnTo>
                    <a:lnTo>
                      <a:pt x="2647" y="137"/>
                    </a:lnTo>
                    <a:lnTo>
                      <a:pt x="2646" y="142"/>
                    </a:lnTo>
                    <a:lnTo>
                      <a:pt x="2644" y="153"/>
                    </a:lnTo>
                    <a:lnTo>
                      <a:pt x="2644" y="166"/>
                    </a:lnTo>
                    <a:lnTo>
                      <a:pt x="2645" y="168"/>
                    </a:lnTo>
                    <a:lnTo>
                      <a:pt x="2646" y="169"/>
                    </a:lnTo>
                    <a:lnTo>
                      <a:pt x="2648" y="169"/>
                    </a:lnTo>
                    <a:lnTo>
                      <a:pt x="2652" y="168"/>
                    </a:lnTo>
                    <a:lnTo>
                      <a:pt x="2658" y="167"/>
                    </a:lnTo>
                    <a:lnTo>
                      <a:pt x="2664" y="166"/>
                    </a:lnTo>
                    <a:lnTo>
                      <a:pt x="2664" y="160"/>
                    </a:lnTo>
                    <a:lnTo>
                      <a:pt x="2664" y="153"/>
                    </a:lnTo>
                    <a:lnTo>
                      <a:pt x="2672" y="151"/>
                    </a:lnTo>
                    <a:lnTo>
                      <a:pt x="2680" y="148"/>
                    </a:lnTo>
                    <a:lnTo>
                      <a:pt x="2685" y="145"/>
                    </a:lnTo>
                    <a:lnTo>
                      <a:pt x="2689" y="142"/>
                    </a:lnTo>
                    <a:lnTo>
                      <a:pt x="2692" y="139"/>
                    </a:lnTo>
                    <a:lnTo>
                      <a:pt x="2696" y="137"/>
                    </a:lnTo>
                    <a:lnTo>
                      <a:pt x="2700" y="135"/>
                    </a:lnTo>
                    <a:lnTo>
                      <a:pt x="2704" y="135"/>
                    </a:lnTo>
                    <a:lnTo>
                      <a:pt x="2709" y="137"/>
                    </a:lnTo>
                    <a:lnTo>
                      <a:pt x="2715" y="138"/>
                    </a:lnTo>
                    <a:lnTo>
                      <a:pt x="2724" y="139"/>
                    </a:lnTo>
                    <a:lnTo>
                      <a:pt x="2733" y="140"/>
                    </a:lnTo>
                    <a:lnTo>
                      <a:pt x="2749" y="141"/>
                    </a:lnTo>
                    <a:lnTo>
                      <a:pt x="2757" y="141"/>
                    </a:lnTo>
                    <a:lnTo>
                      <a:pt x="2752" y="153"/>
                    </a:lnTo>
                    <a:lnTo>
                      <a:pt x="2745" y="164"/>
                    </a:lnTo>
                    <a:lnTo>
                      <a:pt x="2738" y="173"/>
                    </a:lnTo>
                    <a:lnTo>
                      <a:pt x="2731" y="180"/>
                    </a:lnTo>
                    <a:lnTo>
                      <a:pt x="2723" y="188"/>
                    </a:lnTo>
                    <a:lnTo>
                      <a:pt x="2716" y="196"/>
                    </a:lnTo>
                    <a:lnTo>
                      <a:pt x="2710" y="204"/>
                    </a:lnTo>
                    <a:lnTo>
                      <a:pt x="2704" y="216"/>
                    </a:lnTo>
                    <a:lnTo>
                      <a:pt x="2712" y="217"/>
                    </a:lnTo>
                    <a:lnTo>
                      <a:pt x="2719" y="218"/>
                    </a:lnTo>
                    <a:lnTo>
                      <a:pt x="2725" y="218"/>
                    </a:lnTo>
                    <a:lnTo>
                      <a:pt x="2732" y="218"/>
                    </a:lnTo>
                    <a:lnTo>
                      <a:pt x="2744" y="216"/>
                    </a:lnTo>
                    <a:lnTo>
                      <a:pt x="2750" y="216"/>
                    </a:lnTo>
                    <a:lnTo>
                      <a:pt x="2780" y="194"/>
                    </a:lnTo>
                    <a:lnTo>
                      <a:pt x="2810" y="172"/>
                    </a:lnTo>
                    <a:lnTo>
                      <a:pt x="2817" y="167"/>
                    </a:lnTo>
                    <a:lnTo>
                      <a:pt x="2825" y="163"/>
                    </a:lnTo>
                    <a:lnTo>
                      <a:pt x="2834" y="159"/>
                    </a:lnTo>
                    <a:lnTo>
                      <a:pt x="2843" y="155"/>
                    </a:lnTo>
                    <a:lnTo>
                      <a:pt x="2853" y="151"/>
                    </a:lnTo>
                    <a:lnTo>
                      <a:pt x="2862" y="149"/>
                    </a:lnTo>
                    <a:lnTo>
                      <a:pt x="2872" y="147"/>
                    </a:lnTo>
                    <a:lnTo>
                      <a:pt x="2883" y="147"/>
                    </a:lnTo>
                    <a:lnTo>
                      <a:pt x="2884" y="139"/>
                    </a:lnTo>
                    <a:lnTo>
                      <a:pt x="2885" y="132"/>
                    </a:lnTo>
                    <a:lnTo>
                      <a:pt x="2888" y="126"/>
                    </a:lnTo>
                    <a:lnTo>
                      <a:pt x="2891" y="121"/>
                    </a:lnTo>
                    <a:lnTo>
                      <a:pt x="2895" y="116"/>
                    </a:lnTo>
                    <a:lnTo>
                      <a:pt x="2900" y="111"/>
                    </a:lnTo>
                    <a:lnTo>
                      <a:pt x="2905" y="107"/>
                    </a:lnTo>
                    <a:lnTo>
                      <a:pt x="2912" y="104"/>
                    </a:lnTo>
                    <a:lnTo>
                      <a:pt x="2918" y="101"/>
                    </a:lnTo>
                    <a:lnTo>
                      <a:pt x="2925" y="98"/>
                    </a:lnTo>
                    <a:lnTo>
                      <a:pt x="2932" y="96"/>
                    </a:lnTo>
                    <a:lnTo>
                      <a:pt x="2939" y="94"/>
                    </a:lnTo>
                    <a:lnTo>
                      <a:pt x="2955" y="92"/>
                    </a:lnTo>
                    <a:lnTo>
                      <a:pt x="2970" y="91"/>
                    </a:lnTo>
                    <a:lnTo>
                      <a:pt x="2978" y="92"/>
                    </a:lnTo>
                    <a:lnTo>
                      <a:pt x="2984" y="93"/>
                    </a:lnTo>
                    <a:lnTo>
                      <a:pt x="2993" y="95"/>
                    </a:lnTo>
                    <a:lnTo>
                      <a:pt x="3001" y="98"/>
                    </a:lnTo>
                    <a:lnTo>
                      <a:pt x="3008" y="101"/>
                    </a:lnTo>
                    <a:lnTo>
                      <a:pt x="3017" y="103"/>
                    </a:lnTo>
                    <a:lnTo>
                      <a:pt x="3026" y="104"/>
                    </a:lnTo>
                    <a:lnTo>
                      <a:pt x="3036" y="105"/>
                    </a:lnTo>
                    <a:lnTo>
                      <a:pt x="3036" y="110"/>
                    </a:lnTo>
                    <a:lnTo>
                      <a:pt x="3036" y="117"/>
                    </a:lnTo>
                    <a:lnTo>
                      <a:pt x="3036" y="126"/>
                    </a:lnTo>
                    <a:lnTo>
                      <a:pt x="3036" y="135"/>
                    </a:lnTo>
                    <a:lnTo>
                      <a:pt x="3036" y="139"/>
                    </a:lnTo>
                    <a:lnTo>
                      <a:pt x="3035" y="143"/>
                    </a:lnTo>
                    <a:lnTo>
                      <a:pt x="3033" y="147"/>
                    </a:lnTo>
                    <a:lnTo>
                      <a:pt x="3030" y="150"/>
                    </a:lnTo>
                    <a:lnTo>
                      <a:pt x="3025" y="157"/>
                    </a:lnTo>
                    <a:lnTo>
                      <a:pt x="3018" y="162"/>
                    </a:lnTo>
                    <a:lnTo>
                      <a:pt x="3003" y="170"/>
                    </a:lnTo>
                    <a:lnTo>
                      <a:pt x="2990" y="178"/>
                    </a:lnTo>
                    <a:lnTo>
                      <a:pt x="2982" y="196"/>
                    </a:lnTo>
                    <a:lnTo>
                      <a:pt x="2973" y="214"/>
                    </a:lnTo>
                    <a:lnTo>
                      <a:pt x="2968" y="222"/>
                    </a:lnTo>
                    <a:lnTo>
                      <a:pt x="2963" y="229"/>
                    </a:lnTo>
                    <a:lnTo>
                      <a:pt x="2958" y="236"/>
                    </a:lnTo>
                    <a:lnTo>
                      <a:pt x="2951" y="243"/>
                    </a:lnTo>
                    <a:lnTo>
                      <a:pt x="2945" y="249"/>
                    </a:lnTo>
                    <a:lnTo>
                      <a:pt x="2938" y="254"/>
                    </a:lnTo>
                    <a:lnTo>
                      <a:pt x="2931" y="259"/>
                    </a:lnTo>
                    <a:lnTo>
                      <a:pt x="2923" y="263"/>
                    </a:lnTo>
                    <a:lnTo>
                      <a:pt x="2914" y="267"/>
                    </a:lnTo>
                    <a:lnTo>
                      <a:pt x="2904" y="269"/>
                    </a:lnTo>
                    <a:lnTo>
                      <a:pt x="2894" y="271"/>
                    </a:lnTo>
                    <a:lnTo>
                      <a:pt x="2883" y="271"/>
                    </a:lnTo>
                    <a:lnTo>
                      <a:pt x="2878" y="271"/>
                    </a:lnTo>
                    <a:lnTo>
                      <a:pt x="2872" y="270"/>
                    </a:lnTo>
                    <a:lnTo>
                      <a:pt x="2867" y="268"/>
                    </a:lnTo>
                    <a:lnTo>
                      <a:pt x="2861" y="266"/>
                    </a:lnTo>
                    <a:lnTo>
                      <a:pt x="2856" y="263"/>
                    </a:lnTo>
                    <a:lnTo>
                      <a:pt x="2850" y="260"/>
                    </a:lnTo>
                    <a:lnTo>
                      <a:pt x="2847" y="256"/>
                    </a:lnTo>
                    <a:lnTo>
                      <a:pt x="2844" y="252"/>
                    </a:lnTo>
                    <a:lnTo>
                      <a:pt x="2838" y="257"/>
                    </a:lnTo>
                    <a:lnTo>
                      <a:pt x="2835" y="264"/>
                    </a:lnTo>
                    <a:lnTo>
                      <a:pt x="2834" y="268"/>
                    </a:lnTo>
                    <a:lnTo>
                      <a:pt x="2834" y="272"/>
                    </a:lnTo>
                    <a:lnTo>
                      <a:pt x="2835" y="275"/>
                    </a:lnTo>
                    <a:lnTo>
                      <a:pt x="2837" y="277"/>
                    </a:lnTo>
                    <a:lnTo>
                      <a:pt x="2829" y="278"/>
                    </a:lnTo>
                    <a:lnTo>
                      <a:pt x="2823" y="279"/>
                    </a:lnTo>
                    <a:lnTo>
                      <a:pt x="2817" y="281"/>
                    </a:lnTo>
                    <a:lnTo>
                      <a:pt x="2811" y="283"/>
                    </a:lnTo>
                    <a:lnTo>
                      <a:pt x="2805" y="285"/>
                    </a:lnTo>
                    <a:lnTo>
                      <a:pt x="2801" y="287"/>
                    </a:lnTo>
                    <a:lnTo>
                      <a:pt x="2795" y="289"/>
                    </a:lnTo>
                    <a:lnTo>
                      <a:pt x="2790" y="289"/>
                    </a:lnTo>
                    <a:lnTo>
                      <a:pt x="2783" y="288"/>
                    </a:lnTo>
                    <a:lnTo>
                      <a:pt x="2777" y="286"/>
                    </a:lnTo>
                    <a:lnTo>
                      <a:pt x="2770" y="283"/>
                    </a:lnTo>
                    <a:lnTo>
                      <a:pt x="2765" y="279"/>
                    </a:lnTo>
                    <a:lnTo>
                      <a:pt x="2754" y="271"/>
                    </a:lnTo>
                    <a:lnTo>
                      <a:pt x="2744" y="264"/>
                    </a:lnTo>
                    <a:lnTo>
                      <a:pt x="2730" y="272"/>
                    </a:lnTo>
                    <a:lnTo>
                      <a:pt x="2717" y="281"/>
                    </a:lnTo>
                    <a:lnTo>
                      <a:pt x="2707" y="290"/>
                    </a:lnTo>
                    <a:lnTo>
                      <a:pt x="2696" y="299"/>
                    </a:lnTo>
                    <a:lnTo>
                      <a:pt x="2685" y="307"/>
                    </a:lnTo>
                    <a:lnTo>
                      <a:pt x="2671" y="313"/>
                    </a:lnTo>
                    <a:lnTo>
                      <a:pt x="2664" y="316"/>
                    </a:lnTo>
                    <a:lnTo>
                      <a:pt x="2656" y="318"/>
                    </a:lnTo>
                    <a:lnTo>
                      <a:pt x="2647" y="319"/>
                    </a:lnTo>
                    <a:lnTo>
                      <a:pt x="2637" y="319"/>
                    </a:lnTo>
                    <a:lnTo>
                      <a:pt x="2626" y="319"/>
                    </a:lnTo>
                    <a:lnTo>
                      <a:pt x="2615" y="317"/>
                    </a:lnTo>
                    <a:lnTo>
                      <a:pt x="2602" y="315"/>
                    </a:lnTo>
                    <a:lnTo>
                      <a:pt x="2590" y="312"/>
                    </a:lnTo>
                    <a:lnTo>
                      <a:pt x="2579" y="308"/>
                    </a:lnTo>
                    <a:lnTo>
                      <a:pt x="2569" y="304"/>
                    </a:lnTo>
                    <a:lnTo>
                      <a:pt x="2562" y="300"/>
                    </a:lnTo>
                    <a:lnTo>
                      <a:pt x="2558" y="295"/>
                    </a:lnTo>
                    <a:lnTo>
                      <a:pt x="2518" y="295"/>
                    </a:lnTo>
                    <a:lnTo>
                      <a:pt x="2521" y="303"/>
                    </a:lnTo>
                    <a:lnTo>
                      <a:pt x="2525" y="309"/>
                    </a:lnTo>
                    <a:lnTo>
                      <a:pt x="2530" y="314"/>
                    </a:lnTo>
                    <a:lnTo>
                      <a:pt x="2536" y="318"/>
                    </a:lnTo>
                    <a:lnTo>
                      <a:pt x="2542" y="322"/>
                    </a:lnTo>
                    <a:lnTo>
                      <a:pt x="2550" y="324"/>
                    </a:lnTo>
                    <a:lnTo>
                      <a:pt x="2557" y="326"/>
                    </a:lnTo>
                    <a:lnTo>
                      <a:pt x="2565" y="327"/>
                    </a:lnTo>
                    <a:lnTo>
                      <a:pt x="2601" y="328"/>
                    </a:lnTo>
                    <a:lnTo>
                      <a:pt x="2637" y="326"/>
                    </a:lnTo>
                    <a:lnTo>
                      <a:pt x="2637" y="335"/>
                    </a:lnTo>
                    <a:lnTo>
                      <a:pt x="2638" y="342"/>
                    </a:lnTo>
                    <a:lnTo>
                      <a:pt x="2641" y="349"/>
                    </a:lnTo>
                    <a:lnTo>
                      <a:pt x="2644" y="357"/>
                    </a:lnTo>
                    <a:lnTo>
                      <a:pt x="2619" y="363"/>
                    </a:lnTo>
                    <a:lnTo>
                      <a:pt x="2590" y="371"/>
                    </a:lnTo>
                    <a:lnTo>
                      <a:pt x="2562" y="382"/>
                    </a:lnTo>
                    <a:lnTo>
                      <a:pt x="2531" y="392"/>
                    </a:lnTo>
                    <a:lnTo>
                      <a:pt x="2501" y="402"/>
                    </a:lnTo>
                    <a:lnTo>
                      <a:pt x="2473" y="410"/>
                    </a:lnTo>
                    <a:lnTo>
                      <a:pt x="2458" y="414"/>
                    </a:lnTo>
                    <a:lnTo>
                      <a:pt x="2444" y="416"/>
                    </a:lnTo>
                    <a:lnTo>
                      <a:pt x="2431" y="418"/>
                    </a:lnTo>
                    <a:lnTo>
                      <a:pt x="2419" y="418"/>
                    </a:lnTo>
                    <a:lnTo>
                      <a:pt x="2339" y="400"/>
                    </a:lnTo>
                    <a:lnTo>
                      <a:pt x="2319" y="400"/>
                    </a:lnTo>
                    <a:lnTo>
                      <a:pt x="2340" y="408"/>
                    </a:lnTo>
                    <a:lnTo>
                      <a:pt x="2361" y="416"/>
                    </a:lnTo>
                    <a:lnTo>
                      <a:pt x="2372" y="420"/>
                    </a:lnTo>
                    <a:lnTo>
                      <a:pt x="2382" y="425"/>
                    </a:lnTo>
                    <a:lnTo>
                      <a:pt x="2390" y="430"/>
                    </a:lnTo>
                    <a:lnTo>
                      <a:pt x="2398" y="437"/>
                    </a:lnTo>
                    <a:lnTo>
                      <a:pt x="2394" y="444"/>
                    </a:lnTo>
                    <a:lnTo>
                      <a:pt x="2388" y="449"/>
                    </a:lnTo>
                    <a:lnTo>
                      <a:pt x="2384" y="454"/>
                    </a:lnTo>
                    <a:lnTo>
                      <a:pt x="2378" y="457"/>
                    </a:lnTo>
                    <a:lnTo>
                      <a:pt x="2373" y="461"/>
                    </a:lnTo>
                    <a:lnTo>
                      <a:pt x="2368" y="463"/>
                    </a:lnTo>
                    <a:lnTo>
                      <a:pt x="2363" y="465"/>
                    </a:lnTo>
                    <a:lnTo>
                      <a:pt x="2357" y="467"/>
                    </a:lnTo>
                    <a:lnTo>
                      <a:pt x="2333" y="471"/>
                    </a:lnTo>
                    <a:lnTo>
                      <a:pt x="2306" y="474"/>
                    </a:lnTo>
                    <a:lnTo>
                      <a:pt x="2296" y="477"/>
                    </a:lnTo>
                    <a:lnTo>
                      <a:pt x="2286" y="481"/>
                    </a:lnTo>
                    <a:lnTo>
                      <a:pt x="2277" y="486"/>
                    </a:lnTo>
                    <a:lnTo>
                      <a:pt x="2268" y="492"/>
                    </a:lnTo>
                    <a:lnTo>
                      <a:pt x="2260" y="497"/>
                    </a:lnTo>
                    <a:lnTo>
                      <a:pt x="2251" y="501"/>
                    </a:lnTo>
                    <a:lnTo>
                      <a:pt x="2242" y="504"/>
                    </a:lnTo>
                    <a:lnTo>
                      <a:pt x="2232" y="505"/>
                    </a:lnTo>
                    <a:lnTo>
                      <a:pt x="2232" y="517"/>
                    </a:lnTo>
                    <a:lnTo>
                      <a:pt x="2232" y="529"/>
                    </a:lnTo>
                    <a:lnTo>
                      <a:pt x="2220" y="532"/>
                    </a:lnTo>
                    <a:lnTo>
                      <a:pt x="2208" y="537"/>
                    </a:lnTo>
                    <a:lnTo>
                      <a:pt x="2194" y="542"/>
                    </a:lnTo>
                    <a:lnTo>
                      <a:pt x="2181" y="550"/>
                    </a:lnTo>
                    <a:lnTo>
                      <a:pt x="2166" y="559"/>
                    </a:lnTo>
                    <a:lnTo>
                      <a:pt x="2151" y="568"/>
                    </a:lnTo>
                    <a:lnTo>
                      <a:pt x="2138" y="578"/>
                    </a:lnTo>
                    <a:lnTo>
                      <a:pt x="2123" y="588"/>
                    </a:lnTo>
                    <a:lnTo>
                      <a:pt x="2110" y="601"/>
                    </a:lnTo>
                    <a:lnTo>
                      <a:pt x="2098" y="613"/>
                    </a:lnTo>
                    <a:lnTo>
                      <a:pt x="2087" y="625"/>
                    </a:lnTo>
                    <a:lnTo>
                      <a:pt x="2078" y="637"/>
                    </a:lnTo>
                    <a:lnTo>
                      <a:pt x="2071" y="650"/>
                    </a:lnTo>
                    <a:lnTo>
                      <a:pt x="2064" y="664"/>
                    </a:lnTo>
                    <a:lnTo>
                      <a:pt x="2062" y="670"/>
                    </a:lnTo>
                    <a:lnTo>
                      <a:pt x="2061" y="677"/>
                    </a:lnTo>
                    <a:lnTo>
                      <a:pt x="2060" y="683"/>
                    </a:lnTo>
                    <a:lnTo>
                      <a:pt x="2060" y="689"/>
                    </a:lnTo>
                    <a:lnTo>
                      <a:pt x="2106" y="689"/>
                    </a:lnTo>
                    <a:lnTo>
                      <a:pt x="2104" y="714"/>
                    </a:lnTo>
                    <a:lnTo>
                      <a:pt x="2102" y="736"/>
                    </a:lnTo>
                    <a:lnTo>
                      <a:pt x="2100" y="745"/>
                    </a:lnTo>
                    <a:lnTo>
                      <a:pt x="2100" y="753"/>
                    </a:lnTo>
                    <a:lnTo>
                      <a:pt x="2102" y="757"/>
                    </a:lnTo>
                    <a:lnTo>
                      <a:pt x="2103" y="759"/>
                    </a:lnTo>
                    <a:lnTo>
                      <a:pt x="2104" y="762"/>
                    </a:lnTo>
                    <a:lnTo>
                      <a:pt x="2106" y="763"/>
                    </a:lnTo>
                    <a:lnTo>
                      <a:pt x="2086" y="776"/>
                    </a:lnTo>
                    <a:lnTo>
                      <a:pt x="2087" y="780"/>
                    </a:lnTo>
                    <a:lnTo>
                      <a:pt x="2089" y="784"/>
                    </a:lnTo>
                    <a:lnTo>
                      <a:pt x="2093" y="787"/>
                    </a:lnTo>
                    <a:lnTo>
                      <a:pt x="2097" y="790"/>
                    </a:lnTo>
                    <a:lnTo>
                      <a:pt x="2106" y="793"/>
                    </a:lnTo>
                    <a:lnTo>
                      <a:pt x="2112" y="794"/>
                    </a:lnTo>
                    <a:lnTo>
                      <a:pt x="2193" y="776"/>
                    </a:lnTo>
                    <a:lnTo>
                      <a:pt x="2204" y="782"/>
                    </a:lnTo>
                    <a:lnTo>
                      <a:pt x="2214" y="789"/>
                    </a:lnTo>
                    <a:lnTo>
                      <a:pt x="2223" y="796"/>
                    </a:lnTo>
                    <a:lnTo>
                      <a:pt x="2232" y="803"/>
                    </a:lnTo>
                    <a:lnTo>
                      <a:pt x="2250" y="819"/>
                    </a:lnTo>
                    <a:lnTo>
                      <a:pt x="2266" y="836"/>
                    </a:lnTo>
                    <a:lnTo>
                      <a:pt x="2284" y="852"/>
                    </a:lnTo>
                    <a:lnTo>
                      <a:pt x="2301" y="866"/>
                    </a:lnTo>
                    <a:lnTo>
                      <a:pt x="2311" y="872"/>
                    </a:lnTo>
                    <a:lnTo>
                      <a:pt x="2322" y="878"/>
                    </a:lnTo>
                    <a:lnTo>
                      <a:pt x="2333" y="883"/>
                    </a:lnTo>
                    <a:lnTo>
                      <a:pt x="2345" y="887"/>
                    </a:lnTo>
                    <a:lnTo>
                      <a:pt x="2345" y="891"/>
                    </a:lnTo>
                    <a:lnTo>
                      <a:pt x="2346" y="895"/>
                    </a:lnTo>
                    <a:lnTo>
                      <a:pt x="2347" y="898"/>
                    </a:lnTo>
                    <a:lnTo>
                      <a:pt x="2350" y="901"/>
                    </a:lnTo>
                    <a:lnTo>
                      <a:pt x="2352" y="903"/>
                    </a:lnTo>
                    <a:lnTo>
                      <a:pt x="2354" y="905"/>
                    </a:lnTo>
                    <a:lnTo>
                      <a:pt x="2356" y="906"/>
                    </a:lnTo>
                    <a:lnTo>
                      <a:pt x="2360" y="907"/>
                    </a:lnTo>
                    <a:lnTo>
                      <a:pt x="2367" y="909"/>
                    </a:lnTo>
                    <a:lnTo>
                      <a:pt x="2375" y="908"/>
                    </a:lnTo>
                    <a:lnTo>
                      <a:pt x="2383" y="907"/>
                    </a:lnTo>
                    <a:lnTo>
                      <a:pt x="2391" y="905"/>
                    </a:lnTo>
                    <a:lnTo>
                      <a:pt x="2409" y="900"/>
                    </a:lnTo>
                    <a:lnTo>
                      <a:pt x="2423" y="894"/>
                    </a:lnTo>
                    <a:lnTo>
                      <a:pt x="2434" y="889"/>
                    </a:lnTo>
                    <a:lnTo>
                      <a:pt x="2439" y="887"/>
                    </a:lnTo>
                    <a:lnTo>
                      <a:pt x="2485" y="905"/>
                    </a:lnTo>
                    <a:lnTo>
                      <a:pt x="2479" y="917"/>
                    </a:lnTo>
                    <a:lnTo>
                      <a:pt x="2474" y="925"/>
                    </a:lnTo>
                    <a:lnTo>
                      <a:pt x="2467" y="931"/>
                    </a:lnTo>
                    <a:lnTo>
                      <a:pt x="2458" y="936"/>
                    </a:lnTo>
                    <a:lnTo>
                      <a:pt x="2472" y="949"/>
                    </a:lnTo>
                    <a:lnTo>
                      <a:pt x="2461" y="971"/>
                    </a:lnTo>
                    <a:lnTo>
                      <a:pt x="2450" y="995"/>
                    </a:lnTo>
                    <a:lnTo>
                      <a:pt x="2445" y="1006"/>
                    </a:lnTo>
                    <a:lnTo>
                      <a:pt x="2442" y="1018"/>
                    </a:lnTo>
                    <a:lnTo>
                      <a:pt x="2440" y="1029"/>
                    </a:lnTo>
                    <a:lnTo>
                      <a:pt x="2439" y="1040"/>
                    </a:lnTo>
                    <a:lnTo>
                      <a:pt x="2440" y="1049"/>
                    </a:lnTo>
                    <a:lnTo>
                      <a:pt x="2443" y="1059"/>
                    </a:lnTo>
                    <a:lnTo>
                      <a:pt x="2447" y="1070"/>
                    </a:lnTo>
                    <a:lnTo>
                      <a:pt x="2454" y="1081"/>
                    </a:lnTo>
                    <a:lnTo>
                      <a:pt x="2462" y="1092"/>
                    </a:lnTo>
                    <a:lnTo>
                      <a:pt x="2469" y="1101"/>
                    </a:lnTo>
                    <a:lnTo>
                      <a:pt x="2473" y="1104"/>
                    </a:lnTo>
                    <a:lnTo>
                      <a:pt x="2477" y="1107"/>
                    </a:lnTo>
                    <a:lnTo>
                      <a:pt x="2481" y="1108"/>
                    </a:lnTo>
                    <a:lnTo>
                      <a:pt x="2485" y="1109"/>
                    </a:lnTo>
                    <a:lnTo>
                      <a:pt x="2487" y="1114"/>
                    </a:lnTo>
                    <a:lnTo>
                      <a:pt x="2492" y="1121"/>
                    </a:lnTo>
                    <a:lnTo>
                      <a:pt x="2499" y="1128"/>
                    </a:lnTo>
                    <a:lnTo>
                      <a:pt x="2504" y="1133"/>
                    </a:lnTo>
                    <a:lnTo>
                      <a:pt x="2528" y="1113"/>
                    </a:lnTo>
                    <a:lnTo>
                      <a:pt x="2548" y="1091"/>
                    </a:lnTo>
                    <a:lnTo>
                      <a:pt x="2559" y="1080"/>
                    </a:lnTo>
                    <a:lnTo>
                      <a:pt x="2569" y="1068"/>
                    </a:lnTo>
                    <a:lnTo>
                      <a:pt x="2578" y="1057"/>
                    </a:lnTo>
                    <a:lnTo>
                      <a:pt x="2587" y="1043"/>
                    </a:lnTo>
                    <a:lnTo>
                      <a:pt x="2595" y="1031"/>
                    </a:lnTo>
                    <a:lnTo>
                      <a:pt x="2602" y="1017"/>
                    </a:lnTo>
                    <a:lnTo>
                      <a:pt x="2609" y="1003"/>
                    </a:lnTo>
                    <a:lnTo>
                      <a:pt x="2614" y="987"/>
                    </a:lnTo>
                    <a:lnTo>
                      <a:pt x="2619" y="971"/>
                    </a:lnTo>
                    <a:lnTo>
                      <a:pt x="2622" y="955"/>
                    </a:lnTo>
                    <a:lnTo>
                      <a:pt x="2624" y="937"/>
                    </a:lnTo>
                    <a:lnTo>
                      <a:pt x="2624" y="917"/>
                    </a:lnTo>
                    <a:lnTo>
                      <a:pt x="2638" y="917"/>
                    </a:lnTo>
                    <a:lnTo>
                      <a:pt x="2655" y="914"/>
                    </a:lnTo>
                    <a:lnTo>
                      <a:pt x="2672" y="911"/>
                    </a:lnTo>
                    <a:lnTo>
                      <a:pt x="2690" y="906"/>
                    </a:lnTo>
                    <a:lnTo>
                      <a:pt x="2709" y="900"/>
                    </a:lnTo>
                    <a:lnTo>
                      <a:pt x="2727" y="892"/>
                    </a:lnTo>
                    <a:lnTo>
                      <a:pt x="2746" y="884"/>
                    </a:lnTo>
                    <a:lnTo>
                      <a:pt x="2765" y="873"/>
                    </a:lnTo>
                    <a:lnTo>
                      <a:pt x="2782" y="863"/>
                    </a:lnTo>
                    <a:lnTo>
                      <a:pt x="2798" y="852"/>
                    </a:lnTo>
                    <a:lnTo>
                      <a:pt x="2813" y="840"/>
                    </a:lnTo>
                    <a:lnTo>
                      <a:pt x="2825" y="827"/>
                    </a:lnTo>
                    <a:lnTo>
                      <a:pt x="2831" y="819"/>
                    </a:lnTo>
                    <a:lnTo>
                      <a:pt x="2836" y="813"/>
                    </a:lnTo>
                    <a:lnTo>
                      <a:pt x="2839" y="806"/>
                    </a:lnTo>
                    <a:lnTo>
                      <a:pt x="2844" y="799"/>
                    </a:lnTo>
                    <a:lnTo>
                      <a:pt x="2846" y="792"/>
                    </a:lnTo>
                    <a:lnTo>
                      <a:pt x="2848" y="785"/>
                    </a:lnTo>
                    <a:lnTo>
                      <a:pt x="2849" y="777"/>
                    </a:lnTo>
                    <a:lnTo>
                      <a:pt x="2850" y="770"/>
                    </a:lnTo>
                    <a:lnTo>
                      <a:pt x="2849" y="763"/>
                    </a:lnTo>
                    <a:lnTo>
                      <a:pt x="2848" y="757"/>
                    </a:lnTo>
                    <a:lnTo>
                      <a:pt x="2846" y="752"/>
                    </a:lnTo>
                    <a:lnTo>
                      <a:pt x="2843" y="747"/>
                    </a:lnTo>
                    <a:lnTo>
                      <a:pt x="2835" y="738"/>
                    </a:lnTo>
                    <a:lnTo>
                      <a:pt x="2827" y="731"/>
                    </a:lnTo>
                    <a:lnTo>
                      <a:pt x="2819" y="725"/>
                    </a:lnTo>
                    <a:lnTo>
                      <a:pt x="2811" y="718"/>
                    </a:lnTo>
                    <a:lnTo>
                      <a:pt x="2808" y="715"/>
                    </a:lnTo>
                    <a:lnTo>
                      <a:pt x="2805" y="711"/>
                    </a:lnTo>
                    <a:lnTo>
                      <a:pt x="2804" y="706"/>
                    </a:lnTo>
                    <a:lnTo>
                      <a:pt x="2804" y="702"/>
                    </a:lnTo>
                    <a:lnTo>
                      <a:pt x="2804" y="698"/>
                    </a:lnTo>
                    <a:lnTo>
                      <a:pt x="2808" y="694"/>
                    </a:lnTo>
                    <a:lnTo>
                      <a:pt x="2812" y="688"/>
                    </a:lnTo>
                    <a:lnTo>
                      <a:pt x="2819" y="680"/>
                    </a:lnTo>
                    <a:lnTo>
                      <a:pt x="2833" y="664"/>
                    </a:lnTo>
                    <a:lnTo>
                      <a:pt x="2850" y="645"/>
                    </a:lnTo>
                    <a:lnTo>
                      <a:pt x="2882" y="612"/>
                    </a:lnTo>
                    <a:lnTo>
                      <a:pt x="2896" y="597"/>
                    </a:lnTo>
                    <a:lnTo>
                      <a:pt x="2894" y="593"/>
                    </a:lnTo>
                    <a:lnTo>
                      <a:pt x="2892" y="589"/>
                    </a:lnTo>
                    <a:lnTo>
                      <a:pt x="2891" y="585"/>
                    </a:lnTo>
                    <a:lnTo>
                      <a:pt x="2890" y="581"/>
                    </a:lnTo>
                    <a:lnTo>
                      <a:pt x="2890" y="573"/>
                    </a:lnTo>
                    <a:lnTo>
                      <a:pt x="2892" y="566"/>
                    </a:lnTo>
                    <a:lnTo>
                      <a:pt x="2896" y="558"/>
                    </a:lnTo>
                    <a:lnTo>
                      <a:pt x="2902" y="551"/>
                    </a:lnTo>
                    <a:lnTo>
                      <a:pt x="2909" y="544"/>
                    </a:lnTo>
                    <a:lnTo>
                      <a:pt x="2916" y="535"/>
                    </a:lnTo>
                    <a:lnTo>
                      <a:pt x="2934" y="520"/>
                    </a:lnTo>
                    <a:lnTo>
                      <a:pt x="2951" y="505"/>
                    </a:lnTo>
                    <a:lnTo>
                      <a:pt x="2959" y="498"/>
                    </a:lnTo>
                    <a:lnTo>
                      <a:pt x="2966" y="490"/>
                    </a:lnTo>
                    <a:lnTo>
                      <a:pt x="2972" y="482"/>
                    </a:lnTo>
                    <a:lnTo>
                      <a:pt x="2977" y="474"/>
                    </a:lnTo>
                    <a:lnTo>
                      <a:pt x="3149" y="480"/>
                    </a:lnTo>
                    <a:lnTo>
                      <a:pt x="3149" y="485"/>
                    </a:lnTo>
                    <a:lnTo>
                      <a:pt x="3150" y="490"/>
                    </a:lnTo>
                    <a:lnTo>
                      <a:pt x="3151" y="494"/>
                    </a:lnTo>
                    <a:lnTo>
                      <a:pt x="3153" y="497"/>
                    </a:lnTo>
                    <a:lnTo>
                      <a:pt x="3156" y="500"/>
                    </a:lnTo>
                    <a:lnTo>
                      <a:pt x="3159" y="502"/>
                    </a:lnTo>
                    <a:lnTo>
                      <a:pt x="3161" y="503"/>
                    </a:lnTo>
                    <a:lnTo>
                      <a:pt x="3165" y="504"/>
                    </a:lnTo>
                    <a:lnTo>
                      <a:pt x="3180" y="505"/>
                    </a:lnTo>
                    <a:lnTo>
                      <a:pt x="3196" y="505"/>
                    </a:lnTo>
                    <a:lnTo>
                      <a:pt x="3201" y="509"/>
                    </a:lnTo>
                    <a:lnTo>
                      <a:pt x="3204" y="514"/>
                    </a:lnTo>
                    <a:lnTo>
                      <a:pt x="3208" y="521"/>
                    </a:lnTo>
                    <a:lnTo>
                      <a:pt x="3210" y="529"/>
                    </a:lnTo>
                    <a:lnTo>
                      <a:pt x="3215" y="545"/>
                    </a:lnTo>
                    <a:lnTo>
                      <a:pt x="3216" y="554"/>
                    </a:lnTo>
                    <a:lnTo>
                      <a:pt x="3221" y="556"/>
                    </a:lnTo>
                    <a:lnTo>
                      <a:pt x="3229" y="557"/>
                    </a:lnTo>
                    <a:lnTo>
                      <a:pt x="3238" y="557"/>
                    </a:lnTo>
                    <a:lnTo>
                      <a:pt x="3247" y="557"/>
                    </a:lnTo>
                    <a:lnTo>
                      <a:pt x="3268" y="555"/>
                    </a:lnTo>
                    <a:lnTo>
                      <a:pt x="3288" y="554"/>
                    </a:lnTo>
                    <a:lnTo>
                      <a:pt x="3292" y="566"/>
                    </a:lnTo>
                    <a:lnTo>
                      <a:pt x="3295" y="572"/>
                    </a:lnTo>
                    <a:lnTo>
                      <a:pt x="3288" y="579"/>
                    </a:lnTo>
                    <a:lnTo>
                      <a:pt x="3282" y="585"/>
                    </a:lnTo>
                    <a:lnTo>
                      <a:pt x="3276" y="592"/>
                    </a:lnTo>
                    <a:lnTo>
                      <a:pt x="3272" y="601"/>
                    </a:lnTo>
                    <a:lnTo>
                      <a:pt x="3264" y="616"/>
                    </a:lnTo>
                    <a:lnTo>
                      <a:pt x="3257" y="632"/>
                    </a:lnTo>
                    <a:lnTo>
                      <a:pt x="3251" y="646"/>
                    </a:lnTo>
                    <a:lnTo>
                      <a:pt x="3245" y="660"/>
                    </a:lnTo>
                    <a:lnTo>
                      <a:pt x="3241" y="666"/>
                    </a:lnTo>
                    <a:lnTo>
                      <a:pt x="3238" y="671"/>
                    </a:lnTo>
                    <a:lnTo>
                      <a:pt x="3234" y="675"/>
                    </a:lnTo>
                    <a:lnTo>
                      <a:pt x="3229" y="677"/>
                    </a:lnTo>
                    <a:lnTo>
                      <a:pt x="3238" y="677"/>
                    </a:lnTo>
                    <a:lnTo>
                      <a:pt x="3246" y="677"/>
                    </a:lnTo>
                    <a:lnTo>
                      <a:pt x="3253" y="677"/>
                    </a:lnTo>
                    <a:lnTo>
                      <a:pt x="3262" y="677"/>
                    </a:lnTo>
                    <a:lnTo>
                      <a:pt x="3262" y="683"/>
                    </a:lnTo>
                    <a:lnTo>
                      <a:pt x="3261" y="688"/>
                    </a:lnTo>
                    <a:lnTo>
                      <a:pt x="3259" y="693"/>
                    </a:lnTo>
                    <a:lnTo>
                      <a:pt x="3257" y="697"/>
                    </a:lnTo>
                    <a:lnTo>
                      <a:pt x="3251" y="705"/>
                    </a:lnTo>
                    <a:lnTo>
                      <a:pt x="3245" y="714"/>
                    </a:lnTo>
                    <a:lnTo>
                      <a:pt x="3238" y="721"/>
                    </a:lnTo>
                    <a:lnTo>
                      <a:pt x="3231" y="729"/>
                    </a:lnTo>
                    <a:lnTo>
                      <a:pt x="3226" y="736"/>
                    </a:lnTo>
                    <a:lnTo>
                      <a:pt x="3223" y="745"/>
                    </a:lnTo>
                    <a:lnTo>
                      <a:pt x="3229" y="742"/>
                    </a:lnTo>
                    <a:lnTo>
                      <a:pt x="3237" y="738"/>
                    </a:lnTo>
                    <a:lnTo>
                      <a:pt x="3245" y="734"/>
                    </a:lnTo>
                    <a:lnTo>
                      <a:pt x="3251" y="730"/>
                    </a:lnTo>
                    <a:lnTo>
                      <a:pt x="3264" y="721"/>
                    </a:lnTo>
                    <a:lnTo>
                      <a:pt x="3275" y="715"/>
                    </a:lnTo>
                    <a:lnTo>
                      <a:pt x="3280" y="717"/>
                    </a:lnTo>
                    <a:lnTo>
                      <a:pt x="3284" y="718"/>
                    </a:lnTo>
                    <a:lnTo>
                      <a:pt x="3290" y="718"/>
                    </a:lnTo>
                    <a:lnTo>
                      <a:pt x="3295" y="718"/>
                    </a:lnTo>
                    <a:lnTo>
                      <a:pt x="3307" y="715"/>
                    </a:lnTo>
                    <a:lnTo>
                      <a:pt x="3320" y="709"/>
                    </a:lnTo>
                    <a:lnTo>
                      <a:pt x="3336" y="703"/>
                    </a:lnTo>
                    <a:lnTo>
                      <a:pt x="3351" y="695"/>
                    </a:lnTo>
                    <a:lnTo>
                      <a:pt x="3368" y="685"/>
                    </a:lnTo>
                    <a:lnTo>
                      <a:pt x="3384" y="675"/>
                    </a:lnTo>
                    <a:lnTo>
                      <a:pt x="3417" y="653"/>
                    </a:lnTo>
                    <a:lnTo>
                      <a:pt x="3447" y="632"/>
                    </a:lnTo>
                    <a:lnTo>
                      <a:pt x="3471" y="615"/>
                    </a:lnTo>
                    <a:lnTo>
                      <a:pt x="3488" y="604"/>
                    </a:lnTo>
                    <a:lnTo>
                      <a:pt x="3492" y="613"/>
                    </a:lnTo>
                    <a:lnTo>
                      <a:pt x="3495" y="621"/>
                    </a:lnTo>
                    <a:lnTo>
                      <a:pt x="3496" y="629"/>
                    </a:lnTo>
                    <a:lnTo>
                      <a:pt x="3496" y="637"/>
                    </a:lnTo>
                    <a:lnTo>
                      <a:pt x="3496" y="653"/>
                    </a:lnTo>
                    <a:lnTo>
                      <a:pt x="3495" y="671"/>
                    </a:lnTo>
                    <a:lnTo>
                      <a:pt x="3521" y="671"/>
                    </a:lnTo>
                    <a:lnTo>
                      <a:pt x="3522" y="680"/>
                    </a:lnTo>
                    <a:lnTo>
                      <a:pt x="3523" y="687"/>
                    </a:lnTo>
                    <a:lnTo>
                      <a:pt x="3521" y="692"/>
                    </a:lnTo>
                    <a:lnTo>
                      <a:pt x="3519" y="698"/>
                    </a:lnTo>
                    <a:lnTo>
                      <a:pt x="3514" y="708"/>
                    </a:lnTo>
                    <a:lnTo>
                      <a:pt x="3508" y="721"/>
                    </a:lnTo>
                    <a:lnTo>
                      <a:pt x="3521" y="721"/>
                    </a:lnTo>
                    <a:lnTo>
                      <a:pt x="3534" y="721"/>
                    </a:lnTo>
                    <a:lnTo>
                      <a:pt x="3534" y="732"/>
                    </a:lnTo>
                    <a:lnTo>
                      <a:pt x="3534" y="741"/>
                    </a:lnTo>
                    <a:lnTo>
                      <a:pt x="3534" y="749"/>
                    </a:lnTo>
                    <a:lnTo>
                      <a:pt x="3534" y="757"/>
                    </a:lnTo>
                    <a:lnTo>
                      <a:pt x="3536" y="762"/>
                    </a:lnTo>
                    <a:lnTo>
                      <a:pt x="3540" y="769"/>
                    </a:lnTo>
                    <a:lnTo>
                      <a:pt x="3542" y="772"/>
                    </a:lnTo>
                    <a:lnTo>
                      <a:pt x="3545" y="774"/>
                    </a:lnTo>
                    <a:lnTo>
                      <a:pt x="3550" y="776"/>
                    </a:lnTo>
                    <a:lnTo>
                      <a:pt x="3554" y="776"/>
                    </a:lnTo>
                    <a:lnTo>
                      <a:pt x="3551" y="786"/>
                    </a:lnTo>
                    <a:lnTo>
                      <a:pt x="3548" y="794"/>
                    </a:lnTo>
                    <a:lnTo>
                      <a:pt x="3542" y="800"/>
                    </a:lnTo>
                    <a:lnTo>
                      <a:pt x="3537" y="804"/>
                    </a:lnTo>
                    <a:lnTo>
                      <a:pt x="3526" y="811"/>
                    </a:lnTo>
                    <a:lnTo>
                      <a:pt x="3515" y="818"/>
                    </a:lnTo>
                    <a:lnTo>
                      <a:pt x="3522" y="828"/>
                    </a:lnTo>
                    <a:lnTo>
                      <a:pt x="3530" y="836"/>
                    </a:lnTo>
                    <a:lnTo>
                      <a:pt x="3539" y="844"/>
                    </a:lnTo>
                    <a:lnTo>
                      <a:pt x="3546" y="851"/>
                    </a:lnTo>
                    <a:lnTo>
                      <a:pt x="3556" y="857"/>
                    </a:lnTo>
                    <a:lnTo>
                      <a:pt x="3565" y="863"/>
                    </a:lnTo>
                    <a:lnTo>
                      <a:pt x="3575" y="869"/>
                    </a:lnTo>
                    <a:lnTo>
                      <a:pt x="3584" y="874"/>
                    </a:lnTo>
                    <a:lnTo>
                      <a:pt x="3605" y="885"/>
                    </a:lnTo>
                    <a:lnTo>
                      <a:pt x="3627" y="894"/>
                    </a:lnTo>
                    <a:lnTo>
                      <a:pt x="3650" y="902"/>
                    </a:lnTo>
                    <a:lnTo>
                      <a:pt x="3674" y="911"/>
                    </a:lnTo>
                    <a:lnTo>
                      <a:pt x="3668" y="918"/>
                    </a:lnTo>
                    <a:lnTo>
                      <a:pt x="3662" y="924"/>
                    </a:lnTo>
                    <a:lnTo>
                      <a:pt x="3652" y="930"/>
                    </a:lnTo>
                    <a:lnTo>
                      <a:pt x="3640" y="936"/>
                    </a:lnTo>
                    <a:lnTo>
                      <a:pt x="3615" y="946"/>
                    </a:lnTo>
                    <a:lnTo>
                      <a:pt x="3588" y="954"/>
                    </a:lnTo>
                    <a:lnTo>
                      <a:pt x="3563" y="961"/>
                    </a:lnTo>
                    <a:lnTo>
                      <a:pt x="3545" y="966"/>
                    </a:lnTo>
                    <a:lnTo>
                      <a:pt x="3540" y="968"/>
                    </a:lnTo>
                    <a:lnTo>
                      <a:pt x="3537" y="970"/>
                    </a:lnTo>
                    <a:lnTo>
                      <a:pt x="3537" y="971"/>
                    </a:lnTo>
                    <a:lnTo>
                      <a:pt x="3537" y="972"/>
                    </a:lnTo>
                    <a:lnTo>
                      <a:pt x="3539" y="972"/>
                    </a:lnTo>
                    <a:lnTo>
                      <a:pt x="3541" y="973"/>
                    </a:lnTo>
                    <a:lnTo>
                      <a:pt x="3548" y="974"/>
                    </a:lnTo>
                    <a:lnTo>
                      <a:pt x="3554" y="974"/>
                    </a:lnTo>
                    <a:lnTo>
                      <a:pt x="3560" y="974"/>
                    </a:lnTo>
                    <a:lnTo>
                      <a:pt x="3564" y="972"/>
                    </a:lnTo>
                    <a:lnTo>
                      <a:pt x="3570" y="970"/>
                    </a:lnTo>
                    <a:lnTo>
                      <a:pt x="3575" y="969"/>
                    </a:lnTo>
                    <a:lnTo>
                      <a:pt x="3581" y="967"/>
                    </a:lnTo>
                    <a:lnTo>
                      <a:pt x="3588" y="967"/>
                    </a:lnTo>
                    <a:lnTo>
                      <a:pt x="3598" y="965"/>
                    </a:lnTo>
                    <a:lnTo>
                      <a:pt x="3616" y="961"/>
                    </a:lnTo>
                    <a:lnTo>
                      <a:pt x="3637" y="957"/>
                    </a:lnTo>
                    <a:lnTo>
                      <a:pt x="3654" y="955"/>
                    </a:lnTo>
                    <a:lnTo>
                      <a:pt x="3673" y="955"/>
                    </a:lnTo>
                    <a:lnTo>
                      <a:pt x="3686" y="956"/>
                    </a:lnTo>
                    <a:lnTo>
                      <a:pt x="3695" y="958"/>
                    </a:lnTo>
                    <a:lnTo>
                      <a:pt x="3701" y="959"/>
                    </a:lnTo>
                    <a:lnTo>
                      <a:pt x="3707" y="960"/>
                    </a:lnTo>
                    <a:lnTo>
                      <a:pt x="3713" y="960"/>
                    </a:lnTo>
                    <a:lnTo>
                      <a:pt x="3721" y="958"/>
                    </a:lnTo>
                    <a:lnTo>
                      <a:pt x="3734" y="955"/>
                    </a:lnTo>
                    <a:lnTo>
                      <a:pt x="3734" y="964"/>
                    </a:lnTo>
                    <a:lnTo>
                      <a:pt x="3734" y="972"/>
                    </a:lnTo>
                    <a:lnTo>
                      <a:pt x="3734" y="979"/>
                    </a:lnTo>
                    <a:lnTo>
                      <a:pt x="3734" y="985"/>
                    </a:lnTo>
                    <a:lnTo>
                      <a:pt x="3734" y="998"/>
                    </a:lnTo>
                    <a:lnTo>
                      <a:pt x="3733" y="1007"/>
                    </a:lnTo>
                    <a:lnTo>
                      <a:pt x="3732" y="1014"/>
                    </a:lnTo>
                    <a:lnTo>
                      <a:pt x="3729" y="1018"/>
                    </a:lnTo>
                    <a:lnTo>
                      <a:pt x="3724" y="1022"/>
                    </a:lnTo>
                    <a:lnTo>
                      <a:pt x="3717" y="1024"/>
                    </a:lnTo>
                    <a:lnTo>
                      <a:pt x="3707" y="1026"/>
                    </a:lnTo>
                    <a:lnTo>
                      <a:pt x="3694" y="1028"/>
                    </a:lnTo>
                    <a:lnTo>
                      <a:pt x="3699" y="1037"/>
                    </a:lnTo>
                    <a:lnTo>
                      <a:pt x="3704" y="1047"/>
                    </a:lnTo>
                    <a:lnTo>
                      <a:pt x="3709" y="1054"/>
                    </a:lnTo>
                    <a:lnTo>
                      <a:pt x="3713" y="1059"/>
                    </a:lnTo>
                    <a:lnTo>
                      <a:pt x="3706" y="1068"/>
                    </a:lnTo>
                    <a:lnTo>
                      <a:pt x="3697" y="1076"/>
                    </a:lnTo>
                    <a:lnTo>
                      <a:pt x="3687" y="1083"/>
                    </a:lnTo>
                    <a:lnTo>
                      <a:pt x="3676" y="1087"/>
                    </a:lnTo>
                    <a:lnTo>
                      <a:pt x="3672" y="1089"/>
                    </a:lnTo>
                    <a:lnTo>
                      <a:pt x="3666" y="1090"/>
                    </a:lnTo>
                    <a:lnTo>
                      <a:pt x="3661" y="1091"/>
                    </a:lnTo>
                    <a:lnTo>
                      <a:pt x="3655" y="1091"/>
                    </a:lnTo>
                    <a:lnTo>
                      <a:pt x="3650" y="1090"/>
                    </a:lnTo>
                    <a:lnTo>
                      <a:pt x="3644" y="1089"/>
                    </a:lnTo>
                    <a:lnTo>
                      <a:pt x="3639" y="1087"/>
                    </a:lnTo>
                    <a:lnTo>
                      <a:pt x="3634" y="1084"/>
                    </a:lnTo>
                    <a:lnTo>
                      <a:pt x="3627" y="1089"/>
                    </a:lnTo>
                    <a:lnTo>
                      <a:pt x="3617" y="1093"/>
                    </a:lnTo>
                    <a:lnTo>
                      <a:pt x="3608" y="1096"/>
                    </a:lnTo>
                    <a:lnTo>
                      <a:pt x="3598" y="1099"/>
                    </a:lnTo>
                    <a:lnTo>
                      <a:pt x="3577" y="1104"/>
                    </a:lnTo>
                    <a:lnTo>
                      <a:pt x="3556" y="1108"/>
                    </a:lnTo>
                    <a:lnTo>
                      <a:pt x="3546" y="1110"/>
                    </a:lnTo>
                    <a:lnTo>
                      <a:pt x="3538" y="1113"/>
                    </a:lnTo>
                    <a:lnTo>
                      <a:pt x="3529" y="1116"/>
                    </a:lnTo>
                    <a:lnTo>
                      <a:pt x="3522" y="1120"/>
                    </a:lnTo>
                    <a:lnTo>
                      <a:pt x="3516" y="1124"/>
                    </a:lnTo>
                    <a:lnTo>
                      <a:pt x="3511" y="1130"/>
                    </a:lnTo>
                    <a:lnTo>
                      <a:pt x="3509" y="1137"/>
                    </a:lnTo>
                    <a:lnTo>
                      <a:pt x="3508" y="1145"/>
                    </a:lnTo>
                    <a:lnTo>
                      <a:pt x="3501" y="1145"/>
                    </a:lnTo>
                    <a:lnTo>
                      <a:pt x="3489" y="1159"/>
                    </a:lnTo>
                    <a:lnTo>
                      <a:pt x="3480" y="1168"/>
                    </a:lnTo>
                    <a:lnTo>
                      <a:pt x="3474" y="1172"/>
                    </a:lnTo>
                    <a:lnTo>
                      <a:pt x="3467" y="1174"/>
                    </a:lnTo>
                    <a:lnTo>
                      <a:pt x="3459" y="1176"/>
                    </a:lnTo>
                    <a:lnTo>
                      <a:pt x="3448" y="1176"/>
                    </a:lnTo>
                    <a:lnTo>
                      <a:pt x="3336" y="1164"/>
                    </a:lnTo>
                    <a:lnTo>
                      <a:pt x="3301" y="1164"/>
                    </a:lnTo>
                    <a:lnTo>
                      <a:pt x="3264" y="1164"/>
                    </a:lnTo>
                    <a:lnTo>
                      <a:pt x="3228" y="1164"/>
                    </a:lnTo>
                    <a:lnTo>
                      <a:pt x="3189" y="1164"/>
                    </a:lnTo>
                    <a:lnTo>
                      <a:pt x="3169" y="1165"/>
                    </a:lnTo>
                    <a:lnTo>
                      <a:pt x="3151" y="1168"/>
                    </a:lnTo>
                    <a:lnTo>
                      <a:pt x="3135" y="1172"/>
                    </a:lnTo>
                    <a:lnTo>
                      <a:pt x="3119" y="1177"/>
                    </a:lnTo>
                    <a:lnTo>
                      <a:pt x="3105" y="1183"/>
                    </a:lnTo>
                    <a:lnTo>
                      <a:pt x="3093" y="1191"/>
                    </a:lnTo>
                    <a:lnTo>
                      <a:pt x="3081" y="1198"/>
                    </a:lnTo>
                    <a:lnTo>
                      <a:pt x="3070" y="1207"/>
                    </a:lnTo>
                    <a:lnTo>
                      <a:pt x="3047" y="1225"/>
                    </a:lnTo>
                    <a:lnTo>
                      <a:pt x="3025" y="1242"/>
                    </a:lnTo>
                    <a:lnTo>
                      <a:pt x="3013" y="1250"/>
                    </a:lnTo>
                    <a:lnTo>
                      <a:pt x="3000" y="1257"/>
                    </a:lnTo>
                    <a:lnTo>
                      <a:pt x="2985" y="1263"/>
                    </a:lnTo>
                    <a:lnTo>
                      <a:pt x="2970" y="1269"/>
                    </a:lnTo>
                    <a:lnTo>
                      <a:pt x="2959" y="1272"/>
                    </a:lnTo>
                    <a:lnTo>
                      <a:pt x="2948" y="1276"/>
                    </a:lnTo>
                    <a:lnTo>
                      <a:pt x="2936" y="1281"/>
                    </a:lnTo>
                    <a:lnTo>
                      <a:pt x="2924" y="1286"/>
                    </a:lnTo>
                    <a:lnTo>
                      <a:pt x="2912" y="1293"/>
                    </a:lnTo>
                    <a:lnTo>
                      <a:pt x="2900" y="1300"/>
                    </a:lnTo>
                    <a:lnTo>
                      <a:pt x="2887" y="1308"/>
                    </a:lnTo>
                    <a:lnTo>
                      <a:pt x="2876" y="1316"/>
                    </a:lnTo>
                    <a:lnTo>
                      <a:pt x="2864" y="1326"/>
                    </a:lnTo>
                    <a:lnTo>
                      <a:pt x="2853" y="1335"/>
                    </a:lnTo>
                    <a:lnTo>
                      <a:pt x="2843" y="1344"/>
                    </a:lnTo>
                    <a:lnTo>
                      <a:pt x="2834" y="1354"/>
                    </a:lnTo>
                    <a:lnTo>
                      <a:pt x="2825" y="1363"/>
                    </a:lnTo>
                    <a:lnTo>
                      <a:pt x="2819" y="1373"/>
                    </a:lnTo>
                    <a:lnTo>
                      <a:pt x="2814" y="1383"/>
                    </a:lnTo>
                    <a:lnTo>
                      <a:pt x="2811" y="1392"/>
                    </a:lnTo>
                    <a:lnTo>
                      <a:pt x="2819" y="1392"/>
                    </a:lnTo>
                    <a:lnTo>
                      <a:pt x="2825" y="1391"/>
                    </a:lnTo>
                    <a:lnTo>
                      <a:pt x="2832" y="1389"/>
                    </a:lnTo>
                    <a:lnTo>
                      <a:pt x="2836" y="1387"/>
                    </a:lnTo>
                    <a:lnTo>
                      <a:pt x="2840" y="1385"/>
                    </a:lnTo>
                    <a:lnTo>
                      <a:pt x="2845" y="1382"/>
                    </a:lnTo>
                    <a:lnTo>
                      <a:pt x="2847" y="1379"/>
                    </a:lnTo>
                    <a:lnTo>
                      <a:pt x="2850" y="1375"/>
                    </a:lnTo>
                    <a:lnTo>
                      <a:pt x="2855" y="1369"/>
                    </a:lnTo>
                    <a:lnTo>
                      <a:pt x="2859" y="1363"/>
                    </a:lnTo>
                    <a:lnTo>
                      <a:pt x="2861" y="1361"/>
                    </a:lnTo>
                    <a:lnTo>
                      <a:pt x="2864" y="1358"/>
                    </a:lnTo>
                    <a:lnTo>
                      <a:pt x="2867" y="1356"/>
                    </a:lnTo>
                    <a:lnTo>
                      <a:pt x="2870" y="1355"/>
                    </a:lnTo>
                    <a:lnTo>
                      <a:pt x="2888" y="1346"/>
                    </a:lnTo>
                    <a:lnTo>
                      <a:pt x="2905" y="1337"/>
                    </a:lnTo>
                    <a:lnTo>
                      <a:pt x="2923" y="1327"/>
                    </a:lnTo>
                    <a:lnTo>
                      <a:pt x="2940" y="1315"/>
                    </a:lnTo>
                    <a:lnTo>
                      <a:pt x="2976" y="1293"/>
                    </a:lnTo>
                    <a:lnTo>
                      <a:pt x="3012" y="1271"/>
                    </a:lnTo>
                    <a:lnTo>
                      <a:pt x="3029" y="1260"/>
                    </a:lnTo>
                    <a:lnTo>
                      <a:pt x="3048" y="1251"/>
                    </a:lnTo>
                    <a:lnTo>
                      <a:pt x="3067" y="1242"/>
                    </a:lnTo>
                    <a:lnTo>
                      <a:pt x="3085" y="1235"/>
                    </a:lnTo>
                    <a:lnTo>
                      <a:pt x="3104" y="1228"/>
                    </a:lnTo>
                    <a:lnTo>
                      <a:pt x="3123" y="1224"/>
                    </a:lnTo>
                    <a:lnTo>
                      <a:pt x="3142" y="1221"/>
                    </a:lnTo>
                    <a:lnTo>
                      <a:pt x="3162" y="1220"/>
                    </a:lnTo>
                    <a:lnTo>
                      <a:pt x="3171" y="1220"/>
                    </a:lnTo>
                    <a:lnTo>
                      <a:pt x="3179" y="1222"/>
                    </a:lnTo>
                    <a:lnTo>
                      <a:pt x="3189" y="1225"/>
                    </a:lnTo>
                    <a:lnTo>
                      <a:pt x="3196" y="1229"/>
                    </a:lnTo>
                    <a:lnTo>
                      <a:pt x="3204" y="1234"/>
                    </a:lnTo>
                    <a:lnTo>
                      <a:pt x="3210" y="1240"/>
                    </a:lnTo>
                    <a:lnTo>
                      <a:pt x="3213" y="1244"/>
                    </a:lnTo>
                    <a:lnTo>
                      <a:pt x="3214" y="1248"/>
                    </a:lnTo>
                    <a:lnTo>
                      <a:pt x="3215" y="1252"/>
                    </a:lnTo>
                    <a:lnTo>
                      <a:pt x="3216" y="1256"/>
                    </a:lnTo>
                    <a:lnTo>
                      <a:pt x="3215" y="1265"/>
                    </a:lnTo>
                    <a:lnTo>
                      <a:pt x="3213" y="1274"/>
                    </a:lnTo>
                    <a:lnTo>
                      <a:pt x="3208" y="1281"/>
                    </a:lnTo>
                    <a:lnTo>
                      <a:pt x="3203" y="1287"/>
                    </a:lnTo>
                    <a:lnTo>
                      <a:pt x="3197" y="1293"/>
                    </a:lnTo>
                    <a:lnTo>
                      <a:pt x="3191" y="1296"/>
                    </a:lnTo>
                    <a:lnTo>
                      <a:pt x="3183" y="1299"/>
                    </a:lnTo>
                    <a:lnTo>
                      <a:pt x="3175" y="1299"/>
                    </a:lnTo>
                    <a:lnTo>
                      <a:pt x="3165" y="1299"/>
                    </a:lnTo>
                    <a:lnTo>
                      <a:pt x="3156" y="1298"/>
                    </a:lnTo>
                    <a:lnTo>
                      <a:pt x="3146" y="1296"/>
                    </a:lnTo>
                    <a:lnTo>
                      <a:pt x="3136" y="1293"/>
                    </a:lnTo>
                    <a:lnTo>
                      <a:pt x="3126" y="1291"/>
                    </a:lnTo>
                    <a:lnTo>
                      <a:pt x="3116" y="1289"/>
                    </a:lnTo>
                    <a:lnTo>
                      <a:pt x="3106" y="1288"/>
                    </a:lnTo>
                    <a:lnTo>
                      <a:pt x="3096" y="1287"/>
                    </a:lnTo>
                    <a:lnTo>
                      <a:pt x="3089" y="1288"/>
                    </a:lnTo>
                    <a:lnTo>
                      <a:pt x="3082" y="1289"/>
                    </a:lnTo>
                    <a:lnTo>
                      <a:pt x="3077" y="1290"/>
                    </a:lnTo>
                    <a:lnTo>
                      <a:pt x="3072" y="1292"/>
                    </a:lnTo>
                    <a:lnTo>
                      <a:pt x="3068" y="1294"/>
                    </a:lnTo>
                    <a:lnTo>
                      <a:pt x="3066" y="1298"/>
                    </a:lnTo>
                    <a:lnTo>
                      <a:pt x="3063" y="1301"/>
                    </a:lnTo>
                    <a:lnTo>
                      <a:pt x="3063" y="1306"/>
                    </a:lnTo>
                    <a:lnTo>
                      <a:pt x="3129" y="1331"/>
                    </a:lnTo>
                    <a:lnTo>
                      <a:pt x="3140" y="1329"/>
                    </a:lnTo>
                    <a:lnTo>
                      <a:pt x="3152" y="1325"/>
                    </a:lnTo>
                    <a:lnTo>
                      <a:pt x="3159" y="1324"/>
                    </a:lnTo>
                    <a:lnTo>
                      <a:pt x="3164" y="1323"/>
                    </a:lnTo>
                    <a:lnTo>
                      <a:pt x="3171" y="1323"/>
                    </a:lnTo>
                    <a:lnTo>
                      <a:pt x="3175" y="1325"/>
                    </a:lnTo>
                    <a:lnTo>
                      <a:pt x="3170" y="1333"/>
                    </a:lnTo>
                    <a:lnTo>
                      <a:pt x="3164" y="1340"/>
                    </a:lnTo>
                    <a:lnTo>
                      <a:pt x="3158" y="1346"/>
                    </a:lnTo>
                    <a:lnTo>
                      <a:pt x="3151" y="1351"/>
                    </a:lnTo>
                    <a:lnTo>
                      <a:pt x="3145" y="1356"/>
                    </a:lnTo>
                    <a:lnTo>
                      <a:pt x="3140" y="1361"/>
                    </a:lnTo>
                    <a:lnTo>
                      <a:pt x="3138" y="1364"/>
                    </a:lnTo>
                    <a:lnTo>
                      <a:pt x="3137" y="1367"/>
                    </a:lnTo>
                    <a:lnTo>
                      <a:pt x="3136" y="1370"/>
                    </a:lnTo>
                    <a:lnTo>
                      <a:pt x="3136" y="1373"/>
                    </a:lnTo>
                    <a:lnTo>
                      <a:pt x="3136" y="1380"/>
                    </a:lnTo>
                    <a:lnTo>
                      <a:pt x="3137" y="1386"/>
                    </a:lnTo>
                    <a:lnTo>
                      <a:pt x="3138" y="1391"/>
                    </a:lnTo>
                    <a:lnTo>
                      <a:pt x="3140" y="1396"/>
                    </a:lnTo>
                    <a:lnTo>
                      <a:pt x="3144" y="1401"/>
                    </a:lnTo>
                    <a:lnTo>
                      <a:pt x="3146" y="1405"/>
                    </a:lnTo>
                    <a:lnTo>
                      <a:pt x="3149" y="1410"/>
                    </a:lnTo>
                    <a:lnTo>
                      <a:pt x="3153" y="1413"/>
                    </a:lnTo>
                    <a:lnTo>
                      <a:pt x="3162" y="1420"/>
                    </a:lnTo>
                    <a:lnTo>
                      <a:pt x="3173" y="1426"/>
                    </a:lnTo>
                    <a:lnTo>
                      <a:pt x="3184" y="1431"/>
                    </a:lnTo>
                    <a:lnTo>
                      <a:pt x="3196" y="1436"/>
                    </a:lnTo>
                    <a:lnTo>
                      <a:pt x="3209" y="1439"/>
                    </a:lnTo>
                    <a:lnTo>
                      <a:pt x="3224" y="1441"/>
                    </a:lnTo>
                    <a:lnTo>
                      <a:pt x="3237" y="1442"/>
                    </a:lnTo>
                    <a:lnTo>
                      <a:pt x="3251" y="1443"/>
                    </a:lnTo>
                    <a:lnTo>
                      <a:pt x="3277" y="1443"/>
                    </a:lnTo>
                    <a:lnTo>
                      <a:pt x="3302" y="1442"/>
                    </a:lnTo>
                    <a:lnTo>
                      <a:pt x="3302" y="1466"/>
                    </a:lnTo>
                    <a:lnTo>
                      <a:pt x="3292" y="1469"/>
                    </a:lnTo>
                    <a:lnTo>
                      <a:pt x="3283" y="1471"/>
                    </a:lnTo>
                    <a:lnTo>
                      <a:pt x="3274" y="1472"/>
                    </a:lnTo>
                    <a:lnTo>
                      <a:pt x="3265" y="1472"/>
                    </a:lnTo>
                    <a:lnTo>
                      <a:pt x="3257" y="1472"/>
                    </a:lnTo>
                    <a:lnTo>
                      <a:pt x="3248" y="1473"/>
                    </a:lnTo>
                    <a:lnTo>
                      <a:pt x="3239" y="1474"/>
                    </a:lnTo>
                    <a:lnTo>
                      <a:pt x="3229" y="1478"/>
                    </a:lnTo>
                    <a:lnTo>
                      <a:pt x="3213" y="1485"/>
                    </a:lnTo>
                    <a:lnTo>
                      <a:pt x="3198" y="1494"/>
                    </a:lnTo>
                    <a:lnTo>
                      <a:pt x="3184" y="1502"/>
                    </a:lnTo>
                    <a:lnTo>
                      <a:pt x="3172" y="1510"/>
                    </a:lnTo>
                    <a:lnTo>
                      <a:pt x="3158" y="1519"/>
                    </a:lnTo>
                    <a:lnTo>
                      <a:pt x="3144" y="1527"/>
                    </a:lnTo>
                    <a:lnTo>
                      <a:pt x="3128" y="1536"/>
                    </a:lnTo>
                    <a:lnTo>
                      <a:pt x="3109" y="1546"/>
                    </a:lnTo>
                    <a:lnTo>
                      <a:pt x="3099" y="1550"/>
                    </a:lnTo>
                    <a:lnTo>
                      <a:pt x="3088" y="1553"/>
                    </a:lnTo>
                    <a:lnTo>
                      <a:pt x="3077" y="1555"/>
                    </a:lnTo>
                    <a:lnTo>
                      <a:pt x="3066" y="1556"/>
                    </a:lnTo>
                    <a:lnTo>
                      <a:pt x="3056" y="1558"/>
                    </a:lnTo>
                    <a:lnTo>
                      <a:pt x="3047" y="1561"/>
                    </a:lnTo>
                    <a:lnTo>
                      <a:pt x="3044" y="1563"/>
                    </a:lnTo>
                    <a:lnTo>
                      <a:pt x="3040" y="1565"/>
                    </a:lnTo>
                    <a:lnTo>
                      <a:pt x="3038" y="1568"/>
                    </a:lnTo>
                    <a:lnTo>
                      <a:pt x="3036" y="1571"/>
                    </a:lnTo>
                    <a:lnTo>
                      <a:pt x="3026" y="1567"/>
                    </a:lnTo>
                    <a:lnTo>
                      <a:pt x="3018" y="1564"/>
                    </a:lnTo>
                    <a:lnTo>
                      <a:pt x="3015" y="1562"/>
                    </a:lnTo>
                    <a:lnTo>
                      <a:pt x="3012" y="1560"/>
                    </a:lnTo>
                    <a:lnTo>
                      <a:pt x="3011" y="1557"/>
                    </a:lnTo>
                    <a:lnTo>
                      <a:pt x="3010" y="1553"/>
                    </a:lnTo>
                    <a:lnTo>
                      <a:pt x="3010" y="1546"/>
                    </a:lnTo>
                    <a:lnTo>
                      <a:pt x="3012" y="1539"/>
                    </a:lnTo>
                    <a:lnTo>
                      <a:pt x="3013" y="1533"/>
                    </a:lnTo>
                    <a:lnTo>
                      <a:pt x="3016" y="1528"/>
                    </a:lnTo>
                    <a:lnTo>
                      <a:pt x="3019" y="1524"/>
                    </a:lnTo>
                    <a:lnTo>
                      <a:pt x="3024" y="1519"/>
                    </a:lnTo>
                    <a:lnTo>
                      <a:pt x="3028" y="1516"/>
                    </a:lnTo>
                    <a:lnTo>
                      <a:pt x="3033" y="1512"/>
                    </a:lnTo>
                    <a:lnTo>
                      <a:pt x="3045" y="1506"/>
                    </a:lnTo>
                    <a:lnTo>
                      <a:pt x="3058" y="1501"/>
                    </a:lnTo>
                    <a:lnTo>
                      <a:pt x="3072" y="1497"/>
                    </a:lnTo>
                    <a:lnTo>
                      <a:pt x="3086" y="1493"/>
                    </a:lnTo>
                    <a:lnTo>
                      <a:pt x="3117" y="1487"/>
                    </a:lnTo>
                    <a:lnTo>
                      <a:pt x="3147" y="1482"/>
                    </a:lnTo>
                    <a:lnTo>
                      <a:pt x="3160" y="1479"/>
                    </a:lnTo>
                    <a:lnTo>
                      <a:pt x="3172" y="1475"/>
                    </a:lnTo>
                    <a:lnTo>
                      <a:pt x="3182" y="1471"/>
                    </a:lnTo>
                    <a:lnTo>
                      <a:pt x="3189" y="1466"/>
                    </a:lnTo>
                    <a:lnTo>
                      <a:pt x="3178" y="1463"/>
                    </a:lnTo>
                    <a:lnTo>
                      <a:pt x="3169" y="1460"/>
                    </a:lnTo>
                    <a:lnTo>
                      <a:pt x="3160" y="1456"/>
                    </a:lnTo>
                    <a:lnTo>
                      <a:pt x="3153" y="1451"/>
                    </a:lnTo>
                    <a:lnTo>
                      <a:pt x="3147" y="1448"/>
                    </a:lnTo>
                    <a:lnTo>
                      <a:pt x="3139" y="1445"/>
                    </a:lnTo>
                    <a:lnTo>
                      <a:pt x="3131" y="1442"/>
                    </a:lnTo>
                    <a:lnTo>
                      <a:pt x="3123" y="1442"/>
                    </a:lnTo>
                    <a:lnTo>
                      <a:pt x="3117" y="1442"/>
                    </a:lnTo>
                    <a:lnTo>
                      <a:pt x="3113" y="1443"/>
                    </a:lnTo>
                    <a:lnTo>
                      <a:pt x="3107" y="1445"/>
                    </a:lnTo>
                    <a:lnTo>
                      <a:pt x="3103" y="1446"/>
                    </a:lnTo>
                    <a:lnTo>
                      <a:pt x="3093" y="1452"/>
                    </a:lnTo>
                    <a:lnTo>
                      <a:pt x="3083" y="1458"/>
                    </a:lnTo>
                    <a:lnTo>
                      <a:pt x="3074" y="1464"/>
                    </a:lnTo>
                    <a:lnTo>
                      <a:pt x="3066" y="1470"/>
                    </a:lnTo>
                    <a:lnTo>
                      <a:pt x="3057" y="1475"/>
                    </a:lnTo>
                    <a:lnTo>
                      <a:pt x="3049" y="1478"/>
                    </a:lnTo>
                    <a:lnTo>
                      <a:pt x="3044" y="1479"/>
                    </a:lnTo>
                    <a:lnTo>
                      <a:pt x="3036" y="1481"/>
                    </a:lnTo>
                    <a:lnTo>
                      <a:pt x="3026" y="1483"/>
                    </a:lnTo>
                    <a:lnTo>
                      <a:pt x="3016" y="1484"/>
                    </a:lnTo>
                    <a:lnTo>
                      <a:pt x="3010" y="1478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</p:grpSp>
        <p:sp>
          <p:nvSpPr>
            <p:cNvPr id="25891" name="Freeform 434"/>
            <p:cNvSpPr>
              <a:spLocks/>
            </p:cNvSpPr>
            <p:nvPr>
              <p:custDataLst>
                <p:tags r:id="rId276"/>
              </p:custDataLst>
            </p:nvPr>
          </p:nvSpPr>
          <p:spPr bwMode="auto">
            <a:xfrm>
              <a:off x="6874507" y="4212077"/>
              <a:ext cx="127000" cy="158750"/>
            </a:xfrm>
            <a:custGeom>
              <a:avLst/>
              <a:gdLst>
                <a:gd name="T0" fmla="*/ 2147483647 w 292"/>
                <a:gd name="T1" fmla="*/ 2147483647 h 308"/>
                <a:gd name="T2" fmla="*/ 2147483647 w 292"/>
                <a:gd name="T3" fmla="*/ 2147483647 h 308"/>
                <a:gd name="T4" fmla="*/ 2147483647 w 292"/>
                <a:gd name="T5" fmla="*/ 2147483647 h 308"/>
                <a:gd name="T6" fmla="*/ 2147483647 w 292"/>
                <a:gd name="T7" fmla="*/ 2147483647 h 308"/>
                <a:gd name="T8" fmla="*/ 2147483647 w 292"/>
                <a:gd name="T9" fmla="*/ 2147483647 h 308"/>
                <a:gd name="T10" fmla="*/ 2147483647 w 292"/>
                <a:gd name="T11" fmla="*/ 2147483647 h 308"/>
                <a:gd name="T12" fmla="*/ 2147483647 w 292"/>
                <a:gd name="T13" fmla="*/ 2147483647 h 308"/>
                <a:gd name="T14" fmla="*/ 2147483647 w 292"/>
                <a:gd name="T15" fmla="*/ 2147483647 h 308"/>
                <a:gd name="T16" fmla="*/ 2147483647 w 292"/>
                <a:gd name="T17" fmla="*/ 2147483647 h 308"/>
                <a:gd name="T18" fmla="*/ 2147483647 w 292"/>
                <a:gd name="T19" fmla="*/ 2147483647 h 308"/>
                <a:gd name="T20" fmla="*/ 2147483647 w 292"/>
                <a:gd name="T21" fmla="*/ 2147483647 h 308"/>
                <a:gd name="T22" fmla="*/ 2147483647 w 292"/>
                <a:gd name="T23" fmla="*/ 2147483647 h 308"/>
                <a:gd name="T24" fmla="*/ 2147483647 w 292"/>
                <a:gd name="T25" fmla="*/ 2147483647 h 308"/>
                <a:gd name="T26" fmla="*/ 2147483647 w 292"/>
                <a:gd name="T27" fmla="*/ 2147483647 h 308"/>
                <a:gd name="T28" fmla="*/ 2147483647 w 292"/>
                <a:gd name="T29" fmla="*/ 2147483647 h 308"/>
                <a:gd name="T30" fmla="*/ 2147483647 w 292"/>
                <a:gd name="T31" fmla="*/ 2147483647 h 308"/>
                <a:gd name="T32" fmla="*/ 2147483647 w 292"/>
                <a:gd name="T33" fmla="*/ 2147483647 h 308"/>
                <a:gd name="T34" fmla="*/ 0 w 292"/>
                <a:gd name="T35" fmla="*/ 2147483647 h 308"/>
                <a:gd name="T36" fmla="*/ 2147483647 w 292"/>
                <a:gd name="T37" fmla="*/ 2147483647 h 308"/>
                <a:gd name="T38" fmla="*/ 2147483647 w 292"/>
                <a:gd name="T39" fmla="*/ 2147483647 h 308"/>
                <a:gd name="T40" fmla="*/ 2147483647 w 292"/>
                <a:gd name="T41" fmla="*/ 2147483647 h 308"/>
                <a:gd name="T42" fmla="*/ 2147483647 w 292"/>
                <a:gd name="T43" fmla="*/ 2147483647 h 308"/>
                <a:gd name="T44" fmla="*/ 2147483647 w 292"/>
                <a:gd name="T45" fmla="*/ 2147483647 h 308"/>
                <a:gd name="T46" fmla="*/ 2147483647 w 292"/>
                <a:gd name="T47" fmla="*/ 2147483647 h 308"/>
                <a:gd name="T48" fmla="*/ 2147483647 w 292"/>
                <a:gd name="T49" fmla="*/ 2147483647 h 308"/>
                <a:gd name="T50" fmla="*/ 2147483647 w 292"/>
                <a:gd name="T51" fmla="*/ 2147483647 h 308"/>
                <a:gd name="T52" fmla="*/ 2147483647 w 292"/>
                <a:gd name="T53" fmla="*/ 2147483647 h 308"/>
                <a:gd name="T54" fmla="*/ 2147483647 w 292"/>
                <a:gd name="T55" fmla="*/ 2147483647 h 308"/>
                <a:gd name="T56" fmla="*/ 2147483647 w 292"/>
                <a:gd name="T57" fmla="*/ 2147483647 h 308"/>
                <a:gd name="T58" fmla="*/ 2147483647 w 292"/>
                <a:gd name="T59" fmla="*/ 2147483647 h 308"/>
                <a:gd name="T60" fmla="*/ 2147483647 w 292"/>
                <a:gd name="T61" fmla="*/ 2147483647 h 308"/>
                <a:gd name="T62" fmla="*/ 2147483647 w 292"/>
                <a:gd name="T63" fmla="*/ 2147483647 h 308"/>
                <a:gd name="T64" fmla="*/ 2147483647 w 292"/>
                <a:gd name="T65" fmla="*/ 2147483647 h 308"/>
                <a:gd name="T66" fmla="*/ 2147483647 w 292"/>
                <a:gd name="T67" fmla="*/ 2147483647 h 308"/>
                <a:gd name="T68" fmla="*/ 2147483647 w 292"/>
                <a:gd name="T69" fmla="*/ 2147483647 h 308"/>
                <a:gd name="T70" fmla="*/ 2147483647 w 292"/>
                <a:gd name="T71" fmla="*/ 0 h 30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92" h="308">
                  <a:moveTo>
                    <a:pt x="259" y="0"/>
                  </a:moveTo>
                  <a:lnTo>
                    <a:pt x="265" y="10"/>
                  </a:lnTo>
                  <a:lnTo>
                    <a:pt x="271" y="23"/>
                  </a:lnTo>
                  <a:lnTo>
                    <a:pt x="276" y="37"/>
                  </a:lnTo>
                  <a:lnTo>
                    <a:pt x="280" y="54"/>
                  </a:lnTo>
                  <a:lnTo>
                    <a:pt x="286" y="91"/>
                  </a:lnTo>
                  <a:lnTo>
                    <a:pt x="292" y="135"/>
                  </a:lnTo>
                  <a:lnTo>
                    <a:pt x="292" y="144"/>
                  </a:lnTo>
                  <a:lnTo>
                    <a:pt x="292" y="153"/>
                  </a:lnTo>
                  <a:lnTo>
                    <a:pt x="291" y="161"/>
                  </a:lnTo>
                  <a:lnTo>
                    <a:pt x="289" y="168"/>
                  </a:lnTo>
                  <a:lnTo>
                    <a:pt x="286" y="179"/>
                  </a:lnTo>
                  <a:lnTo>
                    <a:pt x="281" y="189"/>
                  </a:lnTo>
                  <a:lnTo>
                    <a:pt x="269" y="206"/>
                  </a:lnTo>
                  <a:lnTo>
                    <a:pt x="258" y="225"/>
                  </a:lnTo>
                  <a:lnTo>
                    <a:pt x="231" y="185"/>
                  </a:lnTo>
                  <a:lnTo>
                    <a:pt x="192" y="222"/>
                  </a:lnTo>
                  <a:lnTo>
                    <a:pt x="165" y="258"/>
                  </a:lnTo>
                  <a:lnTo>
                    <a:pt x="152" y="246"/>
                  </a:lnTo>
                  <a:lnTo>
                    <a:pt x="132" y="278"/>
                  </a:lnTo>
                  <a:lnTo>
                    <a:pt x="132" y="296"/>
                  </a:lnTo>
                  <a:lnTo>
                    <a:pt x="59" y="296"/>
                  </a:lnTo>
                  <a:lnTo>
                    <a:pt x="46" y="302"/>
                  </a:lnTo>
                  <a:lnTo>
                    <a:pt x="32" y="308"/>
                  </a:lnTo>
                  <a:lnTo>
                    <a:pt x="19" y="308"/>
                  </a:lnTo>
                  <a:lnTo>
                    <a:pt x="6" y="308"/>
                  </a:lnTo>
                  <a:lnTo>
                    <a:pt x="8" y="302"/>
                  </a:lnTo>
                  <a:lnTo>
                    <a:pt x="9" y="297"/>
                  </a:lnTo>
                  <a:lnTo>
                    <a:pt x="11" y="291"/>
                  </a:lnTo>
                  <a:lnTo>
                    <a:pt x="11" y="286"/>
                  </a:lnTo>
                  <a:lnTo>
                    <a:pt x="9" y="276"/>
                  </a:lnTo>
                  <a:lnTo>
                    <a:pt x="7" y="265"/>
                  </a:lnTo>
                  <a:lnTo>
                    <a:pt x="5" y="256"/>
                  </a:lnTo>
                  <a:lnTo>
                    <a:pt x="2" y="246"/>
                  </a:lnTo>
                  <a:lnTo>
                    <a:pt x="0" y="237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3" y="205"/>
                  </a:lnTo>
                  <a:lnTo>
                    <a:pt x="6" y="196"/>
                  </a:lnTo>
                  <a:lnTo>
                    <a:pt x="12" y="188"/>
                  </a:lnTo>
                  <a:lnTo>
                    <a:pt x="18" y="180"/>
                  </a:lnTo>
                  <a:lnTo>
                    <a:pt x="26" y="174"/>
                  </a:lnTo>
                  <a:lnTo>
                    <a:pt x="34" y="167"/>
                  </a:lnTo>
                  <a:lnTo>
                    <a:pt x="42" y="161"/>
                  </a:lnTo>
                  <a:lnTo>
                    <a:pt x="60" y="148"/>
                  </a:lnTo>
                  <a:lnTo>
                    <a:pt x="77" y="135"/>
                  </a:lnTo>
                  <a:lnTo>
                    <a:pt x="85" y="128"/>
                  </a:lnTo>
                  <a:lnTo>
                    <a:pt x="93" y="119"/>
                  </a:lnTo>
                  <a:lnTo>
                    <a:pt x="99" y="110"/>
                  </a:lnTo>
                  <a:lnTo>
                    <a:pt x="105" y="98"/>
                  </a:lnTo>
                  <a:lnTo>
                    <a:pt x="102" y="98"/>
                  </a:lnTo>
                  <a:lnTo>
                    <a:pt x="98" y="96"/>
                  </a:lnTo>
                  <a:lnTo>
                    <a:pt x="95" y="94"/>
                  </a:lnTo>
                  <a:lnTo>
                    <a:pt x="92" y="91"/>
                  </a:lnTo>
                  <a:lnTo>
                    <a:pt x="86" y="83"/>
                  </a:lnTo>
                  <a:lnTo>
                    <a:pt x="82" y="73"/>
                  </a:lnTo>
                  <a:lnTo>
                    <a:pt x="77" y="62"/>
                  </a:lnTo>
                  <a:lnTo>
                    <a:pt x="74" y="50"/>
                  </a:lnTo>
                  <a:lnTo>
                    <a:pt x="73" y="36"/>
                  </a:lnTo>
                  <a:lnTo>
                    <a:pt x="72" y="24"/>
                  </a:lnTo>
                  <a:lnTo>
                    <a:pt x="82" y="21"/>
                  </a:lnTo>
                  <a:lnTo>
                    <a:pt x="90" y="19"/>
                  </a:lnTo>
                  <a:lnTo>
                    <a:pt x="97" y="19"/>
                  </a:lnTo>
                  <a:lnTo>
                    <a:pt x="105" y="20"/>
                  </a:lnTo>
                  <a:lnTo>
                    <a:pt x="118" y="23"/>
                  </a:lnTo>
                  <a:lnTo>
                    <a:pt x="132" y="24"/>
                  </a:lnTo>
                  <a:lnTo>
                    <a:pt x="149" y="23"/>
                  </a:lnTo>
                  <a:lnTo>
                    <a:pt x="169" y="21"/>
                  </a:lnTo>
                  <a:lnTo>
                    <a:pt x="189" y="17"/>
                  </a:lnTo>
                  <a:lnTo>
                    <a:pt x="210" y="12"/>
                  </a:lnTo>
                  <a:lnTo>
                    <a:pt x="244" y="4"/>
                  </a:lnTo>
                  <a:lnTo>
                    <a:pt x="259" y="0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92" name="Freeform 435"/>
            <p:cNvSpPr>
              <a:spLocks/>
            </p:cNvSpPr>
            <p:nvPr>
              <p:custDataLst>
                <p:tags r:id="rId277"/>
              </p:custDataLst>
            </p:nvPr>
          </p:nvSpPr>
          <p:spPr bwMode="auto">
            <a:xfrm>
              <a:off x="6980869" y="4362889"/>
              <a:ext cx="6350" cy="57150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2147483647 w 14"/>
                <a:gd name="T5" fmla="*/ 2147483647 h 7"/>
                <a:gd name="T6" fmla="*/ 0 w 14"/>
                <a:gd name="T7" fmla="*/ 2147483647 h 7"/>
                <a:gd name="T8" fmla="*/ 2147483647 w 14"/>
                <a:gd name="T9" fmla="*/ 0 h 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lnTo>
                    <a:pt x="13" y="3"/>
                  </a:lnTo>
                  <a:lnTo>
                    <a:pt x="14" y="7"/>
                  </a:lnTo>
                  <a:lnTo>
                    <a:pt x="0" y="7"/>
                  </a:lnTo>
                  <a:lnTo>
                    <a:pt x="11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93" name="Freeform 436"/>
            <p:cNvSpPr>
              <a:spLocks/>
            </p:cNvSpPr>
            <p:nvPr>
              <p:custDataLst>
                <p:tags r:id="rId278"/>
              </p:custDataLst>
            </p:nvPr>
          </p:nvSpPr>
          <p:spPr bwMode="auto">
            <a:xfrm>
              <a:off x="6471282" y="3599302"/>
              <a:ext cx="249237" cy="500062"/>
            </a:xfrm>
            <a:custGeom>
              <a:avLst/>
              <a:gdLst>
                <a:gd name="T0" fmla="*/ 2147483647 w 581"/>
                <a:gd name="T1" fmla="*/ 2147483647 h 955"/>
                <a:gd name="T2" fmla="*/ 2147483647 w 581"/>
                <a:gd name="T3" fmla="*/ 2147483647 h 955"/>
                <a:gd name="T4" fmla="*/ 2147483647 w 581"/>
                <a:gd name="T5" fmla="*/ 2147483647 h 955"/>
                <a:gd name="T6" fmla="*/ 2147483647 w 581"/>
                <a:gd name="T7" fmla="*/ 2147483647 h 955"/>
                <a:gd name="T8" fmla="*/ 2147483647 w 581"/>
                <a:gd name="T9" fmla="*/ 2147483647 h 955"/>
                <a:gd name="T10" fmla="*/ 2147483647 w 581"/>
                <a:gd name="T11" fmla="*/ 2147483647 h 955"/>
                <a:gd name="T12" fmla="*/ 2147483647 w 581"/>
                <a:gd name="T13" fmla="*/ 2147483647 h 955"/>
                <a:gd name="T14" fmla="*/ 2147483647 w 581"/>
                <a:gd name="T15" fmla="*/ 2147483647 h 955"/>
                <a:gd name="T16" fmla="*/ 2147483647 w 581"/>
                <a:gd name="T17" fmla="*/ 2147483647 h 955"/>
                <a:gd name="T18" fmla="*/ 2147483647 w 581"/>
                <a:gd name="T19" fmla="*/ 2147483647 h 955"/>
                <a:gd name="T20" fmla="*/ 2147483647 w 581"/>
                <a:gd name="T21" fmla="*/ 2147483647 h 955"/>
                <a:gd name="T22" fmla="*/ 2147483647 w 581"/>
                <a:gd name="T23" fmla="*/ 2147483647 h 955"/>
                <a:gd name="T24" fmla="*/ 2147483647 w 581"/>
                <a:gd name="T25" fmla="*/ 2147483647 h 955"/>
                <a:gd name="T26" fmla="*/ 2147483647 w 581"/>
                <a:gd name="T27" fmla="*/ 2147483647 h 955"/>
                <a:gd name="T28" fmla="*/ 2147483647 w 581"/>
                <a:gd name="T29" fmla="*/ 2147483647 h 955"/>
                <a:gd name="T30" fmla="*/ 2147483647 w 581"/>
                <a:gd name="T31" fmla="*/ 2147483647 h 955"/>
                <a:gd name="T32" fmla="*/ 2147483647 w 581"/>
                <a:gd name="T33" fmla="*/ 2147483647 h 955"/>
                <a:gd name="T34" fmla="*/ 2147483647 w 581"/>
                <a:gd name="T35" fmla="*/ 2147483647 h 955"/>
                <a:gd name="T36" fmla="*/ 2147483647 w 581"/>
                <a:gd name="T37" fmla="*/ 2147483647 h 955"/>
                <a:gd name="T38" fmla="*/ 2147483647 w 581"/>
                <a:gd name="T39" fmla="*/ 2147483647 h 955"/>
                <a:gd name="T40" fmla="*/ 2147483647 w 581"/>
                <a:gd name="T41" fmla="*/ 2147483647 h 955"/>
                <a:gd name="T42" fmla="*/ 2147483647 w 581"/>
                <a:gd name="T43" fmla="*/ 2147483647 h 955"/>
                <a:gd name="T44" fmla="*/ 2147483647 w 581"/>
                <a:gd name="T45" fmla="*/ 2147483647 h 955"/>
                <a:gd name="T46" fmla="*/ 2147483647 w 581"/>
                <a:gd name="T47" fmla="*/ 2147483647 h 955"/>
                <a:gd name="T48" fmla="*/ 2147483647 w 581"/>
                <a:gd name="T49" fmla="*/ 2147483647 h 955"/>
                <a:gd name="T50" fmla="*/ 2147483647 w 581"/>
                <a:gd name="T51" fmla="*/ 2147483647 h 955"/>
                <a:gd name="T52" fmla="*/ 2147483647 w 581"/>
                <a:gd name="T53" fmla="*/ 2147483647 h 955"/>
                <a:gd name="T54" fmla="*/ 2147483647 w 581"/>
                <a:gd name="T55" fmla="*/ 2147483647 h 955"/>
                <a:gd name="T56" fmla="*/ 2147483647 w 581"/>
                <a:gd name="T57" fmla="*/ 2147483647 h 955"/>
                <a:gd name="T58" fmla="*/ 2147483647 w 581"/>
                <a:gd name="T59" fmla="*/ 2147483647 h 955"/>
                <a:gd name="T60" fmla="*/ 2147483647 w 581"/>
                <a:gd name="T61" fmla="*/ 2147483647 h 955"/>
                <a:gd name="T62" fmla="*/ 2147483647 w 581"/>
                <a:gd name="T63" fmla="*/ 2147483647 h 955"/>
                <a:gd name="T64" fmla="*/ 2147483647 w 581"/>
                <a:gd name="T65" fmla="*/ 2147483647 h 955"/>
                <a:gd name="T66" fmla="*/ 2147483647 w 581"/>
                <a:gd name="T67" fmla="*/ 2147483647 h 955"/>
                <a:gd name="T68" fmla="*/ 2147483647 w 581"/>
                <a:gd name="T69" fmla="*/ 2147483647 h 955"/>
                <a:gd name="T70" fmla="*/ 2147483647 w 581"/>
                <a:gd name="T71" fmla="*/ 2147483647 h 955"/>
                <a:gd name="T72" fmla="*/ 2147483647 w 581"/>
                <a:gd name="T73" fmla="*/ 2147483647 h 955"/>
                <a:gd name="T74" fmla="*/ 2147483647 w 581"/>
                <a:gd name="T75" fmla="*/ 2147483647 h 955"/>
                <a:gd name="T76" fmla="*/ 2147483647 w 581"/>
                <a:gd name="T77" fmla="*/ 2147483647 h 955"/>
                <a:gd name="T78" fmla="*/ 2147483647 w 581"/>
                <a:gd name="T79" fmla="*/ 2147483647 h 955"/>
                <a:gd name="T80" fmla="*/ 2147483647 w 581"/>
                <a:gd name="T81" fmla="*/ 2147483647 h 955"/>
                <a:gd name="T82" fmla="*/ 2147483647 w 581"/>
                <a:gd name="T83" fmla="*/ 2147483647 h 955"/>
                <a:gd name="T84" fmla="*/ 2147483647 w 581"/>
                <a:gd name="T85" fmla="*/ 2147483647 h 955"/>
                <a:gd name="T86" fmla="*/ 2147483647 w 581"/>
                <a:gd name="T87" fmla="*/ 2147483647 h 955"/>
                <a:gd name="T88" fmla="*/ 2147483647 w 581"/>
                <a:gd name="T89" fmla="*/ 2147483647 h 955"/>
                <a:gd name="T90" fmla="*/ 2147483647 w 581"/>
                <a:gd name="T91" fmla="*/ 2147483647 h 955"/>
                <a:gd name="T92" fmla="*/ 2147483647 w 581"/>
                <a:gd name="T93" fmla="*/ 2147483647 h 955"/>
                <a:gd name="T94" fmla="*/ 2147483647 w 581"/>
                <a:gd name="T95" fmla="*/ 2147483647 h 955"/>
                <a:gd name="T96" fmla="*/ 2147483647 w 581"/>
                <a:gd name="T97" fmla="*/ 2147483647 h 955"/>
                <a:gd name="T98" fmla="*/ 2147483647 w 581"/>
                <a:gd name="T99" fmla="*/ 2147483647 h 955"/>
                <a:gd name="T100" fmla="*/ 2147483647 w 581"/>
                <a:gd name="T101" fmla="*/ 0 h 955"/>
                <a:gd name="T102" fmla="*/ 2147483647 w 581"/>
                <a:gd name="T103" fmla="*/ 2147483647 h 955"/>
                <a:gd name="T104" fmla="*/ 2147483647 w 581"/>
                <a:gd name="T105" fmla="*/ 2147483647 h 955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581" h="955">
                  <a:moveTo>
                    <a:pt x="69" y="24"/>
                  </a:moveTo>
                  <a:lnTo>
                    <a:pt x="69" y="97"/>
                  </a:lnTo>
                  <a:lnTo>
                    <a:pt x="81" y="115"/>
                  </a:lnTo>
                  <a:lnTo>
                    <a:pt x="91" y="129"/>
                  </a:lnTo>
                  <a:lnTo>
                    <a:pt x="99" y="141"/>
                  </a:lnTo>
                  <a:lnTo>
                    <a:pt x="104" y="152"/>
                  </a:lnTo>
                  <a:lnTo>
                    <a:pt x="107" y="163"/>
                  </a:lnTo>
                  <a:lnTo>
                    <a:pt x="110" y="172"/>
                  </a:lnTo>
                  <a:lnTo>
                    <a:pt x="111" y="180"/>
                  </a:lnTo>
                  <a:lnTo>
                    <a:pt x="110" y="186"/>
                  </a:lnTo>
                  <a:lnTo>
                    <a:pt x="102" y="209"/>
                  </a:lnTo>
                  <a:lnTo>
                    <a:pt x="95" y="234"/>
                  </a:lnTo>
                  <a:lnTo>
                    <a:pt x="96" y="276"/>
                  </a:lnTo>
                  <a:lnTo>
                    <a:pt x="96" y="309"/>
                  </a:lnTo>
                  <a:lnTo>
                    <a:pt x="96" y="325"/>
                  </a:lnTo>
                  <a:lnTo>
                    <a:pt x="96" y="339"/>
                  </a:lnTo>
                  <a:lnTo>
                    <a:pt x="95" y="351"/>
                  </a:lnTo>
                  <a:lnTo>
                    <a:pt x="93" y="363"/>
                  </a:lnTo>
                  <a:lnTo>
                    <a:pt x="91" y="374"/>
                  </a:lnTo>
                  <a:lnTo>
                    <a:pt x="87" y="386"/>
                  </a:lnTo>
                  <a:lnTo>
                    <a:pt x="82" y="396"/>
                  </a:lnTo>
                  <a:lnTo>
                    <a:pt x="76" y="407"/>
                  </a:lnTo>
                  <a:lnTo>
                    <a:pt x="69" y="418"/>
                  </a:lnTo>
                  <a:lnTo>
                    <a:pt x="59" y="429"/>
                  </a:lnTo>
                  <a:lnTo>
                    <a:pt x="48" y="442"/>
                  </a:lnTo>
                  <a:lnTo>
                    <a:pt x="36" y="455"/>
                  </a:lnTo>
                  <a:lnTo>
                    <a:pt x="31" y="461"/>
                  </a:lnTo>
                  <a:lnTo>
                    <a:pt x="26" y="467"/>
                  </a:lnTo>
                  <a:lnTo>
                    <a:pt x="22" y="474"/>
                  </a:lnTo>
                  <a:lnTo>
                    <a:pt x="17" y="481"/>
                  </a:lnTo>
                  <a:lnTo>
                    <a:pt x="12" y="496"/>
                  </a:lnTo>
                  <a:lnTo>
                    <a:pt x="8" y="512"/>
                  </a:lnTo>
                  <a:lnTo>
                    <a:pt x="2" y="542"/>
                  </a:lnTo>
                  <a:lnTo>
                    <a:pt x="0" y="568"/>
                  </a:lnTo>
                  <a:lnTo>
                    <a:pt x="29" y="578"/>
                  </a:lnTo>
                  <a:lnTo>
                    <a:pt x="69" y="616"/>
                  </a:lnTo>
                  <a:lnTo>
                    <a:pt x="51" y="632"/>
                  </a:lnTo>
                  <a:lnTo>
                    <a:pt x="60" y="633"/>
                  </a:lnTo>
                  <a:lnTo>
                    <a:pt x="69" y="634"/>
                  </a:lnTo>
                  <a:lnTo>
                    <a:pt x="70" y="643"/>
                  </a:lnTo>
                  <a:lnTo>
                    <a:pt x="72" y="653"/>
                  </a:lnTo>
                  <a:lnTo>
                    <a:pt x="74" y="665"/>
                  </a:lnTo>
                  <a:lnTo>
                    <a:pt x="76" y="677"/>
                  </a:lnTo>
                  <a:lnTo>
                    <a:pt x="74" y="686"/>
                  </a:lnTo>
                  <a:lnTo>
                    <a:pt x="74" y="696"/>
                  </a:lnTo>
                  <a:lnTo>
                    <a:pt x="74" y="705"/>
                  </a:lnTo>
                  <a:lnTo>
                    <a:pt x="76" y="715"/>
                  </a:lnTo>
                  <a:lnTo>
                    <a:pt x="78" y="733"/>
                  </a:lnTo>
                  <a:lnTo>
                    <a:pt x="82" y="749"/>
                  </a:lnTo>
                  <a:lnTo>
                    <a:pt x="88" y="764"/>
                  </a:lnTo>
                  <a:lnTo>
                    <a:pt x="94" y="778"/>
                  </a:lnTo>
                  <a:lnTo>
                    <a:pt x="98" y="783"/>
                  </a:lnTo>
                  <a:lnTo>
                    <a:pt x="102" y="788"/>
                  </a:lnTo>
                  <a:lnTo>
                    <a:pt x="105" y="792"/>
                  </a:lnTo>
                  <a:lnTo>
                    <a:pt x="109" y="794"/>
                  </a:lnTo>
                  <a:lnTo>
                    <a:pt x="92" y="794"/>
                  </a:lnTo>
                  <a:lnTo>
                    <a:pt x="68" y="794"/>
                  </a:lnTo>
                  <a:lnTo>
                    <a:pt x="56" y="796"/>
                  </a:lnTo>
                  <a:lnTo>
                    <a:pt x="46" y="799"/>
                  </a:lnTo>
                  <a:lnTo>
                    <a:pt x="42" y="802"/>
                  </a:lnTo>
                  <a:lnTo>
                    <a:pt x="38" y="805"/>
                  </a:lnTo>
                  <a:lnTo>
                    <a:pt x="36" y="808"/>
                  </a:lnTo>
                  <a:lnTo>
                    <a:pt x="36" y="812"/>
                  </a:lnTo>
                  <a:lnTo>
                    <a:pt x="36" y="824"/>
                  </a:lnTo>
                  <a:lnTo>
                    <a:pt x="38" y="834"/>
                  </a:lnTo>
                  <a:lnTo>
                    <a:pt x="42" y="842"/>
                  </a:lnTo>
                  <a:lnTo>
                    <a:pt x="46" y="850"/>
                  </a:lnTo>
                  <a:lnTo>
                    <a:pt x="57" y="863"/>
                  </a:lnTo>
                  <a:lnTo>
                    <a:pt x="69" y="876"/>
                  </a:lnTo>
                  <a:lnTo>
                    <a:pt x="76" y="884"/>
                  </a:lnTo>
                  <a:lnTo>
                    <a:pt x="81" y="891"/>
                  </a:lnTo>
                  <a:lnTo>
                    <a:pt x="87" y="899"/>
                  </a:lnTo>
                  <a:lnTo>
                    <a:pt x="92" y="907"/>
                  </a:lnTo>
                  <a:lnTo>
                    <a:pt x="96" y="917"/>
                  </a:lnTo>
                  <a:lnTo>
                    <a:pt x="100" y="927"/>
                  </a:lnTo>
                  <a:lnTo>
                    <a:pt x="102" y="941"/>
                  </a:lnTo>
                  <a:lnTo>
                    <a:pt x="102" y="955"/>
                  </a:lnTo>
                  <a:lnTo>
                    <a:pt x="156" y="955"/>
                  </a:lnTo>
                  <a:lnTo>
                    <a:pt x="166" y="949"/>
                  </a:lnTo>
                  <a:lnTo>
                    <a:pt x="177" y="945"/>
                  </a:lnTo>
                  <a:lnTo>
                    <a:pt x="189" y="942"/>
                  </a:lnTo>
                  <a:lnTo>
                    <a:pt x="201" y="939"/>
                  </a:lnTo>
                  <a:lnTo>
                    <a:pt x="225" y="935"/>
                  </a:lnTo>
                  <a:lnTo>
                    <a:pt x="248" y="929"/>
                  </a:lnTo>
                  <a:lnTo>
                    <a:pt x="259" y="927"/>
                  </a:lnTo>
                  <a:lnTo>
                    <a:pt x="270" y="924"/>
                  </a:lnTo>
                  <a:lnTo>
                    <a:pt x="279" y="921"/>
                  </a:lnTo>
                  <a:lnTo>
                    <a:pt x="286" y="916"/>
                  </a:lnTo>
                  <a:lnTo>
                    <a:pt x="293" y="911"/>
                  </a:lnTo>
                  <a:lnTo>
                    <a:pt x="297" y="904"/>
                  </a:lnTo>
                  <a:lnTo>
                    <a:pt x="300" y="901"/>
                  </a:lnTo>
                  <a:lnTo>
                    <a:pt x="301" y="896"/>
                  </a:lnTo>
                  <a:lnTo>
                    <a:pt x="302" y="892"/>
                  </a:lnTo>
                  <a:lnTo>
                    <a:pt x="302" y="887"/>
                  </a:lnTo>
                  <a:lnTo>
                    <a:pt x="302" y="877"/>
                  </a:lnTo>
                  <a:lnTo>
                    <a:pt x="302" y="868"/>
                  </a:lnTo>
                  <a:lnTo>
                    <a:pt x="315" y="870"/>
                  </a:lnTo>
                  <a:lnTo>
                    <a:pt x="327" y="871"/>
                  </a:lnTo>
                  <a:lnTo>
                    <a:pt x="338" y="871"/>
                  </a:lnTo>
                  <a:lnTo>
                    <a:pt x="348" y="870"/>
                  </a:lnTo>
                  <a:lnTo>
                    <a:pt x="358" y="868"/>
                  </a:lnTo>
                  <a:lnTo>
                    <a:pt x="367" y="866"/>
                  </a:lnTo>
                  <a:lnTo>
                    <a:pt x="374" y="863"/>
                  </a:lnTo>
                  <a:lnTo>
                    <a:pt x="382" y="860"/>
                  </a:lnTo>
                  <a:lnTo>
                    <a:pt x="389" y="856"/>
                  </a:lnTo>
                  <a:lnTo>
                    <a:pt x="394" y="852"/>
                  </a:lnTo>
                  <a:lnTo>
                    <a:pt x="401" y="847"/>
                  </a:lnTo>
                  <a:lnTo>
                    <a:pt x="405" y="842"/>
                  </a:lnTo>
                  <a:lnTo>
                    <a:pt x="415" y="831"/>
                  </a:lnTo>
                  <a:lnTo>
                    <a:pt x="424" y="818"/>
                  </a:lnTo>
                  <a:lnTo>
                    <a:pt x="432" y="807"/>
                  </a:lnTo>
                  <a:lnTo>
                    <a:pt x="440" y="795"/>
                  </a:lnTo>
                  <a:lnTo>
                    <a:pt x="449" y="783"/>
                  </a:lnTo>
                  <a:lnTo>
                    <a:pt x="460" y="773"/>
                  </a:lnTo>
                  <a:lnTo>
                    <a:pt x="465" y="769"/>
                  </a:lnTo>
                  <a:lnTo>
                    <a:pt x="471" y="764"/>
                  </a:lnTo>
                  <a:lnTo>
                    <a:pt x="477" y="760"/>
                  </a:lnTo>
                  <a:lnTo>
                    <a:pt x="485" y="757"/>
                  </a:lnTo>
                  <a:lnTo>
                    <a:pt x="493" y="754"/>
                  </a:lnTo>
                  <a:lnTo>
                    <a:pt x="502" y="752"/>
                  </a:lnTo>
                  <a:lnTo>
                    <a:pt x="510" y="751"/>
                  </a:lnTo>
                  <a:lnTo>
                    <a:pt x="521" y="751"/>
                  </a:lnTo>
                  <a:lnTo>
                    <a:pt x="521" y="745"/>
                  </a:lnTo>
                  <a:lnTo>
                    <a:pt x="511" y="729"/>
                  </a:lnTo>
                  <a:lnTo>
                    <a:pt x="505" y="713"/>
                  </a:lnTo>
                  <a:lnTo>
                    <a:pt x="499" y="697"/>
                  </a:lnTo>
                  <a:lnTo>
                    <a:pt x="494" y="682"/>
                  </a:lnTo>
                  <a:lnTo>
                    <a:pt x="490" y="667"/>
                  </a:lnTo>
                  <a:lnTo>
                    <a:pt x="484" y="653"/>
                  </a:lnTo>
                  <a:lnTo>
                    <a:pt x="476" y="640"/>
                  </a:lnTo>
                  <a:lnTo>
                    <a:pt x="468" y="628"/>
                  </a:lnTo>
                  <a:lnTo>
                    <a:pt x="472" y="623"/>
                  </a:lnTo>
                  <a:lnTo>
                    <a:pt x="476" y="619"/>
                  </a:lnTo>
                  <a:lnTo>
                    <a:pt x="479" y="614"/>
                  </a:lnTo>
                  <a:lnTo>
                    <a:pt x="481" y="610"/>
                  </a:lnTo>
                  <a:lnTo>
                    <a:pt x="484" y="599"/>
                  </a:lnTo>
                  <a:lnTo>
                    <a:pt x="486" y="589"/>
                  </a:lnTo>
                  <a:lnTo>
                    <a:pt x="487" y="579"/>
                  </a:lnTo>
                  <a:lnTo>
                    <a:pt x="488" y="567"/>
                  </a:lnTo>
                  <a:lnTo>
                    <a:pt x="491" y="555"/>
                  </a:lnTo>
                  <a:lnTo>
                    <a:pt x="494" y="541"/>
                  </a:lnTo>
                  <a:lnTo>
                    <a:pt x="497" y="533"/>
                  </a:lnTo>
                  <a:lnTo>
                    <a:pt x="501" y="526"/>
                  </a:lnTo>
                  <a:lnTo>
                    <a:pt x="505" y="519"/>
                  </a:lnTo>
                  <a:lnTo>
                    <a:pt x="509" y="512"/>
                  </a:lnTo>
                  <a:lnTo>
                    <a:pt x="520" y="499"/>
                  </a:lnTo>
                  <a:lnTo>
                    <a:pt x="532" y="486"/>
                  </a:lnTo>
                  <a:lnTo>
                    <a:pt x="546" y="476"/>
                  </a:lnTo>
                  <a:lnTo>
                    <a:pt x="558" y="468"/>
                  </a:lnTo>
                  <a:lnTo>
                    <a:pt x="570" y="461"/>
                  </a:lnTo>
                  <a:lnTo>
                    <a:pt x="581" y="455"/>
                  </a:lnTo>
                  <a:lnTo>
                    <a:pt x="581" y="234"/>
                  </a:lnTo>
                  <a:lnTo>
                    <a:pt x="129" y="0"/>
                  </a:lnTo>
                  <a:lnTo>
                    <a:pt x="116" y="1"/>
                  </a:lnTo>
                  <a:lnTo>
                    <a:pt x="106" y="3"/>
                  </a:lnTo>
                  <a:lnTo>
                    <a:pt x="98" y="5"/>
                  </a:lnTo>
                  <a:lnTo>
                    <a:pt x="89" y="6"/>
                  </a:lnTo>
                  <a:lnTo>
                    <a:pt x="79" y="15"/>
                  </a:lnTo>
                  <a:lnTo>
                    <a:pt x="69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53" name="Freeform 437"/>
            <p:cNvSpPr>
              <a:spLocks/>
            </p:cNvSpPr>
            <p:nvPr>
              <p:custDataLst>
                <p:tags r:id="rId279"/>
              </p:custDataLst>
            </p:nvPr>
          </p:nvSpPr>
          <p:spPr bwMode="auto">
            <a:xfrm>
              <a:off x="6147711" y="2982313"/>
              <a:ext cx="15959" cy="57351"/>
            </a:xfrm>
            <a:custGeom>
              <a:avLst/>
              <a:gdLst>
                <a:gd name="T0" fmla="*/ 26 w 45"/>
                <a:gd name="T1" fmla="*/ 0 h 36"/>
                <a:gd name="T2" fmla="*/ 0 w 45"/>
                <a:gd name="T3" fmla="*/ 18 h 36"/>
                <a:gd name="T4" fmla="*/ 23 w 45"/>
                <a:gd name="T5" fmla="*/ 36 h 36"/>
                <a:gd name="T6" fmla="*/ 45 w 45"/>
                <a:gd name="T7" fmla="*/ 15 h 36"/>
                <a:gd name="T8" fmla="*/ 26 w 45"/>
                <a:gd name="T9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36">
                  <a:moveTo>
                    <a:pt x="26" y="0"/>
                  </a:moveTo>
                  <a:lnTo>
                    <a:pt x="0" y="18"/>
                  </a:lnTo>
                  <a:lnTo>
                    <a:pt x="23" y="36"/>
                  </a:lnTo>
                  <a:lnTo>
                    <a:pt x="45" y="15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895" name="Freeform 442"/>
            <p:cNvSpPr>
              <a:spLocks/>
            </p:cNvSpPr>
            <p:nvPr>
              <p:custDataLst>
                <p:tags r:id="rId280"/>
              </p:custDataLst>
            </p:nvPr>
          </p:nvSpPr>
          <p:spPr bwMode="auto">
            <a:xfrm>
              <a:off x="7157082" y="2994464"/>
              <a:ext cx="123825" cy="109538"/>
            </a:xfrm>
            <a:custGeom>
              <a:avLst/>
              <a:gdLst>
                <a:gd name="T0" fmla="*/ 2147483647 w 279"/>
                <a:gd name="T1" fmla="*/ 2147483647 h 204"/>
                <a:gd name="T2" fmla="*/ 2147483647 w 279"/>
                <a:gd name="T3" fmla="*/ 2147483647 h 204"/>
                <a:gd name="T4" fmla="*/ 2147483647 w 279"/>
                <a:gd name="T5" fmla="*/ 2147483647 h 204"/>
                <a:gd name="T6" fmla="*/ 2147483647 w 279"/>
                <a:gd name="T7" fmla="*/ 2147483647 h 204"/>
                <a:gd name="T8" fmla="*/ 2147483647 w 279"/>
                <a:gd name="T9" fmla="*/ 2147483647 h 204"/>
                <a:gd name="T10" fmla="*/ 2147483647 w 279"/>
                <a:gd name="T11" fmla="*/ 2147483647 h 204"/>
                <a:gd name="T12" fmla="*/ 2147483647 w 279"/>
                <a:gd name="T13" fmla="*/ 2147483647 h 204"/>
                <a:gd name="T14" fmla="*/ 2147483647 w 279"/>
                <a:gd name="T15" fmla="*/ 2147483647 h 204"/>
                <a:gd name="T16" fmla="*/ 2147483647 w 279"/>
                <a:gd name="T17" fmla="*/ 2147483647 h 204"/>
                <a:gd name="T18" fmla="*/ 2147483647 w 279"/>
                <a:gd name="T19" fmla="*/ 2147483647 h 204"/>
                <a:gd name="T20" fmla="*/ 2147483647 w 279"/>
                <a:gd name="T21" fmla="*/ 2147483647 h 204"/>
                <a:gd name="T22" fmla="*/ 2147483647 w 279"/>
                <a:gd name="T23" fmla="*/ 2147483647 h 204"/>
                <a:gd name="T24" fmla="*/ 2147483647 w 279"/>
                <a:gd name="T25" fmla="*/ 2147483647 h 204"/>
                <a:gd name="T26" fmla="*/ 2147483647 w 279"/>
                <a:gd name="T27" fmla="*/ 2147483647 h 204"/>
                <a:gd name="T28" fmla="*/ 2147483647 w 279"/>
                <a:gd name="T29" fmla="*/ 2147483647 h 204"/>
                <a:gd name="T30" fmla="*/ 2147483647 w 279"/>
                <a:gd name="T31" fmla="*/ 2147483647 h 204"/>
                <a:gd name="T32" fmla="*/ 2147483647 w 279"/>
                <a:gd name="T33" fmla="*/ 2147483647 h 204"/>
                <a:gd name="T34" fmla="*/ 2147483647 w 279"/>
                <a:gd name="T35" fmla="*/ 2147483647 h 204"/>
                <a:gd name="T36" fmla="*/ 2147483647 w 279"/>
                <a:gd name="T37" fmla="*/ 2147483647 h 204"/>
                <a:gd name="T38" fmla="*/ 2147483647 w 279"/>
                <a:gd name="T39" fmla="*/ 2147483647 h 204"/>
                <a:gd name="T40" fmla="*/ 2147483647 w 279"/>
                <a:gd name="T41" fmla="*/ 2147483647 h 204"/>
                <a:gd name="T42" fmla="*/ 2147483647 w 279"/>
                <a:gd name="T43" fmla="*/ 2147483647 h 204"/>
                <a:gd name="T44" fmla="*/ 2147483647 w 279"/>
                <a:gd name="T45" fmla="*/ 2147483647 h 204"/>
                <a:gd name="T46" fmla="*/ 2147483647 w 279"/>
                <a:gd name="T47" fmla="*/ 2147483647 h 204"/>
                <a:gd name="T48" fmla="*/ 2147483647 w 279"/>
                <a:gd name="T49" fmla="*/ 2147483647 h 204"/>
                <a:gd name="T50" fmla="*/ 2147483647 w 279"/>
                <a:gd name="T51" fmla="*/ 2147483647 h 204"/>
                <a:gd name="T52" fmla="*/ 2147483647 w 279"/>
                <a:gd name="T53" fmla="*/ 2147483647 h 204"/>
                <a:gd name="T54" fmla="*/ 2147483647 w 279"/>
                <a:gd name="T55" fmla="*/ 2147483647 h 204"/>
                <a:gd name="T56" fmla="*/ 2147483647 w 279"/>
                <a:gd name="T57" fmla="*/ 2147483647 h 204"/>
                <a:gd name="T58" fmla="*/ 2147483647 w 279"/>
                <a:gd name="T59" fmla="*/ 2147483647 h 204"/>
                <a:gd name="T60" fmla="*/ 2147483647 w 279"/>
                <a:gd name="T61" fmla="*/ 2147483647 h 204"/>
                <a:gd name="T62" fmla="*/ 2147483647 w 279"/>
                <a:gd name="T63" fmla="*/ 2147483647 h 204"/>
                <a:gd name="T64" fmla="*/ 0 w 279"/>
                <a:gd name="T65" fmla="*/ 2147483647 h 20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0" t="0" r="r" b="b"/>
              <a:pathLst>
                <a:path w="279" h="204">
                  <a:moveTo>
                    <a:pt x="0" y="56"/>
                  </a:moveTo>
                  <a:lnTo>
                    <a:pt x="33" y="87"/>
                  </a:lnTo>
                  <a:lnTo>
                    <a:pt x="46" y="123"/>
                  </a:lnTo>
                  <a:lnTo>
                    <a:pt x="59" y="142"/>
                  </a:lnTo>
                  <a:lnTo>
                    <a:pt x="59" y="173"/>
                  </a:lnTo>
                  <a:lnTo>
                    <a:pt x="59" y="179"/>
                  </a:lnTo>
                  <a:lnTo>
                    <a:pt x="80" y="188"/>
                  </a:lnTo>
                  <a:lnTo>
                    <a:pt x="102" y="196"/>
                  </a:lnTo>
                  <a:lnTo>
                    <a:pt x="112" y="199"/>
                  </a:lnTo>
                  <a:lnTo>
                    <a:pt x="122" y="202"/>
                  </a:lnTo>
                  <a:lnTo>
                    <a:pt x="130" y="203"/>
                  </a:lnTo>
                  <a:lnTo>
                    <a:pt x="139" y="204"/>
                  </a:lnTo>
                  <a:lnTo>
                    <a:pt x="142" y="203"/>
                  </a:lnTo>
                  <a:lnTo>
                    <a:pt x="146" y="201"/>
                  </a:lnTo>
                  <a:lnTo>
                    <a:pt x="148" y="198"/>
                  </a:lnTo>
                  <a:lnTo>
                    <a:pt x="151" y="194"/>
                  </a:lnTo>
                  <a:lnTo>
                    <a:pt x="156" y="183"/>
                  </a:lnTo>
                  <a:lnTo>
                    <a:pt x="160" y="172"/>
                  </a:lnTo>
                  <a:lnTo>
                    <a:pt x="165" y="160"/>
                  </a:lnTo>
                  <a:lnTo>
                    <a:pt x="172" y="149"/>
                  </a:lnTo>
                  <a:lnTo>
                    <a:pt x="176" y="145"/>
                  </a:lnTo>
                  <a:lnTo>
                    <a:pt x="181" y="141"/>
                  </a:lnTo>
                  <a:lnTo>
                    <a:pt x="186" y="138"/>
                  </a:lnTo>
                  <a:lnTo>
                    <a:pt x="192" y="136"/>
                  </a:lnTo>
                  <a:lnTo>
                    <a:pt x="201" y="137"/>
                  </a:lnTo>
                  <a:lnTo>
                    <a:pt x="209" y="138"/>
                  </a:lnTo>
                  <a:lnTo>
                    <a:pt x="215" y="140"/>
                  </a:lnTo>
                  <a:lnTo>
                    <a:pt x="220" y="142"/>
                  </a:lnTo>
                  <a:lnTo>
                    <a:pt x="225" y="145"/>
                  </a:lnTo>
                  <a:lnTo>
                    <a:pt x="228" y="148"/>
                  </a:lnTo>
                  <a:lnTo>
                    <a:pt x="230" y="151"/>
                  </a:lnTo>
                  <a:lnTo>
                    <a:pt x="231" y="154"/>
                  </a:lnTo>
                  <a:lnTo>
                    <a:pt x="234" y="160"/>
                  </a:lnTo>
                  <a:lnTo>
                    <a:pt x="234" y="164"/>
                  </a:lnTo>
                  <a:lnTo>
                    <a:pt x="232" y="167"/>
                  </a:lnTo>
                  <a:lnTo>
                    <a:pt x="231" y="167"/>
                  </a:lnTo>
                  <a:lnTo>
                    <a:pt x="232" y="160"/>
                  </a:lnTo>
                  <a:lnTo>
                    <a:pt x="234" y="153"/>
                  </a:lnTo>
                  <a:lnTo>
                    <a:pt x="236" y="147"/>
                  </a:lnTo>
                  <a:lnTo>
                    <a:pt x="238" y="140"/>
                  </a:lnTo>
                  <a:lnTo>
                    <a:pt x="243" y="127"/>
                  </a:lnTo>
                  <a:lnTo>
                    <a:pt x="245" y="117"/>
                  </a:lnTo>
                  <a:lnTo>
                    <a:pt x="250" y="117"/>
                  </a:lnTo>
                  <a:lnTo>
                    <a:pt x="254" y="115"/>
                  </a:lnTo>
                  <a:lnTo>
                    <a:pt x="260" y="113"/>
                  </a:lnTo>
                  <a:lnTo>
                    <a:pt x="264" y="110"/>
                  </a:lnTo>
                  <a:lnTo>
                    <a:pt x="272" y="104"/>
                  </a:lnTo>
                  <a:lnTo>
                    <a:pt x="279" y="99"/>
                  </a:lnTo>
                  <a:lnTo>
                    <a:pt x="265" y="87"/>
                  </a:lnTo>
                  <a:lnTo>
                    <a:pt x="252" y="75"/>
                  </a:lnTo>
                  <a:lnTo>
                    <a:pt x="239" y="66"/>
                  </a:lnTo>
                  <a:lnTo>
                    <a:pt x="227" y="58"/>
                  </a:lnTo>
                  <a:lnTo>
                    <a:pt x="215" y="51"/>
                  </a:lnTo>
                  <a:lnTo>
                    <a:pt x="204" y="44"/>
                  </a:lnTo>
                  <a:lnTo>
                    <a:pt x="194" y="38"/>
                  </a:lnTo>
                  <a:lnTo>
                    <a:pt x="185" y="31"/>
                  </a:lnTo>
                  <a:lnTo>
                    <a:pt x="172" y="31"/>
                  </a:lnTo>
                  <a:lnTo>
                    <a:pt x="146" y="68"/>
                  </a:lnTo>
                  <a:lnTo>
                    <a:pt x="112" y="50"/>
                  </a:lnTo>
                  <a:lnTo>
                    <a:pt x="79" y="25"/>
                  </a:lnTo>
                  <a:lnTo>
                    <a:pt x="33" y="0"/>
                  </a:lnTo>
                  <a:lnTo>
                    <a:pt x="52" y="12"/>
                  </a:lnTo>
                  <a:lnTo>
                    <a:pt x="72" y="74"/>
                  </a:lnTo>
                  <a:lnTo>
                    <a:pt x="46" y="62"/>
                  </a:lnTo>
                  <a:lnTo>
                    <a:pt x="19" y="50"/>
                  </a:lnTo>
                  <a:lnTo>
                    <a:pt x="0" y="5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896" name="Freeform 443"/>
            <p:cNvSpPr>
              <a:spLocks/>
            </p:cNvSpPr>
            <p:nvPr>
              <p:custDataLst>
                <p:tags r:id="rId281"/>
              </p:custDataLst>
            </p:nvPr>
          </p:nvSpPr>
          <p:spPr bwMode="auto">
            <a:xfrm>
              <a:off x="6623682" y="2567427"/>
              <a:ext cx="209550" cy="150812"/>
            </a:xfrm>
            <a:custGeom>
              <a:avLst/>
              <a:gdLst>
                <a:gd name="T0" fmla="*/ 2147483647 w 485"/>
                <a:gd name="T1" fmla="*/ 2147483647 h 291"/>
                <a:gd name="T2" fmla="*/ 2147483647 w 485"/>
                <a:gd name="T3" fmla="*/ 2147483647 h 291"/>
                <a:gd name="T4" fmla="*/ 2147483647 w 485"/>
                <a:gd name="T5" fmla="*/ 2147483647 h 291"/>
                <a:gd name="T6" fmla="*/ 2147483647 w 485"/>
                <a:gd name="T7" fmla="*/ 2147483647 h 291"/>
                <a:gd name="T8" fmla="*/ 2147483647 w 485"/>
                <a:gd name="T9" fmla="*/ 2147483647 h 291"/>
                <a:gd name="T10" fmla="*/ 2147483647 w 485"/>
                <a:gd name="T11" fmla="*/ 2147483647 h 291"/>
                <a:gd name="T12" fmla="*/ 2147483647 w 485"/>
                <a:gd name="T13" fmla="*/ 2147483647 h 291"/>
                <a:gd name="T14" fmla="*/ 2147483647 w 485"/>
                <a:gd name="T15" fmla="*/ 2147483647 h 291"/>
                <a:gd name="T16" fmla="*/ 2147483647 w 485"/>
                <a:gd name="T17" fmla="*/ 2147483647 h 291"/>
                <a:gd name="T18" fmla="*/ 2147483647 w 485"/>
                <a:gd name="T19" fmla="*/ 2147483647 h 291"/>
                <a:gd name="T20" fmla="*/ 2147483647 w 485"/>
                <a:gd name="T21" fmla="*/ 2147483647 h 291"/>
                <a:gd name="T22" fmla="*/ 2147483647 w 485"/>
                <a:gd name="T23" fmla="*/ 2147483647 h 291"/>
                <a:gd name="T24" fmla="*/ 2147483647 w 485"/>
                <a:gd name="T25" fmla="*/ 2147483647 h 291"/>
                <a:gd name="T26" fmla="*/ 2147483647 w 485"/>
                <a:gd name="T27" fmla="*/ 2147483647 h 291"/>
                <a:gd name="T28" fmla="*/ 2147483647 w 485"/>
                <a:gd name="T29" fmla="*/ 2147483647 h 291"/>
                <a:gd name="T30" fmla="*/ 0 w 485"/>
                <a:gd name="T31" fmla="*/ 2147483647 h 291"/>
                <a:gd name="T32" fmla="*/ 2147483647 w 485"/>
                <a:gd name="T33" fmla="*/ 2147483647 h 291"/>
                <a:gd name="T34" fmla="*/ 2147483647 w 485"/>
                <a:gd name="T35" fmla="*/ 2147483647 h 291"/>
                <a:gd name="T36" fmla="*/ 2147483647 w 485"/>
                <a:gd name="T37" fmla="*/ 2147483647 h 291"/>
                <a:gd name="T38" fmla="*/ 2147483647 w 485"/>
                <a:gd name="T39" fmla="*/ 2147483647 h 291"/>
                <a:gd name="T40" fmla="*/ 2147483647 w 485"/>
                <a:gd name="T41" fmla="*/ 2147483647 h 291"/>
                <a:gd name="T42" fmla="*/ 2147483647 w 485"/>
                <a:gd name="T43" fmla="*/ 2147483647 h 291"/>
                <a:gd name="T44" fmla="*/ 2147483647 w 485"/>
                <a:gd name="T45" fmla="*/ 2147483647 h 291"/>
                <a:gd name="T46" fmla="*/ 2147483647 w 485"/>
                <a:gd name="T47" fmla="*/ 2147483647 h 291"/>
                <a:gd name="T48" fmla="*/ 2147483647 w 485"/>
                <a:gd name="T49" fmla="*/ 2147483647 h 291"/>
                <a:gd name="T50" fmla="*/ 2147483647 w 485"/>
                <a:gd name="T51" fmla="*/ 2147483647 h 291"/>
                <a:gd name="T52" fmla="*/ 2147483647 w 485"/>
                <a:gd name="T53" fmla="*/ 2147483647 h 291"/>
                <a:gd name="T54" fmla="*/ 2147483647 w 485"/>
                <a:gd name="T55" fmla="*/ 2147483647 h 291"/>
                <a:gd name="T56" fmla="*/ 2147483647 w 485"/>
                <a:gd name="T57" fmla="*/ 2147483647 h 291"/>
                <a:gd name="T58" fmla="*/ 2147483647 w 485"/>
                <a:gd name="T59" fmla="*/ 2147483647 h 291"/>
                <a:gd name="T60" fmla="*/ 2147483647 w 485"/>
                <a:gd name="T61" fmla="*/ 2147483647 h 291"/>
                <a:gd name="T62" fmla="*/ 2147483647 w 485"/>
                <a:gd name="T63" fmla="*/ 2147483647 h 291"/>
                <a:gd name="T64" fmla="*/ 2147483647 w 485"/>
                <a:gd name="T65" fmla="*/ 2147483647 h 291"/>
                <a:gd name="T66" fmla="*/ 2147483647 w 485"/>
                <a:gd name="T67" fmla="*/ 2147483647 h 291"/>
                <a:gd name="T68" fmla="*/ 2147483647 w 485"/>
                <a:gd name="T69" fmla="*/ 2147483647 h 291"/>
                <a:gd name="T70" fmla="*/ 2147483647 w 485"/>
                <a:gd name="T71" fmla="*/ 2147483647 h 291"/>
                <a:gd name="T72" fmla="*/ 2147483647 w 485"/>
                <a:gd name="T73" fmla="*/ 2147483647 h 291"/>
                <a:gd name="T74" fmla="*/ 2147483647 w 485"/>
                <a:gd name="T75" fmla="*/ 0 h 29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485" h="291">
                  <a:moveTo>
                    <a:pt x="206" y="6"/>
                  </a:moveTo>
                  <a:lnTo>
                    <a:pt x="252" y="20"/>
                  </a:lnTo>
                  <a:lnTo>
                    <a:pt x="292" y="20"/>
                  </a:lnTo>
                  <a:lnTo>
                    <a:pt x="300" y="44"/>
                  </a:lnTo>
                  <a:lnTo>
                    <a:pt x="339" y="32"/>
                  </a:lnTo>
                  <a:lnTo>
                    <a:pt x="372" y="44"/>
                  </a:lnTo>
                  <a:lnTo>
                    <a:pt x="379" y="93"/>
                  </a:lnTo>
                  <a:lnTo>
                    <a:pt x="425" y="131"/>
                  </a:lnTo>
                  <a:lnTo>
                    <a:pt x="459" y="149"/>
                  </a:lnTo>
                  <a:lnTo>
                    <a:pt x="485" y="167"/>
                  </a:lnTo>
                  <a:lnTo>
                    <a:pt x="459" y="186"/>
                  </a:lnTo>
                  <a:lnTo>
                    <a:pt x="412" y="173"/>
                  </a:lnTo>
                  <a:lnTo>
                    <a:pt x="418" y="198"/>
                  </a:lnTo>
                  <a:lnTo>
                    <a:pt x="433" y="210"/>
                  </a:lnTo>
                  <a:lnTo>
                    <a:pt x="433" y="241"/>
                  </a:lnTo>
                  <a:lnTo>
                    <a:pt x="392" y="241"/>
                  </a:lnTo>
                  <a:lnTo>
                    <a:pt x="385" y="266"/>
                  </a:lnTo>
                  <a:lnTo>
                    <a:pt x="385" y="291"/>
                  </a:lnTo>
                  <a:lnTo>
                    <a:pt x="339" y="278"/>
                  </a:lnTo>
                  <a:lnTo>
                    <a:pt x="285" y="266"/>
                  </a:lnTo>
                  <a:lnTo>
                    <a:pt x="239" y="272"/>
                  </a:lnTo>
                  <a:lnTo>
                    <a:pt x="173" y="254"/>
                  </a:lnTo>
                  <a:lnTo>
                    <a:pt x="113" y="254"/>
                  </a:lnTo>
                  <a:lnTo>
                    <a:pt x="60" y="266"/>
                  </a:lnTo>
                  <a:lnTo>
                    <a:pt x="20" y="278"/>
                  </a:lnTo>
                  <a:lnTo>
                    <a:pt x="15" y="271"/>
                  </a:lnTo>
                  <a:lnTo>
                    <a:pt x="11" y="264"/>
                  </a:lnTo>
                  <a:lnTo>
                    <a:pt x="8" y="257"/>
                  </a:lnTo>
                  <a:lnTo>
                    <a:pt x="5" y="251"/>
                  </a:lnTo>
                  <a:lnTo>
                    <a:pt x="3" y="244"/>
                  </a:lnTo>
                  <a:lnTo>
                    <a:pt x="1" y="237"/>
                  </a:lnTo>
                  <a:lnTo>
                    <a:pt x="0" y="229"/>
                  </a:lnTo>
                  <a:lnTo>
                    <a:pt x="0" y="222"/>
                  </a:lnTo>
                  <a:lnTo>
                    <a:pt x="5" y="219"/>
                  </a:lnTo>
                  <a:lnTo>
                    <a:pt x="10" y="214"/>
                  </a:lnTo>
                  <a:lnTo>
                    <a:pt x="14" y="207"/>
                  </a:lnTo>
                  <a:lnTo>
                    <a:pt x="20" y="198"/>
                  </a:lnTo>
                  <a:lnTo>
                    <a:pt x="23" y="189"/>
                  </a:lnTo>
                  <a:lnTo>
                    <a:pt x="27" y="178"/>
                  </a:lnTo>
                  <a:lnTo>
                    <a:pt x="31" y="166"/>
                  </a:lnTo>
                  <a:lnTo>
                    <a:pt x="33" y="155"/>
                  </a:lnTo>
                  <a:lnTo>
                    <a:pt x="41" y="137"/>
                  </a:lnTo>
                  <a:lnTo>
                    <a:pt x="44" y="131"/>
                  </a:lnTo>
                  <a:lnTo>
                    <a:pt x="48" y="126"/>
                  </a:lnTo>
                  <a:lnTo>
                    <a:pt x="54" y="123"/>
                  </a:lnTo>
                  <a:lnTo>
                    <a:pt x="60" y="119"/>
                  </a:lnTo>
                  <a:lnTo>
                    <a:pt x="75" y="115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9" y="106"/>
                  </a:lnTo>
                  <a:lnTo>
                    <a:pt x="91" y="103"/>
                  </a:lnTo>
                  <a:lnTo>
                    <a:pt x="94" y="100"/>
                  </a:lnTo>
                  <a:lnTo>
                    <a:pt x="98" y="97"/>
                  </a:lnTo>
                  <a:lnTo>
                    <a:pt x="101" y="95"/>
                  </a:lnTo>
                  <a:lnTo>
                    <a:pt x="103" y="94"/>
                  </a:lnTo>
                  <a:lnTo>
                    <a:pt x="106" y="93"/>
                  </a:lnTo>
                  <a:lnTo>
                    <a:pt x="106" y="81"/>
                  </a:lnTo>
                  <a:lnTo>
                    <a:pt x="106" y="76"/>
                  </a:lnTo>
                  <a:lnTo>
                    <a:pt x="107" y="72"/>
                  </a:lnTo>
                  <a:lnTo>
                    <a:pt x="109" y="70"/>
                  </a:lnTo>
                  <a:lnTo>
                    <a:pt x="110" y="68"/>
                  </a:lnTo>
                  <a:lnTo>
                    <a:pt x="113" y="67"/>
                  </a:lnTo>
                  <a:lnTo>
                    <a:pt x="117" y="68"/>
                  </a:lnTo>
                  <a:lnTo>
                    <a:pt x="122" y="69"/>
                  </a:lnTo>
                  <a:lnTo>
                    <a:pt x="126" y="69"/>
                  </a:lnTo>
                  <a:lnTo>
                    <a:pt x="128" y="69"/>
                  </a:lnTo>
                  <a:lnTo>
                    <a:pt x="129" y="68"/>
                  </a:lnTo>
                  <a:lnTo>
                    <a:pt x="132" y="66"/>
                  </a:lnTo>
                  <a:lnTo>
                    <a:pt x="133" y="62"/>
                  </a:lnTo>
                  <a:lnTo>
                    <a:pt x="134" y="56"/>
                  </a:lnTo>
                  <a:lnTo>
                    <a:pt x="137" y="48"/>
                  </a:lnTo>
                  <a:lnTo>
                    <a:pt x="139" y="44"/>
                  </a:lnTo>
                  <a:lnTo>
                    <a:pt x="142" y="41"/>
                  </a:lnTo>
                  <a:lnTo>
                    <a:pt x="144" y="39"/>
                  </a:lnTo>
                  <a:lnTo>
                    <a:pt x="146" y="38"/>
                  </a:lnTo>
                  <a:lnTo>
                    <a:pt x="213" y="0"/>
                  </a:lnTo>
                  <a:lnTo>
                    <a:pt x="20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56" name="Freeform 444"/>
            <p:cNvSpPr>
              <a:spLocks/>
            </p:cNvSpPr>
            <p:nvPr>
              <p:custDataLst>
                <p:tags r:id="rId282"/>
              </p:custDataLst>
            </p:nvPr>
          </p:nvSpPr>
          <p:spPr bwMode="auto">
            <a:xfrm>
              <a:off x="6481263" y="2899659"/>
              <a:ext cx="81394" cy="86027"/>
            </a:xfrm>
            <a:custGeom>
              <a:avLst/>
              <a:gdLst>
                <a:gd name="T0" fmla="*/ 86 w 186"/>
                <a:gd name="T1" fmla="*/ 147 h 166"/>
                <a:gd name="T2" fmla="*/ 83 w 186"/>
                <a:gd name="T3" fmla="*/ 136 h 166"/>
                <a:gd name="T4" fmla="*/ 78 w 186"/>
                <a:gd name="T5" fmla="*/ 127 h 166"/>
                <a:gd name="T6" fmla="*/ 74 w 186"/>
                <a:gd name="T7" fmla="*/ 118 h 166"/>
                <a:gd name="T8" fmla="*/ 70 w 186"/>
                <a:gd name="T9" fmla="*/ 110 h 166"/>
                <a:gd name="T10" fmla="*/ 60 w 186"/>
                <a:gd name="T11" fmla="*/ 95 h 166"/>
                <a:gd name="T12" fmla="*/ 49 w 186"/>
                <a:gd name="T13" fmla="*/ 82 h 166"/>
                <a:gd name="T14" fmla="*/ 37 w 186"/>
                <a:gd name="T15" fmla="*/ 70 h 166"/>
                <a:gd name="T16" fmla="*/ 25 w 186"/>
                <a:gd name="T17" fmla="*/ 56 h 166"/>
                <a:gd name="T18" fmla="*/ 13 w 186"/>
                <a:gd name="T19" fmla="*/ 38 h 166"/>
                <a:gd name="T20" fmla="*/ 0 w 186"/>
                <a:gd name="T21" fmla="*/ 18 h 166"/>
                <a:gd name="T22" fmla="*/ 0 w 186"/>
                <a:gd name="T23" fmla="*/ 0 h 166"/>
                <a:gd name="T24" fmla="*/ 7 w 186"/>
                <a:gd name="T25" fmla="*/ 2 h 166"/>
                <a:gd name="T26" fmla="*/ 14 w 186"/>
                <a:gd name="T27" fmla="*/ 3 h 166"/>
                <a:gd name="T28" fmla="*/ 20 w 186"/>
                <a:gd name="T29" fmla="*/ 4 h 166"/>
                <a:gd name="T30" fmla="*/ 27 w 186"/>
                <a:gd name="T31" fmla="*/ 4 h 166"/>
                <a:gd name="T32" fmla="*/ 33 w 186"/>
                <a:gd name="T33" fmla="*/ 4 h 166"/>
                <a:gd name="T34" fmla="*/ 40 w 186"/>
                <a:gd name="T35" fmla="*/ 3 h 166"/>
                <a:gd name="T36" fmla="*/ 47 w 186"/>
                <a:gd name="T37" fmla="*/ 2 h 166"/>
                <a:gd name="T38" fmla="*/ 53 w 186"/>
                <a:gd name="T39" fmla="*/ 0 h 166"/>
                <a:gd name="T40" fmla="*/ 140 w 186"/>
                <a:gd name="T41" fmla="*/ 12 h 166"/>
                <a:gd name="T42" fmla="*/ 186 w 186"/>
                <a:gd name="T43" fmla="*/ 91 h 166"/>
                <a:gd name="T44" fmla="*/ 171 w 186"/>
                <a:gd name="T45" fmla="*/ 112 h 166"/>
                <a:gd name="T46" fmla="*/ 155 w 186"/>
                <a:gd name="T47" fmla="*/ 129 h 166"/>
                <a:gd name="T48" fmla="*/ 149 w 186"/>
                <a:gd name="T49" fmla="*/ 137 h 166"/>
                <a:gd name="T50" fmla="*/ 144 w 186"/>
                <a:gd name="T51" fmla="*/ 145 h 166"/>
                <a:gd name="T52" fmla="*/ 142 w 186"/>
                <a:gd name="T53" fmla="*/ 150 h 166"/>
                <a:gd name="T54" fmla="*/ 141 w 186"/>
                <a:gd name="T55" fmla="*/ 156 h 166"/>
                <a:gd name="T56" fmla="*/ 140 w 186"/>
                <a:gd name="T57" fmla="*/ 161 h 166"/>
                <a:gd name="T58" fmla="*/ 140 w 186"/>
                <a:gd name="T59" fmla="*/ 166 h 166"/>
                <a:gd name="T60" fmla="*/ 86 w 186"/>
                <a:gd name="T61" fmla="*/ 147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6" h="166">
                  <a:moveTo>
                    <a:pt x="86" y="147"/>
                  </a:moveTo>
                  <a:lnTo>
                    <a:pt x="83" y="136"/>
                  </a:lnTo>
                  <a:lnTo>
                    <a:pt x="78" y="127"/>
                  </a:lnTo>
                  <a:lnTo>
                    <a:pt x="74" y="118"/>
                  </a:lnTo>
                  <a:lnTo>
                    <a:pt x="70" y="110"/>
                  </a:lnTo>
                  <a:lnTo>
                    <a:pt x="60" y="95"/>
                  </a:lnTo>
                  <a:lnTo>
                    <a:pt x="49" y="82"/>
                  </a:lnTo>
                  <a:lnTo>
                    <a:pt x="37" y="70"/>
                  </a:lnTo>
                  <a:lnTo>
                    <a:pt x="25" y="56"/>
                  </a:lnTo>
                  <a:lnTo>
                    <a:pt x="13" y="3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2"/>
                  </a:lnTo>
                  <a:lnTo>
                    <a:pt x="14" y="3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40" y="3"/>
                  </a:lnTo>
                  <a:lnTo>
                    <a:pt x="47" y="2"/>
                  </a:lnTo>
                  <a:lnTo>
                    <a:pt x="53" y="0"/>
                  </a:lnTo>
                  <a:lnTo>
                    <a:pt x="140" y="12"/>
                  </a:lnTo>
                  <a:lnTo>
                    <a:pt x="186" y="91"/>
                  </a:lnTo>
                  <a:lnTo>
                    <a:pt x="171" y="112"/>
                  </a:lnTo>
                  <a:lnTo>
                    <a:pt x="155" y="129"/>
                  </a:lnTo>
                  <a:lnTo>
                    <a:pt x="149" y="137"/>
                  </a:lnTo>
                  <a:lnTo>
                    <a:pt x="144" y="145"/>
                  </a:lnTo>
                  <a:lnTo>
                    <a:pt x="142" y="150"/>
                  </a:lnTo>
                  <a:lnTo>
                    <a:pt x="141" y="156"/>
                  </a:lnTo>
                  <a:lnTo>
                    <a:pt x="140" y="161"/>
                  </a:lnTo>
                  <a:lnTo>
                    <a:pt x="140" y="166"/>
                  </a:lnTo>
                  <a:lnTo>
                    <a:pt x="86" y="14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898" name="Freeform 445"/>
            <p:cNvSpPr>
              <a:spLocks/>
            </p:cNvSpPr>
            <p:nvPr>
              <p:custDataLst>
                <p:tags r:id="rId283"/>
              </p:custDataLst>
            </p:nvPr>
          </p:nvSpPr>
          <p:spPr bwMode="auto">
            <a:xfrm>
              <a:off x="4845682" y="4335902"/>
              <a:ext cx="82550" cy="57150"/>
            </a:xfrm>
            <a:custGeom>
              <a:avLst/>
              <a:gdLst>
                <a:gd name="T0" fmla="*/ 2147483647 w 186"/>
                <a:gd name="T1" fmla="*/ 2147483647 h 104"/>
                <a:gd name="T2" fmla="*/ 2147483647 w 186"/>
                <a:gd name="T3" fmla="*/ 2147483647 h 104"/>
                <a:gd name="T4" fmla="*/ 2147483647 w 186"/>
                <a:gd name="T5" fmla="*/ 2147483647 h 104"/>
                <a:gd name="T6" fmla="*/ 2147483647 w 186"/>
                <a:gd name="T7" fmla="*/ 2147483647 h 104"/>
                <a:gd name="T8" fmla="*/ 2147483647 w 186"/>
                <a:gd name="T9" fmla="*/ 2147483647 h 104"/>
                <a:gd name="T10" fmla="*/ 2147483647 w 186"/>
                <a:gd name="T11" fmla="*/ 2147483647 h 104"/>
                <a:gd name="T12" fmla="*/ 2147483647 w 186"/>
                <a:gd name="T13" fmla="*/ 2147483647 h 104"/>
                <a:gd name="T14" fmla="*/ 2147483647 w 186"/>
                <a:gd name="T15" fmla="*/ 2147483647 h 104"/>
                <a:gd name="T16" fmla="*/ 2147483647 w 186"/>
                <a:gd name="T17" fmla="*/ 2147483647 h 104"/>
                <a:gd name="T18" fmla="*/ 2147483647 w 186"/>
                <a:gd name="T19" fmla="*/ 2147483647 h 104"/>
                <a:gd name="T20" fmla="*/ 2147483647 w 186"/>
                <a:gd name="T21" fmla="*/ 2147483647 h 104"/>
                <a:gd name="T22" fmla="*/ 2147483647 w 186"/>
                <a:gd name="T23" fmla="*/ 2147483647 h 104"/>
                <a:gd name="T24" fmla="*/ 2147483647 w 186"/>
                <a:gd name="T25" fmla="*/ 2147483647 h 104"/>
                <a:gd name="T26" fmla="*/ 2147483647 w 186"/>
                <a:gd name="T27" fmla="*/ 0 h 104"/>
                <a:gd name="T28" fmla="*/ 2147483647 w 186"/>
                <a:gd name="T29" fmla="*/ 0 h 104"/>
                <a:gd name="T30" fmla="*/ 2147483647 w 186"/>
                <a:gd name="T31" fmla="*/ 2147483647 h 104"/>
                <a:gd name="T32" fmla="*/ 2147483647 w 186"/>
                <a:gd name="T33" fmla="*/ 2147483647 h 104"/>
                <a:gd name="T34" fmla="*/ 2147483647 w 186"/>
                <a:gd name="T35" fmla="*/ 2147483647 h 104"/>
                <a:gd name="T36" fmla="*/ 2147483647 w 186"/>
                <a:gd name="T37" fmla="*/ 2147483647 h 104"/>
                <a:gd name="T38" fmla="*/ 2147483647 w 186"/>
                <a:gd name="T39" fmla="*/ 2147483647 h 104"/>
                <a:gd name="T40" fmla="*/ 2147483647 w 186"/>
                <a:gd name="T41" fmla="*/ 2147483647 h 104"/>
                <a:gd name="T42" fmla="*/ 2147483647 w 186"/>
                <a:gd name="T43" fmla="*/ 2147483647 h 104"/>
                <a:gd name="T44" fmla="*/ 2147483647 w 186"/>
                <a:gd name="T45" fmla="*/ 2147483647 h 104"/>
                <a:gd name="T46" fmla="*/ 2147483647 w 186"/>
                <a:gd name="T47" fmla="*/ 2147483647 h 104"/>
                <a:gd name="T48" fmla="*/ 0 w 186"/>
                <a:gd name="T49" fmla="*/ 2147483647 h 104"/>
                <a:gd name="T50" fmla="*/ 2147483647 w 186"/>
                <a:gd name="T51" fmla="*/ 2147483647 h 104"/>
                <a:gd name="T52" fmla="*/ 2147483647 w 186"/>
                <a:gd name="T53" fmla="*/ 2147483647 h 104"/>
                <a:gd name="T54" fmla="*/ 2147483647 w 186"/>
                <a:gd name="T55" fmla="*/ 2147483647 h 104"/>
                <a:gd name="T56" fmla="*/ 2147483647 w 186"/>
                <a:gd name="T57" fmla="*/ 2147483647 h 104"/>
                <a:gd name="T58" fmla="*/ 2147483647 w 186"/>
                <a:gd name="T59" fmla="*/ 2147483647 h 104"/>
                <a:gd name="T60" fmla="*/ 2147483647 w 186"/>
                <a:gd name="T61" fmla="*/ 2147483647 h 104"/>
                <a:gd name="T62" fmla="*/ 2147483647 w 186"/>
                <a:gd name="T63" fmla="*/ 2147483647 h 104"/>
                <a:gd name="T64" fmla="*/ 2147483647 w 186"/>
                <a:gd name="T65" fmla="*/ 2147483647 h 104"/>
                <a:gd name="T66" fmla="*/ 2147483647 w 186"/>
                <a:gd name="T67" fmla="*/ 2147483647 h 104"/>
                <a:gd name="T68" fmla="*/ 2147483647 w 186"/>
                <a:gd name="T69" fmla="*/ 2147483647 h 104"/>
                <a:gd name="T70" fmla="*/ 2147483647 w 186"/>
                <a:gd name="T71" fmla="*/ 2147483647 h 104"/>
                <a:gd name="T72" fmla="*/ 2147483647 w 186"/>
                <a:gd name="T73" fmla="*/ 2147483647 h 104"/>
                <a:gd name="T74" fmla="*/ 2147483647 w 186"/>
                <a:gd name="T75" fmla="*/ 2147483647 h 104"/>
                <a:gd name="T76" fmla="*/ 2147483647 w 186"/>
                <a:gd name="T77" fmla="*/ 2147483647 h 104"/>
                <a:gd name="T78" fmla="*/ 2147483647 w 186"/>
                <a:gd name="T79" fmla="*/ 2147483647 h 104"/>
                <a:gd name="T80" fmla="*/ 2147483647 w 186"/>
                <a:gd name="T81" fmla="*/ 2147483647 h 104"/>
                <a:gd name="T82" fmla="*/ 2147483647 w 186"/>
                <a:gd name="T83" fmla="*/ 2147483647 h 104"/>
                <a:gd name="T84" fmla="*/ 2147483647 w 186"/>
                <a:gd name="T85" fmla="*/ 2147483647 h 104"/>
                <a:gd name="T86" fmla="*/ 2147483647 w 186"/>
                <a:gd name="T87" fmla="*/ 2147483647 h 104"/>
                <a:gd name="T88" fmla="*/ 2147483647 w 186"/>
                <a:gd name="T89" fmla="*/ 2147483647 h 104"/>
                <a:gd name="T90" fmla="*/ 2147483647 w 186"/>
                <a:gd name="T91" fmla="*/ 2147483647 h 104"/>
                <a:gd name="T92" fmla="*/ 2147483647 w 186"/>
                <a:gd name="T93" fmla="*/ 2147483647 h 104"/>
                <a:gd name="T94" fmla="*/ 2147483647 w 186"/>
                <a:gd name="T95" fmla="*/ 2147483647 h 104"/>
                <a:gd name="T96" fmla="*/ 2147483647 w 186"/>
                <a:gd name="T97" fmla="*/ 2147483647 h 10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86" h="104">
                  <a:moveTo>
                    <a:pt x="153" y="21"/>
                  </a:moveTo>
                  <a:lnTo>
                    <a:pt x="146" y="21"/>
                  </a:lnTo>
                  <a:lnTo>
                    <a:pt x="141" y="20"/>
                  </a:lnTo>
                  <a:lnTo>
                    <a:pt x="136" y="18"/>
                  </a:lnTo>
                  <a:lnTo>
                    <a:pt x="133" y="15"/>
                  </a:lnTo>
                  <a:lnTo>
                    <a:pt x="130" y="13"/>
                  </a:lnTo>
                  <a:lnTo>
                    <a:pt x="125" y="11"/>
                  </a:lnTo>
                  <a:lnTo>
                    <a:pt x="120" y="10"/>
                  </a:lnTo>
                  <a:lnTo>
                    <a:pt x="113" y="9"/>
                  </a:lnTo>
                  <a:lnTo>
                    <a:pt x="100" y="8"/>
                  </a:lnTo>
                  <a:lnTo>
                    <a:pt x="88" y="6"/>
                  </a:lnTo>
                  <a:lnTo>
                    <a:pt x="75" y="3"/>
                  </a:lnTo>
                  <a:lnTo>
                    <a:pt x="64" y="1"/>
                  </a:lnTo>
                  <a:lnTo>
                    <a:pt x="60" y="0"/>
                  </a:lnTo>
                  <a:lnTo>
                    <a:pt x="54" y="0"/>
                  </a:lnTo>
                  <a:lnTo>
                    <a:pt x="51" y="1"/>
                  </a:lnTo>
                  <a:lnTo>
                    <a:pt x="46" y="2"/>
                  </a:lnTo>
                  <a:lnTo>
                    <a:pt x="44" y="4"/>
                  </a:lnTo>
                  <a:lnTo>
                    <a:pt x="42" y="6"/>
                  </a:lnTo>
                  <a:lnTo>
                    <a:pt x="41" y="10"/>
                  </a:lnTo>
                  <a:lnTo>
                    <a:pt x="40" y="15"/>
                  </a:lnTo>
                  <a:lnTo>
                    <a:pt x="34" y="27"/>
                  </a:lnTo>
                  <a:lnTo>
                    <a:pt x="20" y="47"/>
                  </a:lnTo>
                  <a:lnTo>
                    <a:pt x="7" y="66"/>
                  </a:lnTo>
                  <a:lnTo>
                    <a:pt x="0" y="77"/>
                  </a:lnTo>
                  <a:lnTo>
                    <a:pt x="8" y="77"/>
                  </a:lnTo>
                  <a:lnTo>
                    <a:pt x="16" y="78"/>
                  </a:lnTo>
                  <a:lnTo>
                    <a:pt x="21" y="79"/>
                  </a:lnTo>
                  <a:lnTo>
                    <a:pt x="25" y="81"/>
                  </a:lnTo>
                  <a:lnTo>
                    <a:pt x="33" y="85"/>
                  </a:lnTo>
                  <a:lnTo>
                    <a:pt x="40" y="89"/>
                  </a:lnTo>
                  <a:lnTo>
                    <a:pt x="45" y="94"/>
                  </a:lnTo>
                  <a:lnTo>
                    <a:pt x="52" y="98"/>
                  </a:lnTo>
                  <a:lnTo>
                    <a:pt x="56" y="100"/>
                  </a:lnTo>
                  <a:lnTo>
                    <a:pt x="61" y="101"/>
                  </a:lnTo>
                  <a:lnTo>
                    <a:pt x="66" y="102"/>
                  </a:lnTo>
                  <a:lnTo>
                    <a:pt x="74" y="102"/>
                  </a:lnTo>
                  <a:lnTo>
                    <a:pt x="107" y="103"/>
                  </a:lnTo>
                  <a:lnTo>
                    <a:pt x="131" y="104"/>
                  </a:lnTo>
                  <a:lnTo>
                    <a:pt x="135" y="103"/>
                  </a:lnTo>
                  <a:lnTo>
                    <a:pt x="139" y="102"/>
                  </a:lnTo>
                  <a:lnTo>
                    <a:pt x="142" y="100"/>
                  </a:lnTo>
                  <a:lnTo>
                    <a:pt x="145" y="97"/>
                  </a:lnTo>
                  <a:lnTo>
                    <a:pt x="147" y="94"/>
                  </a:lnTo>
                  <a:lnTo>
                    <a:pt x="150" y="88"/>
                  </a:lnTo>
                  <a:lnTo>
                    <a:pt x="152" y="83"/>
                  </a:lnTo>
                  <a:lnTo>
                    <a:pt x="153" y="77"/>
                  </a:lnTo>
                  <a:lnTo>
                    <a:pt x="186" y="27"/>
                  </a:lnTo>
                  <a:lnTo>
                    <a:pt x="153" y="21"/>
                  </a:lnTo>
                </a:path>
              </a:pathLst>
            </a:custGeom>
            <a:solidFill>
              <a:srgbClr val="19194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58" name="Freeform 446"/>
            <p:cNvSpPr>
              <a:spLocks/>
            </p:cNvSpPr>
            <p:nvPr>
              <p:custDataLst>
                <p:tags r:id="rId284"/>
              </p:custDataLst>
            </p:nvPr>
          </p:nvSpPr>
          <p:spPr bwMode="auto">
            <a:xfrm>
              <a:off x="6639262" y="2933395"/>
              <a:ext cx="134059" cy="97834"/>
            </a:xfrm>
            <a:custGeom>
              <a:avLst/>
              <a:gdLst>
                <a:gd name="T0" fmla="*/ 79 w 311"/>
                <a:gd name="T1" fmla="*/ 38 h 179"/>
                <a:gd name="T2" fmla="*/ 115 w 311"/>
                <a:gd name="T3" fmla="*/ 26 h 179"/>
                <a:gd name="T4" fmla="*/ 148 w 311"/>
                <a:gd name="T5" fmla="*/ 14 h 179"/>
                <a:gd name="T6" fmla="*/ 178 w 311"/>
                <a:gd name="T7" fmla="*/ 4 h 179"/>
                <a:gd name="T8" fmla="*/ 211 w 311"/>
                <a:gd name="T9" fmla="*/ 0 h 179"/>
                <a:gd name="T10" fmla="*/ 236 w 311"/>
                <a:gd name="T11" fmla="*/ 2 h 179"/>
                <a:gd name="T12" fmla="*/ 256 w 311"/>
                <a:gd name="T13" fmla="*/ 6 h 179"/>
                <a:gd name="T14" fmla="*/ 292 w 311"/>
                <a:gd name="T15" fmla="*/ 12 h 179"/>
                <a:gd name="T16" fmla="*/ 287 w 311"/>
                <a:gd name="T17" fmla="*/ 28 h 179"/>
                <a:gd name="T18" fmla="*/ 278 w 311"/>
                <a:gd name="T19" fmla="*/ 42 h 179"/>
                <a:gd name="T20" fmla="*/ 269 w 311"/>
                <a:gd name="T21" fmla="*/ 53 h 179"/>
                <a:gd name="T22" fmla="*/ 265 w 311"/>
                <a:gd name="T23" fmla="*/ 62 h 179"/>
                <a:gd name="T24" fmla="*/ 266 w 311"/>
                <a:gd name="T25" fmla="*/ 66 h 179"/>
                <a:gd name="T26" fmla="*/ 271 w 311"/>
                <a:gd name="T27" fmla="*/ 71 h 179"/>
                <a:gd name="T28" fmla="*/ 285 w 311"/>
                <a:gd name="T29" fmla="*/ 79 h 179"/>
                <a:gd name="T30" fmla="*/ 311 w 311"/>
                <a:gd name="T31" fmla="*/ 93 h 179"/>
                <a:gd name="T32" fmla="*/ 287 w 311"/>
                <a:gd name="T33" fmla="*/ 107 h 179"/>
                <a:gd name="T34" fmla="*/ 281 w 311"/>
                <a:gd name="T35" fmla="*/ 115 h 179"/>
                <a:gd name="T36" fmla="*/ 278 w 311"/>
                <a:gd name="T37" fmla="*/ 129 h 179"/>
                <a:gd name="T38" fmla="*/ 252 w 311"/>
                <a:gd name="T39" fmla="*/ 136 h 179"/>
                <a:gd name="T40" fmla="*/ 211 w 311"/>
                <a:gd name="T41" fmla="*/ 148 h 179"/>
                <a:gd name="T42" fmla="*/ 191 w 311"/>
                <a:gd name="T43" fmla="*/ 168 h 179"/>
                <a:gd name="T44" fmla="*/ 178 w 311"/>
                <a:gd name="T45" fmla="*/ 176 h 179"/>
                <a:gd name="T46" fmla="*/ 165 w 311"/>
                <a:gd name="T47" fmla="*/ 179 h 179"/>
                <a:gd name="T48" fmla="*/ 151 w 311"/>
                <a:gd name="T49" fmla="*/ 175 h 179"/>
                <a:gd name="T50" fmla="*/ 137 w 311"/>
                <a:gd name="T51" fmla="*/ 167 h 179"/>
                <a:gd name="T52" fmla="*/ 120 w 311"/>
                <a:gd name="T53" fmla="*/ 158 h 179"/>
                <a:gd name="T54" fmla="*/ 98 w 311"/>
                <a:gd name="T55" fmla="*/ 155 h 179"/>
                <a:gd name="T56" fmla="*/ 66 w 311"/>
                <a:gd name="T57" fmla="*/ 155 h 179"/>
                <a:gd name="T58" fmla="*/ 51 w 311"/>
                <a:gd name="T59" fmla="*/ 157 h 179"/>
                <a:gd name="T60" fmla="*/ 39 w 311"/>
                <a:gd name="T61" fmla="*/ 161 h 179"/>
                <a:gd name="T62" fmla="*/ 36 w 311"/>
                <a:gd name="T63" fmla="*/ 142 h 179"/>
                <a:gd name="T64" fmla="*/ 32 w 311"/>
                <a:gd name="T65" fmla="*/ 123 h 179"/>
                <a:gd name="T66" fmla="*/ 21 w 311"/>
                <a:gd name="T67" fmla="*/ 128 h 179"/>
                <a:gd name="T68" fmla="*/ 13 w 311"/>
                <a:gd name="T69" fmla="*/ 129 h 179"/>
                <a:gd name="T70" fmla="*/ 7 w 311"/>
                <a:gd name="T71" fmla="*/ 126 h 179"/>
                <a:gd name="T72" fmla="*/ 3 w 311"/>
                <a:gd name="T73" fmla="*/ 121 h 179"/>
                <a:gd name="T74" fmla="*/ 0 w 311"/>
                <a:gd name="T75" fmla="*/ 105 h 179"/>
                <a:gd name="T76" fmla="*/ 0 w 311"/>
                <a:gd name="T77" fmla="*/ 87 h 179"/>
                <a:gd name="T78" fmla="*/ 3 w 311"/>
                <a:gd name="T79" fmla="*/ 82 h 179"/>
                <a:gd name="T80" fmla="*/ 13 w 311"/>
                <a:gd name="T81" fmla="*/ 78 h 179"/>
                <a:gd name="T82" fmla="*/ 21 w 311"/>
                <a:gd name="T83" fmla="*/ 72 h 179"/>
                <a:gd name="T84" fmla="*/ 25 w 311"/>
                <a:gd name="T85" fmla="*/ 68 h 179"/>
                <a:gd name="T86" fmla="*/ 26 w 311"/>
                <a:gd name="T87" fmla="*/ 62 h 179"/>
                <a:gd name="T88" fmla="*/ 24 w 311"/>
                <a:gd name="T89" fmla="*/ 51 h 179"/>
                <a:gd name="T90" fmla="*/ 19 w 311"/>
                <a:gd name="T91" fmla="*/ 43 h 179"/>
                <a:gd name="T92" fmla="*/ 8 w 311"/>
                <a:gd name="T93" fmla="*/ 29 h 179"/>
                <a:gd name="T94" fmla="*/ 1 w 311"/>
                <a:gd name="T95" fmla="*/ 18 h 179"/>
                <a:gd name="T96" fmla="*/ 1 w 311"/>
                <a:gd name="T97" fmla="*/ 13 h 179"/>
                <a:gd name="T98" fmla="*/ 6 w 311"/>
                <a:gd name="T99" fmla="*/ 6 h 179"/>
                <a:gd name="T100" fmla="*/ 0 w 311"/>
                <a:gd name="T101" fmla="*/ 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11" h="179">
                  <a:moveTo>
                    <a:pt x="0" y="6"/>
                  </a:moveTo>
                  <a:lnTo>
                    <a:pt x="79" y="38"/>
                  </a:lnTo>
                  <a:lnTo>
                    <a:pt x="97" y="33"/>
                  </a:lnTo>
                  <a:lnTo>
                    <a:pt x="115" y="26"/>
                  </a:lnTo>
                  <a:lnTo>
                    <a:pt x="132" y="20"/>
                  </a:lnTo>
                  <a:lnTo>
                    <a:pt x="148" y="14"/>
                  </a:lnTo>
                  <a:lnTo>
                    <a:pt x="163" y="9"/>
                  </a:lnTo>
                  <a:lnTo>
                    <a:pt x="178" y="4"/>
                  </a:lnTo>
                  <a:lnTo>
                    <a:pt x="195" y="1"/>
                  </a:lnTo>
                  <a:lnTo>
                    <a:pt x="211" y="0"/>
                  </a:lnTo>
                  <a:lnTo>
                    <a:pt x="224" y="1"/>
                  </a:lnTo>
                  <a:lnTo>
                    <a:pt x="236" y="2"/>
                  </a:lnTo>
                  <a:lnTo>
                    <a:pt x="247" y="4"/>
                  </a:lnTo>
                  <a:lnTo>
                    <a:pt x="256" y="6"/>
                  </a:lnTo>
                  <a:lnTo>
                    <a:pt x="275" y="10"/>
                  </a:lnTo>
                  <a:lnTo>
                    <a:pt x="292" y="12"/>
                  </a:lnTo>
                  <a:lnTo>
                    <a:pt x="290" y="21"/>
                  </a:lnTo>
                  <a:lnTo>
                    <a:pt x="287" y="28"/>
                  </a:lnTo>
                  <a:lnTo>
                    <a:pt x="283" y="36"/>
                  </a:lnTo>
                  <a:lnTo>
                    <a:pt x="278" y="42"/>
                  </a:lnTo>
                  <a:lnTo>
                    <a:pt x="273" y="48"/>
                  </a:lnTo>
                  <a:lnTo>
                    <a:pt x="269" y="53"/>
                  </a:lnTo>
                  <a:lnTo>
                    <a:pt x="266" y="57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6" y="66"/>
                  </a:lnTo>
                  <a:lnTo>
                    <a:pt x="269" y="69"/>
                  </a:lnTo>
                  <a:lnTo>
                    <a:pt x="271" y="71"/>
                  </a:lnTo>
                  <a:lnTo>
                    <a:pt x="277" y="75"/>
                  </a:lnTo>
                  <a:lnTo>
                    <a:pt x="285" y="79"/>
                  </a:lnTo>
                  <a:lnTo>
                    <a:pt x="301" y="87"/>
                  </a:lnTo>
                  <a:lnTo>
                    <a:pt x="311" y="93"/>
                  </a:lnTo>
                  <a:lnTo>
                    <a:pt x="298" y="100"/>
                  </a:lnTo>
                  <a:lnTo>
                    <a:pt x="287" y="107"/>
                  </a:lnTo>
                  <a:lnTo>
                    <a:pt x="283" y="110"/>
                  </a:lnTo>
                  <a:lnTo>
                    <a:pt x="281" y="115"/>
                  </a:lnTo>
                  <a:lnTo>
                    <a:pt x="278" y="121"/>
                  </a:lnTo>
                  <a:lnTo>
                    <a:pt x="278" y="129"/>
                  </a:lnTo>
                  <a:lnTo>
                    <a:pt x="271" y="131"/>
                  </a:lnTo>
                  <a:lnTo>
                    <a:pt x="252" y="136"/>
                  </a:lnTo>
                  <a:lnTo>
                    <a:pt x="230" y="143"/>
                  </a:lnTo>
                  <a:lnTo>
                    <a:pt x="211" y="148"/>
                  </a:lnTo>
                  <a:lnTo>
                    <a:pt x="202" y="158"/>
                  </a:lnTo>
                  <a:lnTo>
                    <a:pt x="191" y="168"/>
                  </a:lnTo>
                  <a:lnTo>
                    <a:pt x="185" y="172"/>
                  </a:lnTo>
                  <a:lnTo>
                    <a:pt x="178" y="176"/>
                  </a:lnTo>
                  <a:lnTo>
                    <a:pt x="172" y="178"/>
                  </a:lnTo>
                  <a:lnTo>
                    <a:pt x="165" y="179"/>
                  </a:lnTo>
                  <a:lnTo>
                    <a:pt x="158" y="178"/>
                  </a:lnTo>
                  <a:lnTo>
                    <a:pt x="151" y="175"/>
                  </a:lnTo>
                  <a:lnTo>
                    <a:pt x="144" y="171"/>
                  </a:lnTo>
                  <a:lnTo>
                    <a:pt x="137" y="167"/>
                  </a:lnTo>
                  <a:lnTo>
                    <a:pt x="129" y="162"/>
                  </a:lnTo>
                  <a:lnTo>
                    <a:pt x="120" y="158"/>
                  </a:lnTo>
                  <a:lnTo>
                    <a:pt x="110" y="156"/>
                  </a:lnTo>
                  <a:lnTo>
                    <a:pt x="98" y="155"/>
                  </a:lnTo>
                  <a:lnTo>
                    <a:pt x="83" y="155"/>
                  </a:lnTo>
                  <a:lnTo>
                    <a:pt x="66" y="155"/>
                  </a:lnTo>
                  <a:lnTo>
                    <a:pt x="59" y="156"/>
                  </a:lnTo>
                  <a:lnTo>
                    <a:pt x="51" y="157"/>
                  </a:lnTo>
                  <a:lnTo>
                    <a:pt x="45" y="159"/>
                  </a:lnTo>
                  <a:lnTo>
                    <a:pt x="39" y="161"/>
                  </a:lnTo>
                  <a:lnTo>
                    <a:pt x="38" y="151"/>
                  </a:lnTo>
                  <a:lnTo>
                    <a:pt x="36" y="142"/>
                  </a:lnTo>
                  <a:lnTo>
                    <a:pt x="34" y="132"/>
                  </a:lnTo>
                  <a:lnTo>
                    <a:pt x="32" y="123"/>
                  </a:lnTo>
                  <a:lnTo>
                    <a:pt x="26" y="126"/>
                  </a:lnTo>
                  <a:lnTo>
                    <a:pt x="21" y="128"/>
                  </a:lnTo>
                  <a:lnTo>
                    <a:pt x="17" y="129"/>
                  </a:lnTo>
                  <a:lnTo>
                    <a:pt x="13" y="129"/>
                  </a:lnTo>
                  <a:lnTo>
                    <a:pt x="9" y="128"/>
                  </a:lnTo>
                  <a:lnTo>
                    <a:pt x="7" y="126"/>
                  </a:lnTo>
                  <a:lnTo>
                    <a:pt x="5" y="124"/>
                  </a:lnTo>
                  <a:lnTo>
                    <a:pt x="3" y="121"/>
                  </a:lnTo>
                  <a:lnTo>
                    <a:pt x="1" y="114"/>
                  </a:lnTo>
                  <a:lnTo>
                    <a:pt x="0" y="105"/>
                  </a:lnTo>
                  <a:lnTo>
                    <a:pt x="0" y="96"/>
                  </a:lnTo>
                  <a:lnTo>
                    <a:pt x="0" y="87"/>
                  </a:lnTo>
                  <a:lnTo>
                    <a:pt x="1" y="84"/>
                  </a:lnTo>
                  <a:lnTo>
                    <a:pt x="3" y="82"/>
                  </a:lnTo>
                  <a:lnTo>
                    <a:pt x="7" y="80"/>
                  </a:lnTo>
                  <a:lnTo>
                    <a:pt x="13" y="78"/>
                  </a:lnTo>
                  <a:lnTo>
                    <a:pt x="17" y="76"/>
                  </a:lnTo>
                  <a:lnTo>
                    <a:pt x="21" y="72"/>
                  </a:lnTo>
                  <a:lnTo>
                    <a:pt x="23" y="70"/>
                  </a:lnTo>
                  <a:lnTo>
                    <a:pt x="25" y="68"/>
                  </a:lnTo>
                  <a:lnTo>
                    <a:pt x="25" y="65"/>
                  </a:lnTo>
                  <a:lnTo>
                    <a:pt x="26" y="62"/>
                  </a:lnTo>
                  <a:lnTo>
                    <a:pt x="25" y="56"/>
                  </a:lnTo>
                  <a:lnTo>
                    <a:pt x="24" y="51"/>
                  </a:lnTo>
                  <a:lnTo>
                    <a:pt x="21" y="47"/>
                  </a:lnTo>
                  <a:lnTo>
                    <a:pt x="19" y="43"/>
                  </a:lnTo>
                  <a:lnTo>
                    <a:pt x="14" y="36"/>
                  </a:lnTo>
                  <a:lnTo>
                    <a:pt x="8" y="29"/>
                  </a:lnTo>
                  <a:lnTo>
                    <a:pt x="3" y="24"/>
                  </a:lnTo>
                  <a:lnTo>
                    <a:pt x="1" y="18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3" y="6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00" name="Freeform 447"/>
            <p:cNvSpPr>
              <a:spLocks/>
            </p:cNvSpPr>
            <p:nvPr>
              <p:custDataLst>
                <p:tags r:id="rId285"/>
              </p:custDataLst>
            </p:nvPr>
          </p:nvSpPr>
          <p:spPr bwMode="auto">
            <a:xfrm>
              <a:off x="5995032" y="3861239"/>
              <a:ext cx="177800" cy="165100"/>
            </a:xfrm>
            <a:custGeom>
              <a:avLst/>
              <a:gdLst>
                <a:gd name="T0" fmla="*/ 2147483647 w 405"/>
                <a:gd name="T1" fmla="*/ 2147483647 h 314"/>
                <a:gd name="T2" fmla="*/ 2147483647 w 405"/>
                <a:gd name="T3" fmla="*/ 2147483647 h 314"/>
                <a:gd name="T4" fmla="*/ 2147483647 w 405"/>
                <a:gd name="T5" fmla="*/ 2147483647 h 314"/>
                <a:gd name="T6" fmla="*/ 2147483647 w 405"/>
                <a:gd name="T7" fmla="*/ 2147483647 h 314"/>
                <a:gd name="T8" fmla="*/ 2147483647 w 405"/>
                <a:gd name="T9" fmla="*/ 2147483647 h 314"/>
                <a:gd name="T10" fmla="*/ 2147483647 w 405"/>
                <a:gd name="T11" fmla="*/ 2147483647 h 314"/>
                <a:gd name="T12" fmla="*/ 2147483647 w 405"/>
                <a:gd name="T13" fmla="*/ 2147483647 h 314"/>
                <a:gd name="T14" fmla="*/ 2147483647 w 405"/>
                <a:gd name="T15" fmla="*/ 2147483647 h 314"/>
                <a:gd name="T16" fmla="*/ 2147483647 w 405"/>
                <a:gd name="T17" fmla="*/ 2147483647 h 314"/>
                <a:gd name="T18" fmla="*/ 2147483647 w 405"/>
                <a:gd name="T19" fmla="*/ 2147483647 h 314"/>
                <a:gd name="T20" fmla="*/ 2147483647 w 405"/>
                <a:gd name="T21" fmla="*/ 2147483647 h 314"/>
                <a:gd name="T22" fmla="*/ 2147483647 w 405"/>
                <a:gd name="T23" fmla="*/ 2147483647 h 314"/>
                <a:gd name="T24" fmla="*/ 2147483647 w 405"/>
                <a:gd name="T25" fmla="*/ 2147483647 h 314"/>
                <a:gd name="T26" fmla="*/ 2147483647 w 405"/>
                <a:gd name="T27" fmla="*/ 2147483647 h 314"/>
                <a:gd name="T28" fmla="*/ 2147483647 w 405"/>
                <a:gd name="T29" fmla="*/ 2147483647 h 314"/>
                <a:gd name="T30" fmla="*/ 2147483647 w 405"/>
                <a:gd name="T31" fmla="*/ 2147483647 h 314"/>
                <a:gd name="T32" fmla="*/ 2147483647 w 405"/>
                <a:gd name="T33" fmla="*/ 2147483647 h 314"/>
                <a:gd name="T34" fmla="*/ 2147483647 w 405"/>
                <a:gd name="T35" fmla="*/ 2147483647 h 314"/>
                <a:gd name="T36" fmla="*/ 2147483647 w 405"/>
                <a:gd name="T37" fmla="*/ 2147483647 h 314"/>
                <a:gd name="T38" fmla="*/ 2147483647 w 405"/>
                <a:gd name="T39" fmla="*/ 2147483647 h 314"/>
                <a:gd name="T40" fmla="*/ 2147483647 w 405"/>
                <a:gd name="T41" fmla="*/ 0 h 314"/>
                <a:gd name="T42" fmla="*/ 2147483647 w 405"/>
                <a:gd name="T43" fmla="*/ 2147483647 h 314"/>
                <a:gd name="T44" fmla="*/ 2147483647 w 405"/>
                <a:gd name="T45" fmla="*/ 2147483647 h 314"/>
                <a:gd name="T46" fmla="*/ 2147483647 w 405"/>
                <a:gd name="T47" fmla="*/ 2147483647 h 314"/>
                <a:gd name="T48" fmla="*/ 2147483647 w 405"/>
                <a:gd name="T49" fmla="*/ 2147483647 h 314"/>
                <a:gd name="T50" fmla="*/ 2147483647 w 405"/>
                <a:gd name="T51" fmla="*/ 2147483647 h 314"/>
                <a:gd name="T52" fmla="*/ 2147483647 w 405"/>
                <a:gd name="T53" fmla="*/ 2147483647 h 314"/>
                <a:gd name="T54" fmla="*/ 2147483647 w 405"/>
                <a:gd name="T55" fmla="*/ 2147483647 h 314"/>
                <a:gd name="T56" fmla="*/ 2147483647 w 405"/>
                <a:gd name="T57" fmla="*/ 2147483647 h 314"/>
                <a:gd name="T58" fmla="*/ 2147483647 w 405"/>
                <a:gd name="T59" fmla="*/ 2147483647 h 314"/>
                <a:gd name="T60" fmla="*/ 2147483647 w 405"/>
                <a:gd name="T61" fmla="*/ 2147483647 h 314"/>
                <a:gd name="T62" fmla="*/ 2147483647 w 405"/>
                <a:gd name="T63" fmla="*/ 2147483647 h 314"/>
                <a:gd name="T64" fmla="*/ 2147483647 w 405"/>
                <a:gd name="T65" fmla="*/ 2147483647 h 314"/>
                <a:gd name="T66" fmla="*/ 2147483647 w 405"/>
                <a:gd name="T67" fmla="*/ 2147483647 h 314"/>
                <a:gd name="T68" fmla="*/ 2147483647 w 405"/>
                <a:gd name="T69" fmla="*/ 2147483647 h 314"/>
                <a:gd name="T70" fmla="*/ 2147483647 w 405"/>
                <a:gd name="T71" fmla="*/ 2147483647 h 314"/>
                <a:gd name="T72" fmla="*/ 2147483647 w 405"/>
                <a:gd name="T73" fmla="*/ 2147483647 h 314"/>
                <a:gd name="T74" fmla="*/ 2147483647 w 405"/>
                <a:gd name="T75" fmla="*/ 2147483647 h 314"/>
                <a:gd name="T76" fmla="*/ 2147483647 w 405"/>
                <a:gd name="T77" fmla="*/ 2147483647 h 314"/>
                <a:gd name="T78" fmla="*/ 2147483647 w 405"/>
                <a:gd name="T79" fmla="*/ 2147483647 h 314"/>
                <a:gd name="T80" fmla="*/ 2147483647 w 405"/>
                <a:gd name="T81" fmla="*/ 2147483647 h 314"/>
                <a:gd name="T82" fmla="*/ 2147483647 w 405"/>
                <a:gd name="T83" fmla="*/ 2147483647 h 314"/>
                <a:gd name="T84" fmla="*/ 2147483647 w 405"/>
                <a:gd name="T85" fmla="*/ 2147483647 h 314"/>
                <a:gd name="T86" fmla="*/ 2147483647 w 405"/>
                <a:gd name="T87" fmla="*/ 2147483647 h 314"/>
                <a:gd name="T88" fmla="*/ 2147483647 w 405"/>
                <a:gd name="T89" fmla="*/ 2147483647 h 314"/>
                <a:gd name="T90" fmla="*/ 2147483647 w 405"/>
                <a:gd name="T91" fmla="*/ 2147483647 h 314"/>
                <a:gd name="T92" fmla="*/ 2147483647 w 405"/>
                <a:gd name="T93" fmla="*/ 2147483647 h 314"/>
                <a:gd name="T94" fmla="*/ 2147483647 w 405"/>
                <a:gd name="T95" fmla="*/ 2147483647 h 314"/>
                <a:gd name="T96" fmla="*/ 2147483647 w 405"/>
                <a:gd name="T97" fmla="*/ 2147483647 h 314"/>
                <a:gd name="T98" fmla="*/ 2147483647 w 405"/>
                <a:gd name="T99" fmla="*/ 2147483647 h 314"/>
                <a:gd name="T100" fmla="*/ 2147483647 w 405"/>
                <a:gd name="T101" fmla="*/ 2147483647 h 314"/>
                <a:gd name="T102" fmla="*/ 2147483647 w 405"/>
                <a:gd name="T103" fmla="*/ 2147483647 h 314"/>
                <a:gd name="T104" fmla="*/ 0 w 405"/>
                <a:gd name="T105" fmla="*/ 2147483647 h 31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05" h="314">
                  <a:moveTo>
                    <a:pt x="0" y="272"/>
                  </a:moveTo>
                  <a:lnTo>
                    <a:pt x="6" y="260"/>
                  </a:lnTo>
                  <a:lnTo>
                    <a:pt x="11" y="248"/>
                  </a:lnTo>
                  <a:lnTo>
                    <a:pt x="13" y="237"/>
                  </a:lnTo>
                  <a:lnTo>
                    <a:pt x="15" y="226"/>
                  </a:lnTo>
                  <a:lnTo>
                    <a:pt x="17" y="202"/>
                  </a:lnTo>
                  <a:lnTo>
                    <a:pt x="20" y="179"/>
                  </a:lnTo>
                  <a:lnTo>
                    <a:pt x="23" y="173"/>
                  </a:lnTo>
                  <a:lnTo>
                    <a:pt x="26" y="167"/>
                  </a:lnTo>
                  <a:lnTo>
                    <a:pt x="32" y="162"/>
                  </a:lnTo>
                  <a:lnTo>
                    <a:pt x="36" y="158"/>
                  </a:lnTo>
                  <a:lnTo>
                    <a:pt x="48" y="150"/>
                  </a:lnTo>
                  <a:lnTo>
                    <a:pt x="60" y="145"/>
                  </a:lnTo>
                  <a:lnTo>
                    <a:pt x="72" y="141"/>
                  </a:lnTo>
                  <a:lnTo>
                    <a:pt x="83" y="137"/>
                  </a:lnTo>
                  <a:lnTo>
                    <a:pt x="93" y="134"/>
                  </a:lnTo>
                  <a:lnTo>
                    <a:pt x="100" y="130"/>
                  </a:lnTo>
                  <a:lnTo>
                    <a:pt x="104" y="125"/>
                  </a:lnTo>
                  <a:lnTo>
                    <a:pt x="109" y="120"/>
                  </a:lnTo>
                  <a:lnTo>
                    <a:pt x="113" y="114"/>
                  </a:lnTo>
                  <a:lnTo>
                    <a:pt x="116" y="107"/>
                  </a:lnTo>
                  <a:lnTo>
                    <a:pt x="123" y="93"/>
                  </a:lnTo>
                  <a:lnTo>
                    <a:pt x="129" y="81"/>
                  </a:lnTo>
                  <a:lnTo>
                    <a:pt x="136" y="69"/>
                  </a:lnTo>
                  <a:lnTo>
                    <a:pt x="143" y="59"/>
                  </a:lnTo>
                  <a:lnTo>
                    <a:pt x="147" y="55"/>
                  </a:lnTo>
                  <a:lnTo>
                    <a:pt x="150" y="53"/>
                  </a:lnTo>
                  <a:lnTo>
                    <a:pt x="155" y="51"/>
                  </a:lnTo>
                  <a:lnTo>
                    <a:pt x="159" y="50"/>
                  </a:lnTo>
                  <a:lnTo>
                    <a:pt x="170" y="51"/>
                  </a:lnTo>
                  <a:lnTo>
                    <a:pt x="180" y="50"/>
                  </a:lnTo>
                  <a:lnTo>
                    <a:pt x="189" y="48"/>
                  </a:lnTo>
                  <a:lnTo>
                    <a:pt x="196" y="44"/>
                  </a:lnTo>
                  <a:lnTo>
                    <a:pt x="213" y="35"/>
                  </a:lnTo>
                  <a:lnTo>
                    <a:pt x="228" y="25"/>
                  </a:lnTo>
                  <a:lnTo>
                    <a:pt x="237" y="20"/>
                  </a:lnTo>
                  <a:lnTo>
                    <a:pt x="247" y="15"/>
                  </a:lnTo>
                  <a:lnTo>
                    <a:pt x="257" y="11"/>
                  </a:lnTo>
                  <a:lnTo>
                    <a:pt x="269" y="7"/>
                  </a:lnTo>
                  <a:lnTo>
                    <a:pt x="282" y="4"/>
                  </a:lnTo>
                  <a:lnTo>
                    <a:pt x="296" y="1"/>
                  </a:lnTo>
                  <a:lnTo>
                    <a:pt x="314" y="0"/>
                  </a:lnTo>
                  <a:lnTo>
                    <a:pt x="332" y="1"/>
                  </a:lnTo>
                  <a:lnTo>
                    <a:pt x="332" y="14"/>
                  </a:lnTo>
                  <a:lnTo>
                    <a:pt x="335" y="25"/>
                  </a:lnTo>
                  <a:lnTo>
                    <a:pt x="337" y="34"/>
                  </a:lnTo>
                  <a:lnTo>
                    <a:pt x="340" y="43"/>
                  </a:lnTo>
                  <a:lnTo>
                    <a:pt x="343" y="50"/>
                  </a:lnTo>
                  <a:lnTo>
                    <a:pt x="348" y="56"/>
                  </a:lnTo>
                  <a:lnTo>
                    <a:pt x="352" y="62"/>
                  </a:lnTo>
                  <a:lnTo>
                    <a:pt x="357" y="66"/>
                  </a:lnTo>
                  <a:lnTo>
                    <a:pt x="368" y="74"/>
                  </a:lnTo>
                  <a:lnTo>
                    <a:pt x="378" y="81"/>
                  </a:lnTo>
                  <a:lnTo>
                    <a:pt x="382" y="85"/>
                  </a:lnTo>
                  <a:lnTo>
                    <a:pt x="385" y="89"/>
                  </a:lnTo>
                  <a:lnTo>
                    <a:pt x="390" y="93"/>
                  </a:lnTo>
                  <a:lnTo>
                    <a:pt x="392" y="100"/>
                  </a:lnTo>
                  <a:lnTo>
                    <a:pt x="396" y="115"/>
                  </a:lnTo>
                  <a:lnTo>
                    <a:pt x="398" y="129"/>
                  </a:lnTo>
                  <a:lnTo>
                    <a:pt x="398" y="143"/>
                  </a:lnTo>
                  <a:lnTo>
                    <a:pt x="398" y="157"/>
                  </a:lnTo>
                  <a:lnTo>
                    <a:pt x="398" y="170"/>
                  </a:lnTo>
                  <a:lnTo>
                    <a:pt x="399" y="183"/>
                  </a:lnTo>
                  <a:lnTo>
                    <a:pt x="402" y="196"/>
                  </a:lnTo>
                  <a:lnTo>
                    <a:pt x="405" y="211"/>
                  </a:lnTo>
                  <a:lnTo>
                    <a:pt x="398" y="217"/>
                  </a:lnTo>
                  <a:lnTo>
                    <a:pt x="390" y="221"/>
                  </a:lnTo>
                  <a:lnTo>
                    <a:pt x="382" y="226"/>
                  </a:lnTo>
                  <a:lnTo>
                    <a:pt x="374" y="233"/>
                  </a:lnTo>
                  <a:lnTo>
                    <a:pt x="365" y="241"/>
                  </a:lnTo>
                  <a:lnTo>
                    <a:pt x="365" y="239"/>
                  </a:lnTo>
                  <a:lnTo>
                    <a:pt x="363" y="237"/>
                  </a:lnTo>
                  <a:lnTo>
                    <a:pt x="361" y="235"/>
                  </a:lnTo>
                  <a:lnTo>
                    <a:pt x="358" y="233"/>
                  </a:lnTo>
                  <a:lnTo>
                    <a:pt x="351" y="230"/>
                  </a:lnTo>
                  <a:lnTo>
                    <a:pt x="342" y="227"/>
                  </a:lnTo>
                  <a:lnTo>
                    <a:pt x="326" y="224"/>
                  </a:lnTo>
                  <a:lnTo>
                    <a:pt x="319" y="223"/>
                  </a:lnTo>
                  <a:lnTo>
                    <a:pt x="300" y="241"/>
                  </a:lnTo>
                  <a:lnTo>
                    <a:pt x="152" y="241"/>
                  </a:lnTo>
                  <a:lnTo>
                    <a:pt x="151" y="249"/>
                  </a:lnTo>
                  <a:lnTo>
                    <a:pt x="150" y="257"/>
                  </a:lnTo>
                  <a:lnTo>
                    <a:pt x="150" y="266"/>
                  </a:lnTo>
                  <a:lnTo>
                    <a:pt x="150" y="274"/>
                  </a:lnTo>
                  <a:lnTo>
                    <a:pt x="152" y="291"/>
                  </a:lnTo>
                  <a:lnTo>
                    <a:pt x="152" y="314"/>
                  </a:lnTo>
                  <a:lnTo>
                    <a:pt x="146" y="314"/>
                  </a:lnTo>
                  <a:lnTo>
                    <a:pt x="139" y="312"/>
                  </a:lnTo>
                  <a:lnTo>
                    <a:pt x="133" y="308"/>
                  </a:lnTo>
                  <a:lnTo>
                    <a:pt x="126" y="305"/>
                  </a:lnTo>
                  <a:lnTo>
                    <a:pt x="114" y="297"/>
                  </a:lnTo>
                  <a:lnTo>
                    <a:pt x="100" y="290"/>
                  </a:lnTo>
                  <a:lnTo>
                    <a:pt x="94" y="299"/>
                  </a:lnTo>
                  <a:lnTo>
                    <a:pt x="89" y="307"/>
                  </a:lnTo>
                  <a:lnTo>
                    <a:pt x="85" y="310"/>
                  </a:lnTo>
                  <a:lnTo>
                    <a:pt x="82" y="312"/>
                  </a:lnTo>
                  <a:lnTo>
                    <a:pt x="78" y="314"/>
                  </a:lnTo>
                  <a:lnTo>
                    <a:pt x="73" y="314"/>
                  </a:lnTo>
                  <a:lnTo>
                    <a:pt x="66" y="313"/>
                  </a:lnTo>
                  <a:lnTo>
                    <a:pt x="60" y="311"/>
                  </a:lnTo>
                  <a:lnTo>
                    <a:pt x="54" y="306"/>
                  </a:lnTo>
                  <a:lnTo>
                    <a:pt x="47" y="302"/>
                  </a:lnTo>
                  <a:lnTo>
                    <a:pt x="38" y="296"/>
                  </a:lnTo>
                  <a:lnTo>
                    <a:pt x="28" y="291"/>
                  </a:lnTo>
                  <a:lnTo>
                    <a:pt x="16" y="287"/>
                  </a:lnTo>
                  <a:lnTo>
                    <a:pt x="0" y="284"/>
                  </a:lnTo>
                  <a:lnTo>
                    <a:pt x="0" y="27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60" name="Freeform 448"/>
            <p:cNvSpPr>
              <a:spLocks/>
            </p:cNvSpPr>
            <p:nvPr>
              <p:custDataLst>
                <p:tags r:id="rId286"/>
              </p:custDataLst>
            </p:nvPr>
          </p:nvSpPr>
          <p:spPr bwMode="auto">
            <a:xfrm>
              <a:off x="6342416" y="3930293"/>
              <a:ext cx="194705" cy="349167"/>
            </a:xfrm>
            <a:custGeom>
              <a:avLst/>
              <a:gdLst>
                <a:gd name="T0" fmla="*/ 335 w 453"/>
                <a:gd name="T1" fmla="*/ 36 h 661"/>
                <a:gd name="T2" fmla="*/ 321 w 453"/>
                <a:gd name="T3" fmla="*/ 98 h 661"/>
                <a:gd name="T4" fmla="*/ 277 w 453"/>
                <a:gd name="T5" fmla="*/ 162 h 661"/>
                <a:gd name="T6" fmla="*/ 253 w 453"/>
                <a:gd name="T7" fmla="*/ 219 h 661"/>
                <a:gd name="T8" fmla="*/ 232 w 453"/>
                <a:gd name="T9" fmla="*/ 272 h 661"/>
                <a:gd name="T10" fmla="*/ 209 w 453"/>
                <a:gd name="T11" fmla="*/ 329 h 661"/>
                <a:gd name="T12" fmla="*/ 196 w 453"/>
                <a:gd name="T13" fmla="*/ 362 h 661"/>
                <a:gd name="T14" fmla="*/ 180 w 453"/>
                <a:gd name="T15" fmla="*/ 380 h 661"/>
                <a:gd name="T16" fmla="*/ 167 w 453"/>
                <a:gd name="T17" fmla="*/ 390 h 661"/>
                <a:gd name="T18" fmla="*/ 141 w 453"/>
                <a:gd name="T19" fmla="*/ 382 h 661"/>
                <a:gd name="T20" fmla="*/ 121 w 453"/>
                <a:gd name="T21" fmla="*/ 370 h 661"/>
                <a:gd name="T22" fmla="*/ 94 w 453"/>
                <a:gd name="T23" fmla="*/ 367 h 661"/>
                <a:gd name="T24" fmla="*/ 64 w 453"/>
                <a:gd name="T25" fmla="*/ 380 h 661"/>
                <a:gd name="T26" fmla="*/ 44 w 453"/>
                <a:gd name="T27" fmla="*/ 403 h 661"/>
                <a:gd name="T28" fmla="*/ 21 w 453"/>
                <a:gd name="T29" fmla="*/ 454 h 661"/>
                <a:gd name="T30" fmla="*/ 7 w 453"/>
                <a:gd name="T31" fmla="*/ 482 h 661"/>
                <a:gd name="T32" fmla="*/ 1 w 453"/>
                <a:gd name="T33" fmla="*/ 500 h 661"/>
                <a:gd name="T34" fmla="*/ 8 w 453"/>
                <a:gd name="T35" fmla="*/ 517 h 661"/>
                <a:gd name="T36" fmla="*/ 20 w 453"/>
                <a:gd name="T37" fmla="*/ 526 h 661"/>
                <a:gd name="T38" fmla="*/ 55 w 453"/>
                <a:gd name="T39" fmla="*/ 526 h 661"/>
                <a:gd name="T40" fmla="*/ 71 w 453"/>
                <a:gd name="T41" fmla="*/ 548 h 661"/>
                <a:gd name="T42" fmla="*/ 73 w 453"/>
                <a:gd name="T43" fmla="*/ 590 h 661"/>
                <a:gd name="T44" fmla="*/ 67 w 453"/>
                <a:gd name="T45" fmla="*/ 630 h 661"/>
                <a:gd name="T46" fmla="*/ 433 w 453"/>
                <a:gd name="T47" fmla="*/ 661 h 661"/>
                <a:gd name="T48" fmla="*/ 442 w 453"/>
                <a:gd name="T49" fmla="*/ 582 h 661"/>
                <a:gd name="T50" fmla="*/ 415 w 453"/>
                <a:gd name="T51" fmla="*/ 568 h 661"/>
                <a:gd name="T52" fmla="*/ 373 w 453"/>
                <a:gd name="T53" fmla="*/ 557 h 661"/>
                <a:gd name="T54" fmla="*/ 353 w 453"/>
                <a:gd name="T55" fmla="*/ 549 h 661"/>
                <a:gd name="T56" fmla="*/ 340 w 453"/>
                <a:gd name="T57" fmla="*/ 537 h 661"/>
                <a:gd name="T58" fmla="*/ 333 w 453"/>
                <a:gd name="T59" fmla="*/ 515 h 661"/>
                <a:gd name="T60" fmla="*/ 333 w 453"/>
                <a:gd name="T61" fmla="*/ 464 h 661"/>
                <a:gd name="T62" fmla="*/ 337 w 453"/>
                <a:gd name="T63" fmla="*/ 428 h 661"/>
                <a:gd name="T64" fmla="*/ 351 w 453"/>
                <a:gd name="T65" fmla="*/ 397 h 661"/>
                <a:gd name="T66" fmla="*/ 373 w 453"/>
                <a:gd name="T67" fmla="*/ 364 h 661"/>
                <a:gd name="T68" fmla="*/ 392 w 453"/>
                <a:gd name="T69" fmla="*/ 330 h 661"/>
                <a:gd name="T70" fmla="*/ 399 w 453"/>
                <a:gd name="T71" fmla="*/ 297 h 661"/>
                <a:gd name="T72" fmla="*/ 389 w 453"/>
                <a:gd name="T73" fmla="*/ 267 h 661"/>
                <a:gd name="T74" fmla="*/ 373 w 453"/>
                <a:gd name="T75" fmla="*/ 246 h 661"/>
                <a:gd name="T76" fmla="*/ 343 w 453"/>
                <a:gd name="T77" fmla="*/ 217 h 661"/>
                <a:gd name="T78" fmla="*/ 333 w 453"/>
                <a:gd name="T79" fmla="*/ 192 h 661"/>
                <a:gd name="T80" fmla="*/ 335 w 453"/>
                <a:gd name="T81" fmla="*/ 173 h 661"/>
                <a:gd name="T82" fmla="*/ 353 w 453"/>
                <a:gd name="T83" fmla="*/ 164 h 661"/>
                <a:gd name="T84" fmla="*/ 406 w 453"/>
                <a:gd name="T85" fmla="*/ 162 h 661"/>
                <a:gd name="T86" fmla="*/ 395 w 453"/>
                <a:gd name="T87" fmla="*/ 151 h 661"/>
                <a:gd name="T88" fmla="*/ 379 w 453"/>
                <a:gd name="T89" fmla="*/ 117 h 661"/>
                <a:gd name="T90" fmla="*/ 371 w 453"/>
                <a:gd name="T91" fmla="*/ 73 h 661"/>
                <a:gd name="T92" fmla="*/ 373 w 453"/>
                <a:gd name="T93" fmla="*/ 45 h 661"/>
                <a:gd name="T94" fmla="*/ 367 w 453"/>
                <a:gd name="T95" fmla="*/ 11 h 661"/>
                <a:gd name="T96" fmla="*/ 347 w 453"/>
                <a:gd name="T97" fmla="*/ 0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53" h="661">
                  <a:moveTo>
                    <a:pt x="330" y="9"/>
                  </a:moveTo>
                  <a:lnTo>
                    <a:pt x="332" y="23"/>
                  </a:lnTo>
                  <a:lnTo>
                    <a:pt x="335" y="36"/>
                  </a:lnTo>
                  <a:lnTo>
                    <a:pt x="340" y="50"/>
                  </a:lnTo>
                  <a:lnTo>
                    <a:pt x="346" y="63"/>
                  </a:lnTo>
                  <a:lnTo>
                    <a:pt x="321" y="98"/>
                  </a:lnTo>
                  <a:lnTo>
                    <a:pt x="298" y="129"/>
                  </a:lnTo>
                  <a:lnTo>
                    <a:pt x="287" y="145"/>
                  </a:lnTo>
                  <a:lnTo>
                    <a:pt x="277" y="162"/>
                  </a:lnTo>
                  <a:lnTo>
                    <a:pt x="268" y="179"/>
                  </a:lnTo>
                  <a:lnTo>
                    <a:pt x="259" y="200"/>
                  </a:lnTo>
                  <a:lnTo>
                    <a:pt x="253" y="219"/>
                  </a:lnTo>
                  <a:lnTo>
                    <a:pt x="245" y="237"/>
                  </a:lnTo>
                  <a:lnTo>
                    <a:pt x="239" y="255"/>
                  </a:lnTo>
                  <a:lnTo>
                    <a:pt x="232" y="272"/>
                  </a:lnTo>
                  <a:lnTo>
                    <a:pt x="225" y="289"/>
                  </a:lnTo>
                  <a:lnTo>
                    <a:pt x="218" y="309"/>
                  </a:lnTo>
                  <a:lnTo>
                    <a:pt x="209" y="329"/>
                  </a:lnTo>
                  <a:lnTo>
                    <a:pt x="200" y="353"/>
                  </a:lnTo>
                  <a:lnTo>
                    <a:pt x="199" y="356"/>
                  </a:lnTo>
                  <a:lnTo>
                    <a:pt x="196" y="362"/>
                  </a:lnTo>
                  <a:lnTo>
                    <a:pt x="191" y="368"/>
                  </a:lnTo>
                  <a:lnTo>
                    <a:pt x="186" y="374"/>
                  </a:lnTo>
                  <a:lnTo>
                    <a:pt x="180" y="380"/>
                  </a:lnTo>
                  <a:lnTo>
                    <a:pt x="175" y="385"/>
                  </a:lnTo>
                  <a:lnTo>
                    <a:pt x="171" y="389"/>
                  </a:lnTo>
                  <a:lnTo>
                    <a:pt x="167" y="390"/>
                  </a:lnTo>
                  <a:lnTo>
                    <a:pt x="157" y="389"/>
                  </a:lnTo>
                  <a:lnTo>
                    <a:pt x="149" y="386"/>
                  </a:lnTo>
                  <a:lnTo>
                    <a:pt x="141" y="382"/>
                  </a:lnTo>
                  <a:lnTo>
                    <a:pt x="134" y="378"/>
                  </a:lnTo>
                  <a:lnTo>
                    <a:pt x="128" y="374"/>
                  </a:lnTo>
                  <a:lnTo>
                    <a:pt x="121" y="370"/>
                  </a:lnTo>
                  <a:lnTo>
                    <a:pt x="115" y="367"/>
                  </a:lnTo>
                  <a:lnTo>
                    <a:pt x="107" y="366"/>
                  </a:lnTo>
                  <a:lnTo>
                    <a:pt x="94" y="367"/>
                  </a:lnTo>
                  <a:lnTo>
                    <a:pt x="83" y="370"/>
                  </a:lnTo>
                  <a:lnTo>
                    <a:pt x="73" y="374"/>
                  </a:lnTo>
                  <a:lnTo>
                    <a:pt x="64" y="380"/>
                  </a:lnTo>
                  <a:lnTo>
                    <a:pt x="56" y="387"/>
                  </a:lnTo>
                  <a:lnTo>
                    <a:pt x="50" y="395"/>
                  </a:lnTo>
                  <a:lnTo>
                    <a:pt x="44" y="403"/>
                  </a:lnTo>
                  <a:lnTo>
                    <a:pt x="39" y="413"/>
                  </a:lnTo>
                  <a:lnTo>
                    <a:pt x="30" y="434"/>
                  </a:lnTo>
                  <a:lnTo>
                    <a:pt x="21" y="454"/>
                  </a:lnTo>
                  <a:lnTo>
                    <a:pt x="17" y="463"/>
                  </a:lnTo>
                  <a:lnTo>
                    <a:pt x="11" y="473"/>
                  </a:lnTo>
                  <a:lnTo>
                    <a:pt x="7" y="482"/>
                  </a:lnTo>
                  <a:lnTo>
                    <a:pt x="0" y="489"/>
                  </a:lnTo>
                  <a:lnTo>
                    <a:pt x="1" y="494"/>
                  </a:lnTo>
                  <a:lnTo>
                    <a:pt x="1" y="500"/>
                  </a:lnTo>
                  <a:lnTo>
                    <a:pt x="4" y="506"/>
                  </a:lnTo>
                  <a:lnTo>
                    <a:pt x="6" y="512"/>
                  </a:lnTo>
                  <a:lnTo>
                    <a:pt x="8" y="517"/>
                  </a:lnTo>
                  <a:lnTo>
                    <a:pt x="11" y="521"/>
                  </a:lnTo>
                  <a:lnTo>
                    <a:pt x="16" y="524"/>
                  </a:lnTo>
                  <a:lnTo>
                    <a:pt x="20" y="526"/>
                  </a:lnTo>
                  <a:lnTo>
                    <a:pt x="28" y="526"/>
                  </a:lnTo>
                  <a:lnTo>
                    <a:pt x="40" y="526"/>
                  </a:lnTo>
                  <a:lnTo>
                    <a:pt x="55" y="526"/>
                  </a:lnTo>
                  <a:lnTo>
                    <a:pt x="74" y="526"/>
                  </a:lnTo>
                  <a:lnTo>
                    <a:pt x="72" y="537"/>
                  </a:lnTo>
                  <a:lnTo>
                    <a:pt x="71" y="548"/>
                  </a:lnTo>
                  <a:lnTo>
                    <a:pt x="71" y="558"/>
                  </a:lnTo>
                  <a:lnTo>
                    <a:pt x="72" y="569"/>
                  </a:lnTo>
                  <a:lnTo>
                    <a:pt x="73" y="590"/>
                  </a:lnTo>
                  <a:lnTo>
                    <a:pt x="74" y="612"/>
                  </a:lnTo>
                  <a:lnTo>
                    <a:pt x="71" y="621"/>
                  </a:lnTo>
                  <a:lnTo>
                    <a:pt x="67" y="630"/>
                  </a:lnTo>
                  <a:lnTo>
                    <a:pt x="167" y="630"/>
                  </a:lnTo>
                  <a:lnTo>
                    <a:pt x="273" y="630"/>
                  </a:lnTo>
                  <a:lnTo>
                    <a:pt x="433" y="661"/>
                  </a:lnTo>
                  <a:lnTo>
                    <a:pt x="453" y="594"/>
                  </a:lnTo>
                  <a:lnTo>
                    <a:pt x="447" y="588"/>
                  </a:lnTo>
                  <a:lnTo>
                    <a:pt x="442" y="582"/>
                  </a:lnTo>
                  <a:lnTo>
                    <a:pt x="435" y="577"/>
                  </a:lnTo>
                  <a:lnTo>
                    <a:pt x="430" y="573"/>
                  </a:lnTo>
                  <a:lnTo>
                    <a:pt x="415" y="568"/>
                  </a:lnTo>
                  <a:lnTo>
                    <a:pt x="402" y="564"/>
                  </a:lnTo>
                  <a:lnTo>
                    <a:pt x="387" y="561"/>
                  </a:lnTo>
                  <a:lnTo>
                    <a:pt x="373" y="557"/>
                  </a:lnTo>
                  <a:lnTo>
                    <a:pt x="366" y="555"/>
                  </a:lnTo>
                  <a:lnTo>
                    <a:pt x="359" y="552"/>
                  </a:lnTo>
                  <a:lnTo>
                    <a:pt x="353" y="549"/>
                  </a:lnTo>
                  <a:lnTo>
                    <a:pt x="346" y="544"/>
                  </a:lnTo>
                  <a:lnTo>
                    <a:pt x="343" y="541"/>
                  </a:lnTo>
                  <a:lnTo>
                    <a:pt x="340" y="537"/>
                  </a:lnTo>
                  <a:lnTo>
                    <a:pt x="337" y="532"/>
                  </a:lnTo>
                  <a:lnTo>
                    <a:pt x="335" y="527"/>
                  </a:lnTo>
                  <a:lnTo>
                    <a:pt x="333" y="515"/>
                  </a:lnTo>
                  <a:lnTo>
                    <a:pt x="332" y="504"/>
                  </a:lnTo>
                  <a:lnTo>
                    <a:pt x="332" y="482"/>
                  </a:lnTo>
                  <a:lnTo>
                    <a:pt x="333" y="464"/>
                  </a:lnTo>
                  <a:lnTo>
                    <a:pt x="333" y="451"/>
                  </a:lnTo>
                  <a:lnTo>
                    <a:pt x="335" y="439"/>
                  </a:lnTo>
                  <a:lnTo>
                    <a:pt x="337" y="428"/>
                  </a:lnTo>
                  <a:lnTo>
                    <a:pt x="342" y="417"/>
                  </a:lnTo>
                  <a:lnTo>
                    <a:pt x="345" y="406"/>
                  </a:lnTo>
                  <a:lnTo>
                    <a:pt x="351" y="397"/>
                  </a:lnTo>
                  <a:lnTo>
                    <a:pt x="355" y="389"/>
                  </a:lnTo>
                  <a:lnTo>
                    <a:pt x="362" y="380"/>
                  </a:lnTo>
                  <a:lnTo>
                    <a:pt x="373" y="364"/>
                  </a:lnTo>
                  <a:lnTo>
                    <a:pt x="384" y="347"/>
                  </a:lnTo>
                  <a:lnTo>
                    <a:pt x="388" y="338"/>
                  </a:lnTo>
                  <a:lnTo>
                    <a:pt x="392" y="330"/>
                  </a:lnTo>
                  <a:lnTo>
                    <a:pt x="397" y="320"/>
                  </a:lnTo>
                  <a:lnTo>
                    <a:pt x="399" y="310"/>
                  </a:lnTo>
                  <a:lnTo>
                    <a:pt x="399" y="297"/>
                  </a:lnTo>
                  <a:lnTo>
                    <a:pt x="397" y="286"/>
                  </a:lnTo>
                  <a:lnTo>
                    <a:pt x="393" y="276"/>
                  </a:lnTo>
                  <a:lnTo>
                    <a:pt x="389" y="267"/>
                  </a:lnTo>
                  <a:lnTo>
                    <a:pt x="384" y="260"/>
                  </a:lnTo>
                  <a:lnTo>
                    <a:pt x="378" y="253"/>
                  </a:lnTo>
                  <a:lnTo>
                    <a:pt x="373" y="246"/>
                  </a:lnTo>
                  <a:lnTo>
                    <a:pt x="366" y="240"/>
                  </a:lnTo>
                  <a:lnTo>
                    <a:pt x="354" y="229"/>
                  </a:lnTo>
                  <a:lnTo>
                    <a:pt x="343" y="217"/>
                  </a:lnTo>
                  <a:lnTo>
                    <a:pt x="339" y="209"/>
                  </a:lnTo>
                  <a:lnTo>
                    <a:pt x="335" y="201"/>
                  </a:lnTo>
                  <a:lnTo>
                    <a:pt x="333" y="192"/>
                  </a:lnTo>
                  <a:lnTo>
                    <a:pt x="333" y="180"/>
                  </a:lnTo>
                  <a:lnTo>
                    <a:pt x="333" y="176"/>
                  </a:lnTo>
                  <a:lnTo>
                    <a:pt x="335" y="173"/>
                  </a:lnTo>
                  <a:lnTo>
                    <a:pt x="339" y="170"/>
                  </a:lnTo>
                  <a:lnTo>
                    <a:pt x="343" y="167"/>
                  </a:lnTo>
                  <a:lnTo>
                    <a:pt x="353" y="164"/>
                  </a:lnTo>
                  <a:lnTo>
                    <a:pt x="365" y="162"/>
                  </a:lnTo>
                  <a:lnTo>
                    <a:pt x="389" y="162"/>
                  </a:lnTo>
                  <a:lnTo>
                    <a:pt x="406" y="162"/>
                  </a:lnTo>
                  <a:lnTo>
                    <a:pt x="402" y="160"/>
                  </a:lnTo>
                  <a:lnTo>
                    <a:pt x="399" y="156"/>
                  </a:lnTo>
                  <a:lnTo>
                    <a:pt x="395" y="151"/>
                  </a:lnTo>
                  <a:lnTo>
                    <a:pt x="391" y="146"/>
                  </a:lnTo>
                  <a:lnTo>
                    <a:pt x="385" y="132"/>
                  </a:lnTo>
                  <a:lnTo>
                    <a:pt x="379" y="117"/>
                  </a:lnTo>
                  <a:lnTo>
                    <a:pt x="375" y="101"/>
                  </a:lnTo>
                  <a:lnTo>
                    <a:pt x="373" y="83"/>
                  </a:lnTo>
                  <a:lnTo>
                    <a:pt x="371" y="73"/>
                  </a:lnTo>
                  <a:lnTo>
                    <a:pt x="371" y="64"/>
                  </a:lnTo>
                  <a:lnTo>
                    <a:pt x="371" y="54"/>
                  </a:lnTo>
                  <a:lnTo>
                    <a:pt x="373" y="45"/>
                  </a:lnTo>
                  <a:lnTo>
                    <a:pt x="371" y="33"/>
                  </a:lnTo>
                  <a:lnTo>
                    <a:pt x="369" y="21"/>
                  </a:lnTo>
                  <a:lnTo>
                    <a:pt x="367" y="11"/>
                  </a:lnTo>
                  <a:lnTo>
                    <a:pt x="366" y="2"/>
                  </a:lnTo>
                  <a:lnTo>
                    <a:pt x="357" y="1"/>
                  </a:lnTo>
                  <a:lnTo>
                    <a:pt x="347" y="0"/>
                  </a:lnTo>
                  <a:lnTo>
                    <a:pt x="346" y="2"/>
                  </a:lnTo>
                  <a:lnTo>
                    <a:pt x="330" y="9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02" name="Freeform 449"/>
            <p:cNvSpPr>
              <a:spLocks/>
            </p:cNvSpPr>
            <p:nvPr>
              <p:custDataLst>
                <p:tags r:id="rId287"/>
              </p:custDataLst>
            </p:nvPr>
          </p:nvSpPr>
          <p:spPr bwMode="auto">
            <a:xfrm>
              <a:off x="8793794" y="3688202"/>
              <a:ext cx="55563" cy="57150"/>
            </a:xfrm>
            <a:custGeom>
              <a:avLst/>
              <a:gdLst>
                <a:gd name="T0" fmla="*/ 0 w 126"/>
                <a:gd name="T1" fmla="*/ 2147483647 h 105"/>
                <a:gd name="T2" fmla="*/ 2147483647 w 126"/>
                <a:gd name="T3" fmla="*/ 2147483647 h 105"/>
                <a:gd name="T4" fmla="*/ 2147483647 w 126"/>
                <a:gd name="T5" fmla="*/ 2147483647 h 105"/>
                <a:gd name="T6" fmla="*/ 2147483647 w 126"/>
                <a:gd name="T7" fmla="*/ 2147483647 h 105"/>
                <a:gd name="T8" fmla="*/ 2147483647 w 126"/>
                <a:gd name="T9" fmla="*/ 2147483647 h 105"/>
                <a:gd name="T10" fmla="*/ 2147483647 w 126"/>
                <a:gd name="T11" fmla="*/ 2147483647 h 105"/>
                <a:gd name="T12" fmla="*/ 2147483647 w 126"/>
                <a:gd name="T13" fmla="*/ 0 h 105"/>
                <a:gd name="T14" fmla="*/ 2147483647 w 126"/>
                <a:gd name="T15" fmla="*/ 0 h 105"/>
                <a:gd name="T16" fmla="*/ 2147483647 w 126"/>
                <a:gd name="T17" fmla="*/ 2147483647 h 105"/>
                <a:gd name="T18" fmla="*/ 2147483647 w 126"/>
                <a:gd name="T19" fmla="*/ 2147483647 h 105"/>
                <a:gd name="T20" fmla="*/ 2147483647 w 126"/>
                <a:gd name="T21" fmla="*/ 2147483647 h 105"/>
                <a:gd name="T22" fmla="*/ 2147483647 w 126"/>
                <a:gd name="T23" fmla="*/ 2147483647 h 105"/>
                <a:gd name="T24" fmla="*/ 2147483647 w 126"/>
                <a:gd name="T25" fmla="*/ 2147483647 h 105"/>
                <a:gd name="T26" fmla="*/ 2147483647 w 126"/>
                <a:gd name="T27" fmla="*/ 2147483647 h 105"/>
                <a:gd name="T28" fmla="*/ 2147483647 w 126"/>
                <a:gd name="T29" fmla="*/ 2147483647 h 105"/>
                <a:gd name="T30" fmla="*/ 2147483647 w 126"/>
                <a:gd name="T31" fmla="*/ 2147483647 h 105"/>
                <a:gd name="T32" fmla="*/ 2147483647 w 126"/>
                <a:gd name="T33" fmla="*/ 2147483647 h 105"/>
                <a:gd name="T34" fmla="*/ 2147483647 w 126"/>
                <a:gd name="T35" fmla="*/ 2147483647 h 105"/>
                <a:gd name="T36" fmla="*/ 2147483647 w 126"/>
                <a:gd name="T37" fmla="*/ 2147483647 h 105"/>
                <a:gd name="T38" fmla="*/ 2147483647 w 126"/>
                <a:gd name="T39" fmla="*/ 2147483647 h 105"/>
                <a:gd name="T40" fmla="*/ 2147483647 w 126"/>
                <a:gd name="T41" fmla="*/ 2147483647 h 105"/>
                <a:gd name="T42" fmla="*/ 2147483647 w 126"/>
                <a:gd name="T43" fmla="*/ 2147483647 h 105"/>
                <a:gd name="T44" fmla="*/ 2147483647 w 126"/>
                <a:gd name="T45" fmla="*/ 2147483647 h 105"/>
                <a:gd name="T46" fmla="*/ 2147483647 w 126"/>
                <a:gd name="T47" fmla="*/ 2147483647 h 105"/>
                <a:gd name="T48" fmla="*/ 2147483647 w 126"/>
                <a:gd name="T49" fmla="*/ 2147483647 h 105"/>
                <a:gd name="T50" fmla="*/ 2147483647 w 126"/>
                <a:gd name="T51" fmla="*/ 2147483647 h 105"/>
                <a:gd name="T52" fmla="*/ 2147483647 w 126"/>
                <a:gd name="T53" fmla="*/ 2147483647 h 105"/>
                <a:gd name="T54" fmla="*/ 2147483647 w 126"/>
                <a:gd name="T55" fmla="*/ 2147483647 h 105"/>
                <a:gd name="T56" fmla="*/ 2147483647 w 126"/>
                <a:gd name="T57" fmla="*/ 2147483647 h 105"/>
                <a:gd name="T58" fmla="*/ 2147483647 w 126"/>
                <a:gd name="T59" fmla="*/ 2147483647 h 105"/>
                <a:gd name="T60" fmla="*/ 2147483647 w 126"/>
                <a:gd name="T61" fmla="*/ 2147483647 h 105"/>
                <a:gd name="T62" fmla="*/ 2147483647 w 126"/>
                <a:gd name="T63" fmla="*/ 2147483647 h 105"/>
                <a:gd name="T64" fmla="*/ 2147483647 w 126"/>
                <a:gd name="T65" fmla="*/ 2147483647 h 105"/>
                <a:gd name="T66" fmla="*/ 2147483647 w 126"/>
                <a:gd name="T67" fmla="*/ 2147483647 h 105"/>
                <a:gd name="T68" fmla="*/ 2147483647 w 126"/>
                <a:gd name="T69" fmla="*/ 2147483647 h 105"/>
                <a:gd name="T70" fmla="*/ 2147483647 w 126"/>
                <a:gd name="T71" fmla="*/ 2147483647 h 105"/>
                <a:gd name="T72" fmla="*/ 2147483647 w 126"/>
                <a:gd name="T73" fmla="*/ 2147483647 h 105"/>
                <a:gd name="T74" fmla="*/ 2147483647 w 126"/>
                <a:gd name="T75" fmla="*/ 2147483647 h 105"/>
                <a:gd name="T76" fmla="*/ 0 w 126"/>
                <a:gd name="T77" fmla="*/ 2147483647 h 105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26" h="105">
                  <a:moveTo>
                    <a:pt x="0" y="56"/>
                  </a:moveTo>
                  <a:lnTo>
                    <a:pt x="4" y="49"/>
                  </a:lnTo>
                  <a:lnTo>
                    <a:pt x="10" y="41"/>
                  </a:lnTo>
                  <a:lnTo>
                    <a:pt x="16" y="33"/>
                  </a:lnTo>
                  <a:lnTo>
                    <a:pt x="24" y="25"/>
                  </a:lnTo>
                  <a:lnTo>
                    <a:pt x="37" y="11"/>
                  </a:lnTo>
                  <a:lnTo>
                    <a:pt x="47" y="0"/>
                  </a:lnTo>
                  <a:lnTo>
                    <a:pt x="113" y="0"/>
                  </a:lnTo>
                  <a:lnTo>
                    <a:pt x="114" y="4"/>
                  </a:lnTo>
                  <a:lnTo>
                    <a:pt x="115" y="8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24" y="20"/>
                  </a:lnTo>
                  <a:lnTo>
                    <a:pt x="126" y="24"/>
                  </a:lnTo>
                  <a:lnTo>
                    <a:pt x="126" y="32"/>
                  </a:lnTo>
                  <a:lnTo>
                    <a:pt x="125" y="41"/>
                  </a:lnTo>
                  <a:lnTo>
                    <a:pt x="124" y="48"/>
                  </a:lnTo>
                  <a:lnTo>
                    <a:pt x="122" y="55"/>
                  </a:lnTo>
                  <a:lnTo>
                    <a:pt x="119" y="62"/>
                  </a:lnTo>
                  <a:lnTo>
                    <a:pt x="116" y="69"/>
                  </a:lnTo>
                  <a:lnTo>
                    <a:pt x="112" y="75"/>
                  </a:lnTo>
                  <a:lnTo>
                    <a:pt x="108" y="81"/>
                  </a:lnTo>
                  <a:lnTo>
                    <a:pt x="104" y="86"/>
                  </a:lnTo>
                  <a:lnTo>
                    <a:pt x="99" y="90"/>
                  </a:lnTo>
                  <a:lnTo>
                    <a:pt x="93" y="94"/>
                  </a:lnTo>
                  <a:lnTo>
                    <a:pt x="88" y="99"/>
                  </a:lnTo>
                  <a:lnTo>
                    <a:pt x="81" y="101"/>
                  </a:lnTo>
                  <a:lnTo>
                    <a:pt x="74" y="103"/>
                  </a:lnTo>
                  <a:lnTo>
                    <a:pt x="67" y="105"/>
                  </a:lnTo>
                  <a:lnTo>
                    <a:pt x="60" y="105"/>
                  </a:lnTo>
                  <a:lnTo>
                    <a:pt x="48" y="104"/>
                  </a:lnTo>
                  <a:lnTo>
                    <a:pt x="38" y="102"/>
                  </a:lnTo>
                  <a:lnTo>
                    <a:pt x="31" y="98"/>
                  </a:lnTo>
                  <a:lnTo>
                    <a:pt x="24" y="92"/>
                  </a:lnTo>
                  <a:lnTo>
                    <a:pt x="20" y="86"/>
                  </a:lnTo>
                  <a:lnTo>
                    <a:pt x="16" y="78"/>
                  </a:lnTo>
                  <a:lnTo>
                    <a:pt x="14" y="70"/>
                  </a:lnTo>
                  <a:lnTo>
                    <a:pt x="13" y="62"/>
                  </a:lnTo>
                  <a:lnTo>
                    <a:pt x="0" y="56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03" name="Freeform 450"/>
            <p:cNvSpPr>
              <a:spLocks/>
            </p:cNvSpPr>
            <p:nvPr>
              <p:custDataLst>
                <p:tags r:id="rId288"/>
              </p:custDataLst>
            </p:nvPr>
          </p:nvSpPr>
          <p:spPr bwMode="auto">
            <a:xfrm>
              <a:off x="4148769" y="3951727"/>
              <a:ext cx="298450" cy="523875"/>
            </a:xfrm>
            <a:custGeom>
              <a:avLst/>
              <a:gdLst>
                <a:gd name="T0" fmla="*/ 2147483647 w 684"/>
                <a:gd name="T1" fmla="*/ 2147483647 h 998"/>
                <a:gd name="T2" fmla="*/ 2147483647 w 684"/>
                <a:gd name="T3" fmla="*/ 2147483647 h 998"/>
                <a:gd name="T4" fmla="*/ 2147483647 w 684"/>
                <a:gd name="T5" fmla="*/ 2147483647 h 998"/>
                <a:gd name="T6" fmla="*/ 2147483647 w 684"/>
                <a:gd name="T7" fmla="*/ 2147483647 h 998"/>
                <a:gd name="T8" fmla="*/ 2147483647 w 684"/>
                <a:gd name="T9" fmla="*/ 2147483647 h 998"/>
                <a:gd name="T10" fmla="*/ 2147483647 w 684"/>
                <a:gd name="T11" fmla="*/ 2147483647 h 998"/>
                <a:gd name="T12" fmla="*/ 2147483647 w 684"/>
                <a:gd name="T13" fmla="*/ 2147483647 h 998"/>
                <a:gd name="T14" fmla="*/ 2147483647 w 684"/>
                <a:gd name="T15" fmla="*/ 2147483647 h 998"/>
                <a:gd name="T16" fmla="*/ 2147483647 w 684"/>
                <a:gd name="T17" fmla="*/ 2147483647 h 998"/>
                <a:gd name="T18" fmla="*/ 2147483647 w 684"/>
                <a:gd name="T19" fmla="*/ 2147483647 h 998"/>
                <a:gd name="T20" fmla="*/ 2147483647 w 684"/>
                <a:gd name="T21" fmla="*/ 2147483647 h 998"/>
                <a:gd name="T22" fmla="*/ 2147483647 w 684"/>
                <a:gd name="T23" fmla="*/ 2147483647 h 998"/>
                <a:gd name="T24" fmla="*/ 2147483647 w 684"/>
                <a:gd name="T25" fmla="*/ 2147483647 h 998"/>
                <a:gd name="T26" fmla="*/ 2147483647 w 684"/>
                <a:gd name="T27" fmla="*/ 2147483647 h 998"/>
                <a:gd name="T28" fmla="*/ 2147483647 w 684"/>
                <a:gd name="T29" fmla="*/ 2147483647 h 998"/>
                <a:gd name="T30" fmla="*/ 2147483647 w 684"/>
                <a:gd name="T31" fmla="*/ 2147483647 h 998"/>
                <a:gd name="T32" fmla="*/ 2147483647 w 684"/>
                <a:gd name="T33" fmla="*/ 2147483647 h 998"/>
                <a:gd name="T34" fmla="*/ 2147483647 w 684"/>
                <a:gd name="T35" fmla="*/ 2147483647 h 998"/>
                <a:gd name="T36" fmla="*/ 2147483647 w 684"/>
                <a:gd name="T37" fmla="*/ 2147483647 h 998"/>
                <a:gd name="T38" fmla="*/ 2147483647 w 684"/>
                <a:gd name="T39" fmla="*/ 2147483647 h 998"/>
                <a:gd name="T40" fmla="*/ 2147483647 w 684"/>
                <a:gd name="T41" fmla="*/ 2147483647 h 998"/>
                <a:gd name="T42" fmla="*/ 2147483647 w 684"/>
                <a:gd name="T43" fmla="*/ 2147483647 h 998"/>
                <a:gd name="T44" fmla="*/ 2147483647 w 684"/>
                <a:gd name="T45" fmla="*/ 2147483647 h 998"/>
                <a:gd name="T46" fmla="*/ 2147483647 w 684"/>
                <a:gd name="T47" fmla="*/ 2147483647 h 998"/>
                <a:gd name="T48" fmla="*/ 2147483647 w 684"/>
                <a:gd name="T49" fmla="*/ 2147483647 h 998"/>
                <a:gd name="T50" fmla="*/ 2147483647 w 684"/>
                <a:gd name="T51" fmla="*/ 2147483647 h 998"/>
                <a:gd name="T52" fmla="*/ 2147483647 w 684"/>
                <a:gd name="T53" fmla="*/ 2147483647 h 998"/>
                <a:gd name="T54" fmla="*/ 2147483647 w 684"/>
                <a:gd name="T55" fmla="*/ 2147483647 h 998"/>
                <a:gd name="T56" fmla="*/ 2147483647 w 684"/>
                <a:gd name="T57" fmla="*/ 2147483647 h 998"/>
                <a:gd name="T58" fmla="*/ 2147483647 w 684"/>
                <a:gd name="T59" fmla="*/ 2147483647 h 998"/>
                <a:gd name="T60" fmla="*/ 2147483647 w 684"/>
                <a:gd name="T61" fmla="*/ 2147483647 h 998"/>
                <a:gd name="T62" fmla="*/ 2147483647 w 684"/>
                <a:gd name="T63" fmla="*/ 2147483647 h 998"/>
                <a:gd name="T64" fmla="*/ 2147483647 w 684"/>
                <a:gd name="T65" fmla="*/ 2147483647 h 998"/>
                <a:gd name="T66" fmla="*/ 2147483647 w 684"/>
                <a:gd name="T67" fmla="*/ 2147483647 h 998"/>
                <a:gd name="T68" fmla="*/ 2147483647 w 684"/>
                <a:gd name="T69" fmla="*/ 2147483647 h 998"/>
                <a:gd name="T70" fmla="*/ 2147483647 w 684"/>
                <a:gd name="T71" fmla="*/ 2147483647 h 998"/>
                <a:gd name="T72" fmla="*/ 2147483647 w 684"/>
                <a:gd name="T73" fmla="*/ 2147483647 h 998"/>
                <a:gd name="T74" fmla="*/ 2147483647 w 684"/>
                <a:gd name="T75" fmla="*/ 2147483647 h 998"/>
                <a:gd name="T76" fmla="*/ 2147483647 w 684"/>
                <a:gd name="T77" fmla="*/ 2147483647 h 998"/>
                <a:gd name="T78" fmla="*/ 2147483647 w 684"/>
                <a:gd name="T79" fmla="*/ 2147483647 h 998"/>
                <a:gd name="T80" fmla="*/ 2147483647 w 684"/>
                <a:gd name="T81" fmla="*/ 2147483647 h 998"/>
                <a:gd name="T82" fmla="*/ 2147483647 w 684"/>
                <a:gd name="T83" fmla="*/ 2147483647 h 998"/>
                <a:gd name="T84" fmla="*/ 2147483647 w 684"/>
                <a:gd name="T85" fmla="*/ 2147483647 h 998"/>
                <a:gd name="T86" fmla="*/ 2147483647 w 684"/>
                <a:gd name="T87" fmla="*/ 2147483647 h 998"/>
                <a:gd name="T88" fmla="*/ 2147483647 w 684"/>
                <a:gd name="T89" fmla="*/ 2147483647 h 998"/>
                <a:gd name="T90" fmla="*/ 2147483647 w 684"/>
                <a:gd name="T91" fmla="*/ 2147483647 h 998"/>
                <a:gd name="T92" fmla="*/ 2147483647 w 684"/>
                <a:gd name="T93" fmla="*/ 2147483647 h 998"/>
                <a:gd name="T94" fmla="*/ 2147483647 w 684"/>
                <a:gd name="T95" fmla="*/ 2147483647 h 998"/>
                <a:gd name="T96" fmla="*/ 2147483647 w 684"/>
                <a:gd name="T97" fmla="*/ 2147483647 h 998"/>
                <a:gd name="T98" fmla="*/ 2147483647 w 684"/>
                <a:gd name="T99" fmla="*/ 2147483647 h 998"/>
                <a:gd name="T100" fmla="*/ 2147483647 w 684"/>
                <a:gd name="T101" fmla="*/ 2147483647 h 998"/>
                <a:gd name="T102" fmla="*/ 2147483647 w 684"/>
                <a:gd name="T103" fmla="*/ 2147483647 h 998"/>
                <a:gd name="T104" fmla="*/ 2147483647 w 684"/>
                <a:gd name="T105" fmla="*/ 2147483647 h 998"/>
                <a:gd name="T106" fmla="*/ 2147483647 w 684"/>
                <a:gd name="T107" fmla="*/ 2147483647 h 998"/>
                <a:gd name="T108" fmla="*/ 2147483647 w 684"/>
                <a:gd name="T109" fmla="*/ 2147483647 h 998"/>
                <a:gd name="T110" fmla="*/ 2147483647 w 684"/>
                <a:gd name="T111" fmla="*/ 2147483647 h 9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684" h="998">
                  <a:moveTo>
                    <a:pt x="684" y="622"/>
                  </a:moveTo>
                  <a:lnTo>
                    <a:pt x="680" y="609"/>
                  </a:lnTo>
                  <a:lnTo>
                    <a:pt x="676" y="596"/>
                  </a:lnTo>
                  <a:lnTo>
                    <a:pt x="672" y="583"/>
                  </a:lnTo>
                  <a:lnTo>
                    <a:pt x="671" y="573"/>
                  </a:lnTo>
                  <a:lnTo>
                    <a:pt x="671" y="568"/>
                  </a:lnTo>
                  <a:lnTo>
                    <a:pt x="673" y="564"/>
                  </a:lnTo>
                  <a:lnTo>
                    <a:pt x="676" y="559"/>
                  </a:lnTo>
                  <a:lnTo>
                    <a:pt x="678" y="555"/>
                  </a:lnTo>
                  <a:lnTo>
                    <a:pt x="680" y="550"/>
                  </a:lnTo>
                  <a:lnTo>
                    <a:pt x="682" y="546"/>
                  </a:lnTo>
                  <a:lnTo>
                    <a:pt x="683" y="541"/>
                  </a:lnTo>
                  <a:lnTo>
                    <a:pt x="684" y="537"/>
                  </a:lnTo>
                  <a:lnTo>
                    <a:pt x="680" y="519"/>
                  </a:lnTo>
                  <a:lnTo>
                    <a:pt x="671" y="491"/>
                  </a:lnTo>
                  <a:lnTo>
                    <a:pt x="666" y="475"/>
                  </a:lnTo>
                  <a:lnTo>
                    <a:pt x="662" y="459"/>
                  </a:lnTo>
                  <a:lnTo>
                    <a:pt x="659" y="444"/>
                  </a:lnTo>
                  <a:lnTo>
                    <a:pt x="658" y="432"/>
                  </a:lnTo>
                  <a:lnTo>
                    <a:pt x="659" y="423"/>
                  </a:lnTo>
                  <a:lnTo>
                    <a:pt x="661" y="415"/>
                  </a:lnTo>
                  <a:lnTo>
                    <a:pt x="665" y="409"/>
                  </a:lnTo>
                  <a:lnTo>
                    <a:pt x="669" y="403"/>
                  </a:lnTo>
                  <a:lnTo>
                    <a:pt x="673" y="396"/>
                  </a:lnTo>
                  <a:lnTo>
                    <a:pt x="678" y="389"/>
                  </a:lnTo>
                  <a:lnTo>
                    <a:pt x="681" y="381"/>
                  </a:lnTo>
                  <a:lnTo>
                    <a:pt x="684" y="370"/>
                  </a:lnTo>
                  <a:lnTo>
                    <a:pt x="571" y="370"/>
                  </a:lnTo>
                  <a:lnTo>
                    <a:pt x="564" y="366"/>
                  </a:lnTo>
                  <a:lnTo>
                    <a:pt x="557" y="361"/>
                  </a:lnTo>
                  <a:lnTo>
                    <a:pt x="550" y="355"/>
                  </a:lnTo>
                  <a:lnTo>
                    <a:pt x="544" y="347"/>
                  </a:lnTo>
                  <a:lnTo>
                    <a:pt x="539" y="340"/>
                  </a:lnTo>
                  <a:lnTo>
                    <a:pt x="535" y="333"/>
                  </a:lnTo>
                  <a:lnTo>
                    <a:pt x="533" y="326"/>
                  </a:lnTo>
                  <a:lnTo>
                    <a:pt x="532" y="321"/>
                  </a:lnTo>
                  <a:lnTo>
                    <a:pt x="512" y="320"/>
                  </a:lnTo>
                  <a:lnTo>
                    <a:pt x="494" y="318"/>
                  </a:lnTo>
                  <a:lnTo>
                    <a:pt x="477" y="315"/>
                  </a:lnTo>
                  <a:lnTo>
                    <a:pt x="462" y="310"/>
                  </a:lnTo>
                  <a:lnTo>
                    <a:pt x="447" y="304"/>
                  </a:lnTo>
                  <a:lnTo>
                    <a:pt x="434" y="298"/>
                  </a:lnTo>
                  <a:lnTo>
                    <a:pt x="423" y="290"/>
                  </a:lnTo>
                  <a:lnTo>
                    <a:pt x="412" y="281"/>
                  </a:lnTo>
                  <a:lnTo>
                    <a:pt x="402" y="270"/>
                  </a:lnTo>
                  <a:lnTo>
                    <a:pt x="395" y="259"/>
                  </a:lnTo>
                  <a:lnTo>
                    <a:pt x="388" y="246"/>
                  </a:lnTo>
                  <a:lnTo>
                    <a:pt x="382" y="232"/>
                  </a:lnTo>
                  <a:lnTo>
                    <a:pt x="378" y="218"/>
                  </a:lnTo>
                  <a:lnTo>
                    <a:pt x="375" y="201"/>
                  </a:lnTo>
                  <a:lnTo>
                    <a:pt x="373" y="184"/>
                  </a:lnTo>
                  <a:lnTo>
                    <a:pt x="373" y="167"/>
                  </a:lnTo>
                  <a:lnTo>
                    <a:pt x="373" y="155"/>
                  </a:lnTo>
                  <a:lnTo>
                    <a:pt x="374" y="144"/>
                  </a:lnTo>
                  <a:lnTo>
                    <a:pt x="375" y="133"/>
                  </a:lnTo>
                  <a:lnTo>
                    <a:pt x="377" y="123"/>
                  </a:lnTo>
                  <a:lnTo>
                    <a:pt x="380" y="113"/>
                  </a:lnTo>
                  <a:lnTo>
                    <a:pt x="385" y="103"/>
                  </a:lnTo>
                  <a:lnTo>
                    <a:pt x="389" y="94"/>
                  </a:lnTo>
                  <a:lnTo>
                    <a:pt x="395" y="84"/>
                  </a:lnTo>
                  <a:lnTo>
                    <a:pt x="401" y="76"/>
                  </a:lnTo>
                  <a:lnTo>
                    <a:pt x="408" y="68"/>
                  </a:lnTo>
                  <a:lnTo>
                    <a:pt x="416" y="61"/>
                  </a:lnTo>
                  <a:lnTo>
                    <a:pt x="425" y="54"/>
                  </a:lnTo>
                  <a:lnTo>
                    <a:pt x="435" y="48"/>
                  </a:lnTo>
                  <a:lnTo>
                    <a:pt x="446" y="42"/>
                  </a:lnTo>
                  <a:lnTo>
                    <a:pt x="458" y="36"/>
                  </a:lnTo>
                  <a:lnTo>
                    <a:pt x="471" y="31"/>
                  </a:lnTo>
                  <a:lnTo>
                    <a:pt x="471" y="18"/>
                  </a:lnTo>
                  <a:lnTo>
                    <a:pt x="463" y="11"/>
                  </a:lnTo>
                  <a:lnTo>
                    <a:pt x="455" y="7"/>
                  </a:lnTo>
                  <a:lnTo>
                    <a:pt x="447" y="4"/>
                  </a:lnTo>
                  <a:lnTo>
                    <a:pt x="438" y="0"/>
                  </a:lnTo>
                  <a:lnTo>
                    <a:pt x="414" y="19"/>
                  </a:lnTo>
                  <a:lnTo>
                    <a:pt x="389" y="39"/>
                  </a:lnTo>
                  <a:lnTo>
                    <a:pt x="378" y="48"/>
                  </a:lnTo>
                  <a:lnTo>
                    <a:pt x="367" y="56"/>
                  </a:lnTo>
                  <a:lnTo>
                    <a:pt x="356" y="63"/>
                  </a:lnTo>
                  <a:lnTo>
                    <a:pt x="345" y="68"/>
                  </a:lnTo>
                  <a:lnTo>
                    <a:pt x="335" y="68"/>
                  </a:lnTo>
                  <a:lnTo>
                    <a:pt x="326" y="68"/>
                  </a:lnTo>
                  <a:lnTo>
                    <a:pt x="319" y="68"/>
                  </a:lnTo>
                  <a:lnTo>
                    <a:pt x="312" y="68"/>
                  </a:lnTo>
                  <a:lnTo>
                    <a:pt x="309" y="74"/>
                  </a:lnTo>
                  <a:lnTo>
                    <a:pt x="304" y="78"/>
                  </a:lnTo>
                  <a:lnTo>
                    <a:pt x="299" y="81"/>
                  </a:lnTo>
                  <a:lnTo>
                    <a:pt x="295" y="83"/>
                  </a:lnTo>
                  <a:lnTo>
                    <a:pt x="289" y="85"/>
                  </a:lnTo>
                  <a:lnTo>
                    <a:pt x="284" y="85"/>
                  </a:lnTo>
                  <a:lnTo>
                    <a:pt x="278" y="84"/>
                  </a:lnTo>
                  <a:lnTo>
                    <a:pt x="273" y="84"/>
                  </a:lnTo>
                  <a:lnTo>
                    <a:pt x="262" y="82"/>
                  </a:lnTo>
                  <a:lnTo>
                    <a:pt x="251" y="81"/>
                  </a:lnTo>
                  <a:lnTo>
                    <a:pt x="245" y="81"/>
                  </a:lnTo>
                  <a:lnTo>
                    <a:pt x="241" y="81"/>
                  </a:lnTo>
                  <a:lnTo>
                    <a:pt x="236" y="83"/>
                  </a:lnTo>
                  <a:lnTo>
                    <a:pt x="233" y="86"/>
                  </a:lnTo>
                  <a:lnTo>
                    <a:pt x="225" y="94"/>
                  </a:lnTo>
                  <a:lnTo>
                    <a:pt x="221" y="101"/>
                  </a:lnTo>
                  <a:lnTo>
                    <a:pt x="217" y="108"/>
                  </a:lnTo>
                  <a:lnTo>
                    <a:pt x="213" y="114"/>
                  </a:lnTo>
                  <a:lnTo>
                    <a:pt x="209" y="128"/>
                  </a:lnTo>
                  <a:lnTo>
                    <a:pt x="206" y="143"/>
                  </a:lnTo>
                  <a:lnTo>
                    <a:pt x="201" y="159"/>
                  </a:lnTo>
                  <a:lnTo>
                    <a:pt x="196" y="175"/>
                  </a:lnTo>
                  <a:lnTo>
                    <a:pt x="192" y="183"/>
                  </a:lnTo>
                  <a:lnTo>
                    <a:pt x="187" y="191"/>
                  </a:lnTo>
                  <a:lnTo>
                    <a:pt x="180" y="200"/>
                  </a:lnTo>
                  <a:lnTo>
                    <a:pt x="173" y="210"/>
                  </a:lnTo>
                  <a:lnTo>
                    <a:pt x="157" y="227"/>
                  </a:lnTo>
                  <a:lnTo>
                    <a:pt x="140" y="244"/>
                  </a:lnTo>
                  <a:lnTo>
                    <a:pt x="131" y="253"/>
                  </a:lnTo>
                  <a:lnTo>
                    <a:pt x="122" y="263"/>
                  </a:lnTo>
                  <a:lnTo>
                    <a:pt x="115" y="273"/>
                  </a:lnTo>
                  <a:lnTo>
                    <a:pt x="107" y="284"/>
                  </a:lnTo>
                  <a:lnTo>
                    <a:pt x="102" y="288"/>
                  </a:lnTo>
                  <a:lnTo>
                    <a:pt x="98" y="294"/>
                  </a:lnTo>
                  <a:lnTo>
                    <a:pt x="96" y="299"/>
                  </a:lnTo>
                  <a:lnTo>
                    <a:pt x="94" y="305"/>
                  </a:lnTo>
                  <a:lnTo>
                    <a:pt x="90" y="317"/>
                  </a:lnTo>
                  <a:lnTo>
                    <a:pt x="86" y="327"/>
                  </a:lnTo>
                  <a:lnTo>
                    <a:pt x="85" y="331"/>
                  </a:lnTo>
                  <a:lnTo>
                    <a:pt x="84" y="338"/>
                  </a:lnTo>
                  <a:lnTo>
                    <a:pt x="84" y="347"/>
                  </a:lnTo>
                  <a:lnTo>
                    <a:pt x="86" y="356"/>
                  </a:lnTo>
                  <a:lnTo>
                    <a:pt x="88" y="366"/>
                  </a:lnTo>
                  <a:lnTo>
                    <a:pt x="91" y="375"/>
                  </a:lnTo>
                  <a:lnTo>
                    <a:pt x="93" y="378"/>
                  </a:lnTo>
                  <a:lnTo>
                    <a:pt x="95" y="380"/>
                  </a:lnTo>
                  <a:lnTo>
                    <a:pt x="97" y="382"/>
                  </a:lnTo>
                  <a:lnTo>
                    <a:pt x="100" y="382"/>
                  </a:lnTo>
                  <a:lnTo>
                    <a:pt x="98" y="397"/>
                  </a:lnTo>
                  <a:lnTo>
                    <a:pt x="97" y="414"/>
                  </a:lnTo>
                  <a:lnTo>
                    <a:pt x="97" y="433"/>
                  </a:lnTo>
                  <a:lnTo>
                    <a:pt x="97" y="451"/>
                  </a:lnTo>
                  <a:lnTo>
                    <a:pt x="99" y="484"/>
                  </a:lnTo>
                  <a:lnTo>
                    <a:pt x="100" y="505"/>
                  </a:lnTo>
                  <a:lnTo>
                    <a:pt x="99" y="511"/>
                  </a:lnTo>
                  <a:lnTo>
                    <a:pt x="98" y="518"/>
                  </a:lnTo>
                  <a:lnTo>
                    <a:pt x="95" y="525"/>
                  </a:lnTo>
                  <a:lnTo>
                    <a:pt x="91" y="532"/>
                  </a:lnTo>
                  <a:lnTo>
                    <a:pt x="88" y="541"/>
                  </a:lnTo>
                  <a:lnTo>
                    <a:pt x="83" y="548"/>
                  </a:lnTo>
                  <a:lnTo>
                    <a:pt x="77" y="556"/>
                  </a:lnTo>
                  <a:lnTo>
                    <a:pt x="72" y="563"/>
                  </a:lnTo>
                  <a:lnTo>
                    <a:pt x="65" y="570"/>
                  </a:lnTo>
                  <a:lnTo>
                    <a:pt x="59" y="576"/>
                  </a:lnTo>
                  <a:lnTo>
                    <a:pt x="51" y="582"/>
                  </a:lnTo>
                  <a:lnTo>
                    <a:pt x="43" y="587"/>
                  </a:lnTo>
                  <a:lnTo>
                    <a:pt x="37" y="592"/>
                  </a:lnTo>
                  <a:lnTo>
                    <a:pt x="29" y="596"/>
                  </a:lnTo>
                  <a:lnTo>
                    <a:pt x="21" y="598"/>
                  </a:lnTo>
                  <a:lnTo>
                    <a:pt x="14" y="598"/>
                  </a:lnTo>
                  <a:lnTo>
                    <a:pt x="12" y="605"/>
                  </a:lnTo>
                  <a:lnTo>
                    <a:pt x="11" y="612"/>
                  </a:lnTo>
                  <a:lnTo>
                    <a:pt x="9" y="618"/>
                  </a:lnTo>
                  <a:lnTo>
                    <a:pt x="7" y="625"/>
                  </a:lnTo>
                  <a:lnTo>
                    <a:pt x="3" y="637"/>
                  </a:lnTo>
                  <a:lnTo>
                    <a:pt x="0" y="648"/>
                  </a:lnTo>
                  <a:lnTo>
                    <a:pt x="30" y="668"/>
                  </a:lnTo>
                  <a:lnTo>
                    <a:pt x="67" y="694"/>
                  </a:lnTo>
                  <a:lnTo>
                    <a:pt x="87" y="707"/>
                  </a:lnTo>
                  <a:lnTo>
                    <a:pt x="106" y="718"/>
                  </a:lnTo>
                  <a:lnTo>
                    <a:pt x="115" y="722"/>
                  </a:lnTo>
                  <a:lnTo>
                    <a:pt x="123" y="725"/>
                  </a:lnTo>
                  <a:lnTo>
                    <a:pt x="132" y="727"/>
                  </a:lnTo>
                  <a:lnTo>
                    <a:pt x="140" y="727"/>
                  </a:lnTo>
                  <a:lnTo>
                    <a:pt x="153" y="727"/>
                  </a:lnTo>
                  <a:lnTo>
                    <a:pt x="166" y="727"/>
                  </a:lnTo>
                  <a:lnTo>
                    <a:pt x="175" y="728"/>
                  </a:lnTo>
                  <a:lnTo>
                    <a:pt x="184" y="729"/>
                  </a:lnTo>
                  <a:lnTo>
                    <a:pt x="192" y="730"/>
                  </a:lnTo>
                  <a:lnTo>
                    <a:pt x="201" y="732"/>
                  </a:lnTo>
                  <a:lnTo>
                    <a:pt x="218" y="738"/>
                  </a:lnTo>
                  <a:lnTo>
                    <a:pt x="234" y="746"/>
                  </a:lnTo>
                  <a:lnTo>
                    <a:pt x="250" y="755"/>
                  </a:lnTo>
                  <a:lnTo>
                    <a:pt x="265" y="767"/>
                  </a:lnTo>
                  <a:lnTo>
                    <a:pt x="279" y="778"/>
                  </a:lnTo>
                  <a:lnTo>
                    <a:pt x="292" y="789"/>
                  </a:lnTo>
                  <a:lnTo>
                    <a:pt x="299" y="795"/>
                  </a:lnTo>
                  <a:lnTo>
                    <a:pt x="306" y="802"/>
                  </a:lnTo>
                  <a:lnTo>
                    <a:pt x="312" y="809"/>
                  </a:lnTo>
                  <a:lnTo>
                    <a:pt x="318" y="818"/>
                  </a:lnTo>
                  <a:lnTo>
                    <a:pt x="328" y="834"/>
                  </a:lnTo>
                  <a:lnTo>
                    <a:pt x="337" y="850"/>
                  </a:lnTo>
                  <a:lnTo>
                    <a:pt x="342" y="857"/>
                  </a:lnTo>
                  <a:lnTo>
                    <a:pt x="347" y="864"/>
                  </a:lnTo>
                  <a:lnTo>
                    <a:pt x="354" y="871"/>
                  </a:lnTo>
                  <a:lnTo>
                    <a:pt x="359" y="877"/>
                  </a:lnTo>
                  <a:lnTo>
                    <a:pt x="367" y="881"/>
                  </a:lnTo>
                  <a:lnTo>
                    <a:pt x="374" y="885"/>
                  </a:lnTo>
                  <a:lnTo>
                    <a:pt x="382" y="887"/>
                  </a:lnTo>
                  <a:lnTo>
                    <a:pt x="392" y="888"/>
                  </a:lnTo>
                  <a:lnTo>
                    <a:pt x="402" y="887"/>
                  </a:lnTo>
                  <a:lnTo>
                    <a:pt x="412" y="886"/>
                  </a:lnTo>
                  <a:lnTo>
                    <a:pt x="422" y="884"/>
                  </a:lnTo>
                  <a:lnTo>
                    <a:pt x="432" y="882"/>
                  </a:lnTo>
                  <a:lnTo>
                    <a:pt x="442" y="879"/>
                  </a:lnTo>
                  <a:lnTo>
                    <a:pt x="452" y="877"/>
                  </a:lnTo>
                  <a:lnTo>
                    <a:pt x="462" y="876"/>
                  </a:lnTo>
                  <a:lnTo>
                    <a:pt x="471" y="875"/>
                  </a:lnTo>
                  <a:lnTo>
                    <a:pt x="478" y="876"/>
                  </a:lnTo>
                  <a:lnTo>
                    <a:pt x="485" y="878"/>
                  </a:lnTo>
                  <a:lnTo>
                    <a:pt x="489" y="878"/>
                  </a:lnTo>
                  <a:lnTo>
                    <a:pt x="492" y="878"/>
                  </a:lnTo>
                  <a:lnTo>
                    <a:pt x="496" y="877"/>
                  </a:lnTo>
                  <a:lnTo>
                    <a:pt x="499" y="875"/>
                  </a:lnTo>
                  <a:lnTo>
                    <a:pt x="501" y="883"/>
                  </a:lnTo>
                  <a:lnTo>
                    <a:pt x="509" y="894"/>
                  </a:lnTo>
                  <a:lnTo>
                    <a:pt x="515" y="904"/>
                  </a:lnTo>
                  <a:lnTo>
                    <a:pt x="519" y="912"/>
                  </a:lnTo>
                  <a:lnTo>
                    <a:pt x="518" y="915"/>
                  </a:lnTo>
                  <a:lnTo>
                    <a:pt x="516" y="918"/>
                  </a:lnTo>
                  <a:lnTo>
                    <a:pt x="515" y="920"/>
                  </a:lnTo>
                  <a:lnTo>
                    <a:pt x="513" y="922"/>
                  </a:lnTo>
                  <a:lnTo>
                    <a:pt x="508" y="927"/>
                  </a:lnTo>
                  <a:lnTo>
                    <a:pt x="502" y="930"/>
                  </a:lnTo>
                  <a:lnTo>
                    <a:pt x="496" y="933"/>
                  </a:lnTo>
                  <a:lnTo>
                    <a:pt x="490" y="936"/>
                  </a:lnTo>
                  <a:lnTo>
                    <a:pt x="488" y="937"/>
                  </a:lnTo>
                  <a:lnTo>
                    <a:pt x="487" y="939"/>
                  </a:lnTo>
                  <a:lnTo>
                    <a:pt x="486" y="941"/>
                  </a:lnTo>
                  <a:lnTo>
                    <a:pt x="485" y="943"/>
                  </a:lnTo>
                  <a:lnTo>
                    <a:pt x="486" y="954"/>
                  </a:lnTo>
                  <a:lnTo>
                    <a:pt x="488" y="963"/>
                  </a:lnTo>
                  <a:lnTo>
                    <a:pt x="490" y="970"/>
                  </a:lnTo>
                  <a:lnTo>
                    <a:pt x="494" y="977"/>
                  </a:lnTo>
                  <a:lnTo>
                    <a:pt x="499" y="984"/>
                  </a:lnTo>
                  <a:lnTo>
                    <a:pt x="504" y="989"/>
                  </a:lnTo>
                  <a:lnTo>
                    <a:pt x="511" y="994"/>
                  </a:lnTo>
                  <a:lnTo>
                    <a:pt x="519" y="998"/>
                  </a:lnTo>
                  <a:lnTo>
                    <a:pt x="538" y="998"/>
                  </a:lnTo>
                  <a:lnTo>
                    <a:pt x="538" y="986"/>
                  </a:lnTo>
                  <a:lnTo>
                    <a:pt x="539" y="973"/>
                  </a:lnTo>
                  <a:lnTo>
                    <a:pt x="542" y="962"/>
                  </a:lnTo>
                  <a:lnTo>
                    <a:pt x="544" y="950"/>
                  </a:lnTo>
                  <a:lnTo>
                    <a:pt x="548" y="928"/>
                  </a:lnTo>
                  <a:lnTo>
                    <a:pt x="555" y="906"/>
                  </a:lnTo>
                  <a:lnTo>
                    <a:pt x="561" y="884"/>
                  </a:lnTo>
                  <a:lnTo>
                    <a:pt x="566" y="861"/>
                  </a:lnTo>
                  <a:lnTo>
                    <a:pt x="568" y="850"/>
                  </a:lnTo>
                  <a:lnTo>
                    <a:pt x="570" y="838"/>
                  </a:lnTo>
                  <a:lnTo>
                    <a:pt x="571" y="826"/>
                  </a:lnTo>
                  <a:lnTo>
                    <a:pt x="571" y="813"/>
                  </a:lnTo>
                  <a:lnTo>
                    <a:pt x="571" y="803"/>
                  </a:lnTo>
                  <a:lnTo>
                    <a:pt x="569" y="794"/>
                  </a:lnTo>
                  <a:lnTo>
                    <a:pt x="567" y="786"/>
                  </a:lnTo>
                  <a:lnTo>
                    <a:pt x="564" y="780"/>
                  </a:lnTo>
                  <a:lnTo>
                    <a:pt x="559" y="775"/>
                  </a:lnTo>
                  <a:lnTo>
                    <a:pt x="555" y="771"/>
                  </a:lnTo>
                  <a:lnTo>
                    <a:pt x="549" y="768"/>
                  </a:lnTo>
                  <a:lnTo>
                    <a:pt x="545" y="765"/>
                  </a:lnTo>
                  <a:lnTo>
                    <a:pt x="535" y="759"/>
                  </a:lnTo>
                  <a:lnTo>
                    <a:pt x="526" y="752"/>
                  </a:lnTo>
                  <a:lnTo>
                    <a:pt x="523" y="749"/>
                  </a:lnTo>
                  <a:lnTo>
                    <a:pt x="521" y="745"/>
                  </a:lnTo>
                  <a:lnTo>
                    <a:pt x="519" y="740"/>
                  </a:lnTo>
                  <a:lnTo>
                    <a:pt x="519" y="733"/>
                  </a:lnTo>
                  <a:lnTo>
                    <a:pt x="519" y="728"/>
                  </a:lnTo>
                  <a:lnTo>
                    <a:pt x="521" y="723"/>
                  </a:lnTo>
                  <a:lnTo>
                    <a:pt x="523" y="719"/>
                  </a:lnTo>
                  <a:lnTo>
                    <a:pt x="526" y="716"/>
                  </a:lnTo>
                  <a:lnTo>
                    <a:pt x="535" y="710"/>
                  </a:lnTo>
                  <a:lnTo>
                    <a:pt x="546" y="706"/>
                  </a:lnTo>
                  <a:lnTo>
                    <a:pt x="566" y="700"/>
                  </a:lnTo>
                  <a:lnTo>
                    <a:pt x="578" y="696"/>
                  </a:lnTo>
                  <a:lnTo>
                    <a:pt x="578" y="678"/>
                  </a:lnTo>
                  <a:lnTo>
                    <a:pt x="568" y="673"/>
                  </a:lnTo>
                  <a:lnTo>
                    <a:pt x="560" y="668"/>
                  </a:lnTo>
                  <a:lnTo>
                    <a:pt x="556" y="665"/>
                  </a:lnTo>
                  <a:lnTo>
                    <a:pt x="554" y="662"/>
                  </a:lnTo>
                  <a:lnTo>
                    <a:pt x="552" y="658"/>
                  </a:lnTo>
                  <a:lnTo>
                    <a:pt x="552" y="654"/>
                  </a:lnTo>
                  <a:lnTo>
                    <a:pt x="553" y="651"/>
                  </a:lnTo>
                  <a:lnTo>
                    <a:pt x="556" y="649"/>
                  </a:lnTo>
                  <a:lnTo>
                    <a:pt x="563" y="646"/>
                  </a:lnTo>
                  <a:lnTo>
                    <a:pt x="569" y="644"/>
                  </a:lnTo>
                  <a:lnTo>
                    <a:pt x="588" y="639"/>
                  </a:lnTo>
                  <a:lnTo>
                    <a:pt x="611" y="635"/>
                  </a:lnTo>
                  <a:lnTo>
                    <a:pt x="655" y="628"/>
                  </a:lnTo>
                  <a:lnTo>
                    <a:pt x="684" y="622"/>
                  </a:lnTo>
                </a:path>
              </a:pathLst>
            </a:custGeom>
            <a:solidFill>
              <a:srgbClr val="19194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04" name="Freeform 451"/>
            <p:cNvSpPr>
              <a:spLocks/>
            </p:cNvSpPr>
            <p:nvPr>
              <p:custDataLst>
                <p:tags r:id="rId289"/>
              </p:custDataLst>
            </p:nvPr>
          </p:nvSpPr>
          <p:spPr bwMode="auto">
            <a:xfrm>
              <a:off x="6401432" y="4220014"/>
              <a:ext cx="187325" cy="274638"/>
            </a:xfrm>
            <a:custGeom>
              <a:avLst/>
              <a:gdLst>
                <a:gd name="T0" fmla="*/ 2147483647 w 429"/>
                <a:gd name="T1" fmla="*/ 2147483647 h 524"/>
                <a:gd name="T2" fmla="*/ 2147483647 w 429"/>
                <a:gd name="T3" fmla="*/ 2147483647 h 524"/>
                <a:gd name="T4" fmla="*/ 2147483647 w 429"/>
                <a:gd name="T5" fmla="*/ 2147483647 h 524"/>
                <a:gd name="T6" fmla="*/ 2147483647 w 429"/>
                <a:gd name="T7" fmla="*/ 2147483647 h 524"/>
                <a:gd name="T8" fmla="*/ 2147483647 w 429"/>
                <a:gd name="T9" fmla="*/ 2147483647 h 524"/>
                <a:gd name="T10" fmla="*/ 2147483647 w 429"/>
                <a:gd name="T11" fmla="*/ 2147483647 h 524"/>
                <a:gd name="T12" fmla="*/ 2147483647 w 429"/>
                <a:gd name="T13" fmla="*/ 2147483647 h 524"/>
                <a:gd name="T14" fmla="*/ 2147483647 w 429"/>
                <a:gd name="T15" fmla="*/ 2147483647 h 524"/>
                <a:gd name="T16" fmla="*/ 2147483647 w 429"/>
                <a:gd name="T17" fmla="*/ 2147483647 h 524"/>
                <a:gd name="T18" fmla="*/ 2147483647 w 429"/>
                <a:gd name="T19" fmla="*/ 2147483647 h 524"/>
                <a:gd name="T20" fmla="*/ 2147483647 w 429"/>
                <a:gd name="T21" fmla="*/ 2147483647 h 524"/>
                <a:gd name="T22" fmla="*/ 2147483647 w 429"/>
                <a:gd name="T23" fmla="*/ 2147483647 h 524"/>
                <a:gd name="T24" fmla="*/ 2147483647 w 429"/>
                <a:gd name="T25" fmla="*/ 2147483647 h 524"/>
                <a:gd name="T26" fmla="*/ 2147483647 w 429"/>
                <a:gd name="T27" fmla="*/ 2147483647 h 524"/>
                <a:gd name="T28" fmla="*/ 2147483647 w 429"/>
                <a:gd name="T29" fmla="*/ 2147483647 h 524"/>
                <a:gd name="T30" fmla="*/ 2147483647 w 429"/>
                <a:gd name="T31" fmla="*/ 2147483647 h 524"/>
                <a:gd name="T32" fmla="*/ 2147483647 w 429"/>
                <a:gd name="T33" fmla="*/ 2147483647 h 524"/>
                <a:gd name="T34" fmla="*/ 2147483647 w 429"/>
                <a:gd name="T35" fmla="*/ 2147483647 h 524"/>
                <a:gd name="T36" fmla="*/ 2147483647 w 429"/>
                <a:gd name="T37" fmla="*/ 2147483647 h 524"/>
                <a:gd name="T38" fmla="*/ 2147483647 w 429"/>
                <a:gd name="T39" fmla="*/ 2147483647 h 524"/>
                <a:gd name="T40" fmla="*/ 2147483647 w 429"/>
                <a:gd name="T41" fmla="*/ 2147483647 h 524"/>
                <a:gd name="T42" fmla="*/ 2147483647 w 429"/>
                <a:gd name="T43" fmla="*/ 2147483647 h 524"/>
                <a:gd name="T44" fmla="*/ 2147483647 w 429"/>
                <a:gd name="T45" fmla="*/ 2147483647 h 524"/>
                <a:gd name="T46" fmla="*/ 2147483647 w 429"/>
                <a:gd name="T47" fmla="*/ 2147483647 h 524"/>
                <a:gd name="T48" fmla="*/ 2147483647 w 429"/>
                <a:gd name="T49" fmla="*/ 2147483647 h 524"/>
                <a:gd name="T50" fmla="*/ 2147483647 w 429"/>
                <a:gd name="T51" fmla="*/ 2147483647 h 524"/>
                <a:gd name="T52" fmla="*/ 2147483647 w 429"/>
                <a:gd name="T53" fmla="*/ 2147483647 h 524"/>
                <a:gd name="T54" fmla="*/ 2147483647 w 429"/>
                <a:gd name="T55" fmla="*/ 2147483647 h 524"/>
                <a:gd name="T56" fmla="*/ 2147483647 w 429"/>
                <a:gd name="T57" fmla="*/ 2147483647 h 524"/>
                <a:gd name="T58" fmla="*/ 2147483647 w 429"/>
                <a:gd name="T59" fmla="*/ 2147483647 h 524"/>
                <a:gd name="T60" fmla="*/ 2147483647 w 429"/>
                <a:gd name="T61" fmla="*/ 2147483647 h 524"/>
                <a:gd name="T62" fmla="*/ 2147483647 w 429"/>
                <a:gd name="T63" fmla="*/ 2147483647 h 524"/>
                <a:gd name="T64" fmla="*/ 2147483647 w 429"/>
                <a:gd name="T65" fmla="*/ 2147483647 h 524"/>
                <a:gd name="T66" fmla="*/ 2147483647 w 429"/>
                <a:gd name="T67" fmla="*/ 2147483647 h 524"/>
                <a:gd name="T68" fmla="*/ 2147483647 w 429"/>
                <a:gd name="T69" fmla="*/ 2147483647 h 524"/>
                <a:gd name="T70" fmla="*/ 2147483647 w 429"/>
                <a:gd name="T71" fmla="*/ 2147483647 h 524"/>
                <a:gd name="T72" fmla="*/ 2147483647 w 429"/>
                <a:gd name="T73" fmla="*/ 2147483647 h 524"/>
                <a:gd name="T74" fmla="*/ 2147483647 w 429"/>
                <a:gd name="T75" fmla="*/ 2147483647 h 524"/>
                <a:gd name="T76" fmla="*/ 2147483647 w 429"/>
                <a:gd name="T77" fmla="*/ 2147483647 h 524"/>
                <a:gd name="T78" fmla="*/ 2147483647 w 429"/>
                <a:gd name="T79" fmla="*/ 2147483647 h 524"/>
                <a:gd name="T80" fmla="*/ 2147483647 w 429"/>
                <a:gd name="T81" fmla="*/ 2147483647 h 524"/>
                <a:gd name="T82" fmla="*/ 2147483647 w 429"/>
                <a:gd name="T83" fmla="*/ 2147483647 h 524"/>
                <a:gd name="T84" fmla="*/ 2147483647 w 429"/>
                <a:gd name="T85" fmla="*/ 2147483647 h 524"/>
                <a:gd name="T86" fmla="*/ 2147483647 w 429"/>
                <a:gd name="T87" fmla="*/ 2147483647 h 524"/>
                <a:gd name="T88" fmla="*/ 2147483647 w 429"/>
                <a:gd name="T89" fmla="*/ 2147483647 h 524"/>
                <a:gd name="T90" fmla="*/ 2147483647 w 429"/>
                <a:gd name="T91" fmla="*/ 2147483647 h 524"/>
                <a:gd name="T92" fmla="*/ 2147483647 w 429"/>
                <a:gd name="T93" fmla="*/ 2147483647 h 524"/>
                <a:gd name="T94" fmla="*/ 2147483647 w 429"/>
                <a:gd name="T95" fmla="*/ 2147483647 h 524"/>
                <a:gd name="T96" fmla="*/ 2147483647 w 429"/>
                <a:gd name="T97" fmla="*/ 2147483647 h 524"/>
                <a:gd name="T98" fmla="*/ 2147483647 w 429"/>
                <a:gd name="T99" fmla="*/ 2147483647 h 524"/>
                <a:gd name="T100" fmla="*/ 2147483647 w 429"/>
                <a:gd name="T101" fmla="*/ 2147483647 h 524"/>
                <a:gd name="T102" fmla="*/ 2147483647 w 429"/>
                <a:gd name="T103" fmla="*/ 2147483647 h 524"/>
                <a:gd name="T104" fmla="*/ 2147483647 w 429"/>
                <a:gd name="T105" fmla="*/ 2147483647 h 524"/>
                <a:gd name="T106" fmla="*/ 2147483647 w 429"/>
                <a:gd name="T107" fmla="*/ 2147483647 h 524"/>
                <a:gd name="T108" fmla="*/ 2147483647 w 429"/>
                <a:gd name="T109" fmla="*/ 2147483647 h 524"/>
                <a:gd name="T110" fmla="*/ 2147483647 w 429"/>
                <a:gd name="T111" fmla="*/ 2147483647 h 524"/>
                <a:gd name="T112" fmla="*/ 2147483647 w 429"/>
                <a:gd name="T113" fmla="*/ 2147483647 h 524"/>
                <a:gd name="T114" fmla="*/ 2147483647 w 429"/>
                <a:gd name="T115" fmla="*/ 2147483647 h 524"/>
                <a:gd name="T116" fmla="*/ 2147483647 w 429"/>
                <a:gd name="T117" fmla="*/ 2147483647 h 524"/>
                <a:gd name="T118" fmla="*/ 2147483647 w 429"/>
                <a:gd name="T119" fmla="*/ 2147483647 h 524"/>
                <a:gd name="T120" fmla="*/ 2147483647 w 429"/>
                <a:gd name="T121" fmla="*/ 2147483647 h 524"/>
                <a:gd name="T122" fmla="*/ 2147483647 w 429"/>
                <a:gd name="T123" fmla="*/ 2147483647 h 524"/>
                <a:gd name="T124" fmla="*/ 2147483647 w 429"/>
                <a:gd name="T125" fmla="*/ 2147483647 h 52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29" h="524">
                  <a:moveTo>
                    <a:pt x="426" y="0"/>
                  </a:moveTo>
                  <a:lnTo>
                    <a:pt x="427" y="12"/>
                  </a:lnTo>
                  <a:lnTo>
                    <a:pt x="429" y="22"/>
                  </a:lnTo>
                  <a:lnTo>
                    <a:pt x="429" y="31"/>
                  </a:lnTo>
                  <a:lnTo>
                    <a:pt x="429" y="38"/>
                  </a:lnTo>
                  <a:lnTo>
                    <a:pt x="428" y="43"/>
                  </a:lnTo>
                  <a:lnTo>
                    <a:pt x="427" y="48"/>
                  </a:lnTo>
                  <a:lnTo>
                    <a:pt x="426" y="51"/>
                  </a:lnTo>
                  <a:lnTo>
                    <a:pt x="424" y="54"/>
                  </a:lnTo>
                  <a:lnTo>
                    <a:pt x="419" y="60"/>
                  </a:lnTo>
                  <a:lnTo>
                    <a:pt x="416" y="64"/>
                  </a:lnTo>
                  <a:lnTo>
                    <a:pt x="415" y="67"/>
                  </a:lnTo>
                  <a:lnTo>
                    <a:pt x="413" y="71"/>
                  </a:lnTo>
                  <a:lnTo>
                    <a:pt x="413" y="75"/>
                  </a:lnTo>
                  <a:lnTo>
                    <a:pt x="413" y="81"/>
                  </a:lnTo>
                  <a:lnTo>
                    <a:pt x="413" y="109"/>
                  </a:lnTo>
                  <a:lnTo>
                    <a:pt x="414" y="135"/>
                  </a:lnTo>
                  <a:lnTo>
                    <a:pt x="414" y="160"/>
                  </a:lnTo>
                  <a:lnTo>
                    <a:pt x="413" y="183"/>
                  </a:lnTo>
                  <a:lnTo>
                    <a:pt x="410" y="196"/>
                  </a:lnTo>
                  <a:lnTo>
                    <a:pt x="408" y="207"/>
                  </a:lnTo>
                  <a:lnTo>
                    <a:pt x="405" y="218"/>
                  </a:lnTo>
                  <a:lnTo>
                    <a:pt x="401" y="229"/>
                  </a:lnTo>
                  <a:lnTo>
                    <a:pt x="396" y="241"/>
                  </a:lnTo>
                  <a:lnTo>
                    <a:pt x="390" y="254"/>
                  </a:lnTo>
                  <a:lnTo>
                    <a:pt x="382" y="266"/>
                  </a:lnTo>
                  <a:lnTo>
                    <a:pt x="372" y="278"/>
                  </a:lnTo>
                  <a:lnTo>
                    <a:pt x="360" y="288"/>
                  </a:lnTo>
                  <a:lnTo>
                    <a:pt x="346" y="300"/>
                  </a:lnTo>
                  <a:lnTo>
                    <a:pt x="338" y="309"/>
                  </a:lnTo>
                  <a:lnTo>
                    <a:pt x="331" y="316"/>
                  </a:lnTo>
                  <a:lnTo>
                    <a:pt x="325" y="324"/>
                  </a:lnTo>
                  <a:lnTo>
                    <a:pt x="319" y="333"/>
                  </a:lnTo>
                  <a:lnTo>
                    <a:pt x="318" y="361"/>
                  </a:lnTo>
                  <a:lnTo>
                    <a:pt x="314" y="395"/>
                  </a:lnTo>
                  <a:lnTo>
                    <a:pt x="312" y="412"/>
                  </a:lnTo>
                  <a:lnTo>
                    <a:pt x="308" y="428"/>
                  </a:lnTo>
                  <a:lnTo>
                    <a:pt x="306" y="434"/>
                  </a:lnTo>
                  <a:lnTo>
                    <a:pt x="304" y="439"/>
                  </a:lnTo>
                  <a:lnTo>
                    <a:pt x="302" y="442"/>
                  </a:lnTo>
                  <a:lnTo>
                    <a:pt x="300" y="444"/>
                  </a:lnTo>
                  <a:lnTo>
                    <a:pt x="290" y="448"/>
                  </a:lnTo>
                  <a:lnTo>
                    <a:pt x="280" y="451"/>
                  </a:lnTo>
                  <a:lnTo>
                    <a:pt x="274" y="453"/>
                  </a:lnTo>
                  <a:lnTo>
                    <a:pt x="269" y="455"/>
                  </a:lnTo>
                  <a:lnTo>
                    <a:pt x="264" y="458"/>
                  </a:lnTo>
                  <a:lnTo>
                    <a:pt x="259" y="462"/>
                  </a:lnTo>
                  <a:lnTo>
                    <a:pt x="253" y="472"/>
                  </a:lnTo>
                  <a:lnTo>
                    <a:pt x="245" y="487"/>
                  </a:lnTo>
                  <a:lnTo>
                    <a:pt x="239" y="494"/>
                  </a:lnTo>
                  <a:lnTo>
                    <a:pt x="234" y="500"/>
                  </a:lnTo>
                  <a:lnTo>
                    <a:pt x="230" y="502"/>
                  </a:lnTo>
                  <a:lnTo>
                    <a:pt x="227" y="504"/>
                  </a:lnTo>
                  <a:lnTo>
                    <a:pt x="223" y="505"/>
                  </a:lnTo>
                  <a:lnTo>
                    <a:pt x="219" y="506"/>
                  </a:lnTo>
                  <a:lnTo>
                    <a:pt x="210" y="505"/>
                  </a:lnTo>
                  <a:lnTo>
                    <a:pt x="201" y="504"/>
                  </a:lnTo>
                  <a:lnTo>
                    <a:pt x="196" y="503"/>
                  </a:lnTo>
                  <a:lnTo>
                    <a:pt x="192" y="501"/>
                  </a:lnTo>
                  <a:lnTo>
                    <a:pt x="189" y="498"/>
                  </a:lnTo>
                  <a:lnTo>
                    <a:pt x="186" y="494"/>
                  </a:lnTo>
                  <a:lnTo>
                    <a:pt x="166" y="496"/>
                  </a:lnTo>
                  <a:lnTo>
                    <a:pt x="145" y="500"/>
                  </a:lnTo>
                  <a:lnTo>
                    <a:pt x="135" y="502"/>
                  </a:lnTo>
                  <a:lnTo>
                    <a:pt x="126" y="501"/>
                  </a:lnTo>
                  <a:lnTo>
                    <a:pt x="123" y="500"/>
                  </a:lnTo>
                  <a:lnTo>
                    <a:pt x="119" y="499"/>
                  </a:lnTo>
                  <a:lnTo>
                    <a:pt x="116" y="497"/>
                  </a:lnTo>
                  <a:lnTo>
                    <a:pt x="113" y="494"/>
                  </a:lnTo>
                  <a:lnTo>
                    <a:pt x="106" y="493"/>
                  </a:lnTo>
                  <a:lnTo>
                    <a:pt x="100" y="493"/>
                  </a:lnTo>
                  <a:lnTo>
                    <a:pt x="95" y="493"/>
                  </a:lnTo>
                  <a:lnTo>
                    <a:pt x="91" y="494"/>
                  </a:lnTo>
                  <a:lnTo>
                    <a:pt x="83" y="497"/>
                  </a:lnTo>
                  <a:lnTo>
                    <a:pt x="78" y="502"/>
                  </a:lnTo>
                  <a:lnTo>
                    <a:pt x="73" y="507"/>
                  </a:lnTo>
                  <a:lnTo>
                    <a:pt x="68" y="513"/>
                  </a:lnTo>
                  <a:lnTo>
                    <a:pt x="62" y="519"/>
                  </a:lnTo>
                  <a:lnTo>
                    <a:pt x="54" y="524"/>
                  </a:lnTo>
                  <a:lnTo>
                    <a:pt x="39" y="507"/>
                  </a:lnTo>
                  <a:lnTo>
                    <a:pt x="27" y="491"/>
                  </a:lnTo>
                  <a:lnTo>
                    <a:pt x="14" y="474"/>
                  </a:lnTo>
                  <a:lnTo>
                    <a:pt x="0" y="456"/>
                  </a:lnTo>
                  <a:lnTo>
                    <a:pt x="6" y="447"/>
                  </a:lnTo>
                  <a:lnTo>
                    <a:pt x="13" y="440"/>
                  </a:lnTo>
                  <a:lnTo>
                    <a:pt x="18" y="434"/>
                  </a:lnTo>
                  <a:lnTo>
                    <a:pt x="25" y="430"/>
                  </a:lnTo>
                  <a:lnTo>
                    <a:pt x="31" y="427"/>
                  </a:lnTo>
                  <a:lnTo>
                    <a:pt x="36" y="425"/>
                  </a:lnTo>
                  <a:lnTo>
                    <a:pt x="42" y="424"/>
                  </a:lnTo>
                  <a:lnTo>
                    <a:pt x="46" y="424"/>
                  </a:lnTo>
                  <a:lnTo>
                    <a:pt x="55" y="425"/>
                  </a:lnTo>
                  <a:lnTo>
                    <a:pt x="61" y="428"/>
                  </a:lnTo>
                  <a:lnTo>
                    <a:pt x="65" y="431"/>
                  </a:lnTo>
                  <a:lnTo>
                    <a:pt x="67" y="432"/>
                  </a:lnTo>
                  <a:lnTo>
                    <a:pt x="58" y="418"/>
                  </a:lnTo>
                  <a:lnTo>
                    <a:pt x="51" y="405"/>
                  </a:lnTo>
                  <a:lnTo>
                    <a:pt x="47" y="395"/>
                  </a:lnTo>
                  <a:lnTo>
                    <a:pt x="45" y="386"/>
                  </a:lnTo>
                  <a:lnTo>
                    <a:pt x="45" y="378"/>
                  </a:lnTo>
                  <a:lnTo>
                    <a:pt x="45" y="372"/>
                  </a:lnTo>
                  <a:lnTo>
                    <a:pt x="47" y="366"/>
                  </a:lnTo>
                  <a:lnTo>
                    <a:pt x="50" y="362"/>
                  </a:lnTo>
                  <a:lnTo>
                    <a:pt x="54" y="359"/>
                  </a:lnTo>
                  <a:lnTo>
                    <a:pt x="57" y="356"/>
                  </a:lnTo>
                  <a:lnTo>
                    <a:pt x="61" y="354"/>
                  </a:lnTo>
                  <a:lnTo>
                    <a:pt x="65" y="353"/>
                  </a:lnTo>
                  <a:lnTo>
                    <a:pt x="71" y="352"/>
                  </a:lnTo>
                  <a:lnTo>
                    <a:pt x="73" y="351"/>
                  </a:lnTo>
                  <a:lnTo>
                    <a:pt x="81" y="343"/>
                  </a:lnTo>
                  <a:lnTo>
                    <a:pt x="89" y="337"/>
                  </a:lnTo>
                  <a:lnTo>
                    <a:pt x="94" y="334"/>
                  </a:lnTo>
                  <a:lnTo>
                    <a:pt x="100" y="333"/>
                  </a:lnTo>
                  <a:lnTo>
                    <a:pt x="104" y="333"/>
                  </a:lnTo>
                  <a:lnTo>
                    <a:pt x="109" y="335"/>
                  </a:lnTo>
                  <a:lnTo>
                    <a:pt x="112" y="339"/>
                  </a:lnTo>
                  <a:lnTo>
                    <a:pt x="115" y="342"/>
                  </a:lnTo>
                  <a:lnTo>
                    <a:pt x="123" y="350"/>
                  </a:lnTo>
                  <a:lnTo>
                    <a:pt x="130" y="356"/>
                  </a:lnTo>
                  <a:lnTo>
                    <a:pt x="135" y="359"/>
                  </a:lnTo>
                  <a:lnTo>
                    <a:pt x="140" y="359"/>
                  </a:lnTo>
                  <a:lnTo>
                    <a:pt x="146" y="356"/>
                  </a:lnTo>
                  <a:lnTo>
                    <a:pt x="154" y="351"/>
                  </a:lnTo>
                  <a:lnTo>
                    <a:pt x="163" y="354"/>
                  </a:lnTo>
                  <a:lnTo>
                    <a:pt x="172" y="354"/>
                  </a:lnTo>
                  <a:lnTo>
                    <a:pt x="181" y="353"/>
                  </a:lnTo>
                  <a:lnTo>
                    <a:pt x="188" y="350"/>
                  </a:lnTo>
                  <a:lnTo>
                    <a:pt x="193" y="345"/>
                  </a:lnTo>
                  <a:lnTo>
                    <a:pt x="199" y="340"/>
                  </a:lnTo>
                  <a:lnTo>
                    <a:pt x="202" y="334"/>
                  </a:lnTo>
                  <a:lnTo>
                    <a:pt x="205" y="328"/>
                  </a:lnTo>
                  <a:lnTo>
                    <a:pt x="210" y="315"/>
                  </a:lnTo>
                  <a:lnTo>
                    <a:pt x="212" y="302"/>
                  </a:lnTo>
                  <a:lnTo>
                    <a:pt x="213" y="293"/>
                  </a:lnTo>
                  <a:lnTo>
                    <a:pt x="213" y="290"/>
                  </a:lnTo>
                  <a:lnTo>
                    <a:pt x="215" y="283"/>
                  </a:lnTo>
                  <a:lnTo>
                    <a:pt x="215" y="276"/>
                  </a:lnTo>
                  <a:lnTo>
                    <a:pt x="215" y="269"/>
                  </a:lnTo>
                  <a:lnTo>
                    <a:pt x="213" y="262"/>
                  </a:lnTo>
                  <a:lnTo>
                    <a:pt x="208" y="249"/>
                  </a:lnTo>
                  <a:lnTo>
                    <a:pt x="201" y="236"/>
                  </a:lnTo>
                  <a:lnTo>
                    <a:pt x="186" y="217"/>
                  </a:lnTo>
                  <a:lnTo>
                    <a:pt x="180" y="210"/>
                  </a:lnTo>
                  <a:lnTo>
                    <a:pt x="188" y="203"/>
                  </a:lnTo>
                  <a:lnTo>
                    <a:pt x="202" y="187"/>
                  </a:lnTo>
                  <a:lnTo>
                    <a:pt x="205" y="182"/>
                  </a:lnTo>
                  <a:lnTo>
                    <a:pt x="207" y="177"/>
                  </a:lnTo>
                  <a:lnTo>
                    <a:pt x="210" y="173"/>
                  </a:lnTo>
                  <a:lnTo>
                    <a:pt x="211" y="168"/>
                  </a:lnTo>
                  <a:lnTo>
                    <a:pt x="210" y="164"/>
                  </a:lnTo>
                  <a:lnTo>
                    <a:pt x="208" y="161"/>
                  </a:lnTo>
                  <a:lnTo>
                    <a:pt x="205" y="157"/>
                  </a:lnTo>
                  <a:lnTo>
                    <a:pt x="200" y="155"/>
                  </a:lnTo>
                  <a:lnTo>
                    <a:pt x="200" y="148"/>
                  </a:lnTo>
                  <a:lnTo>
                    <a:pt x="200" y="142"/>
                  </a:lnTo>
                  <a:lnTo>
                    <a:pt x="197" y="137"/>
                  </a:lnTo>
                  <a:lnTo>
                    <a:pt x="195" y="133"/>
                  </a:lnTo>
                  <a:lnTo>
                    <a:pt x="192" y="131"/>
                  </a:lnTo>
                  <a:lnTo>
                    <a:pt x="188" y="129"/>
                  </a:lnTo>
                  <a:lnTo>
                    <a:pt x="183" y="129"/>
                  </a:lnTo>
                  <a:lnTo>
                    <a:pt x="179" y="129"/>
                  </a:lnTo>
                  <a:lnTo>
                    <a:pt x="161" y="132"/>
                  </a:lnTo>
                  <a:lnTo>
                    <a:pt x="154" y="137"/>
                  </a:lnTo>
                  <a:lnTo>
                    <a:pt x="144" y="134"/>
                  </a:lnTo>
                  <a:lnTo>
                    <a:pt x="137" y="131"/>
                  </a:lnTo>
                  <a:lnTo>
                    <a:pt x="132" y="128"/>
                  </a:lnTo>
                  <a:lnTo>
                    <a:pt x="127" y="124"/>
                  </a:lnTo>
                  <a:lnTo>
                    <a:pt x="125" y="119"/>
                  </a:lnTo>
                  <a:lnTo>
                    <a:pt x="123" y="114"/>
                  </a:lnTo>
                  <a:lnTo>
                    <a:pt x="123" y="109"/>
                  </a:lnTo>
                  <a:lnTo>
                    <a:pt x="123" y="103"/>
                  </a:lnTo>
                  <a:lnTo>
                    <a:pt x="125" y="93"/>
                  </a:lnTo>
                  <a:lnTo>
                    <a:pt x="128" y="84"/>
                  </a:lnTo>
                  <a:lnTo>
                    <a:pt x="132" y="76"/>
                  </a:lnTo>
                  <a:lnTo>
                    <a:pt x="133" y="74"/>
                  </a:lnTo>
                  <a:lnTo>
                    <a:pt x="293" y="105"/>
                  </a:lnTo>
                  <a:lnTo>
                    <a:pt x="306" y="38"/>
                  </a:lnTo>
                  <a:lnTo>
                    <a:pt x="311" y="30"/>
                  </a:lnTo>
                  <a:lnTo>
                    <a:pt x="317" y="22"/>
                  </a:lnTo>
                  <a:lnTo>
                    <a:pt x="323" y="17"/>
                  </a:lnTo>
                  <a:lnTo>
                    <a:pt x="329" y="12"/>
                  </a:lnTo>
                  <a:lnTo>
                    <a:pt x="336" y="9"/>
                  </a:lnTo>
                  <a:lnTo>
                    <a:pt x="343" y="7"/>
                  </a:lnTo>
                  <a:lnTo>
                    <a:pt x="350" y="6"/>
                  </a:lnTo>
                  <a:lnTo>
                    <a:pt x="358" y="5"/>
                  </a:lnTo>
                  <a:lnTo>
                    <a:pt x="374" y="5"/>
                  </a:lnTo>
                  <a:lnTo>
                    <a:pt x="391" y="4"/>
                  </a:lnTo>
                  <a:lnTo>
                    <a:pt x="399" y="4"/>
                  </a:lnTo>
                  <a:lnTo>
                    <a:pt x="408" y="4"/>
                  </a:lnTo>
                  <a:lnTo>
                    <a:pt x="417" y="2"/>
                  </a:lnTo>
                  <a:lnTo>
                    <a:pt x="4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64" name="Freeform 452"/>
            <p:cNvSpPr>
              <a:spLocks/>
            </p:cNvSpPr>
            <p:nvPr>
              <p:custDataLst>
                <p:tags r:id="rId290"/>
              </p:custDataLst>
            </p:nvPr>
          </p:nvSpPr>
          <p:spPr bwMode="auto">
            <a:xfrm>
              <a:off x="6433384" y="2862549"/>
              <a:ext cx="126080" cy="114702"/>
            </a:xfrm>
            <a:custGeom>
              <a:avLst/>
              <a:gdLst>
                <a:gd name="T0" fmla="*/ 259 w 292"/>
                <a:gd name="T1" fmla="*/ 93 h 223"/>
                <a:gd name="T2" fmla="*/ 166 w 292"/>
                <a:gd name="T3" fmla="*/ 77 h 223"/>
                <a:gd name="T4" fmla="*/ 152 w 292"/>
                <a:gd name="T5" fmla="*/ 79 h 223"/>
                <a:gd name="T6" fmla="*/ 139 w 292"/>
                <a:gd name="T7" fmla="*/ 79 h 223"/>
                <a:gd name="T8" fmla="*/ 126 w 292"/>
                <a:gd name="T9" fmla="*/ 77 h 223"/>
                <a:gd name="T10" fmla="*/ 119 w 292"/>
                <a:gd name="T11" fmla="*/ 93 h 223"/>
                <a:gd name="T12" fmla="*/ 144 w 292"/>
                <a:gd name="T13" fmla="*/ 131 h 223"/>
                <a:gd name="T14" fmla="*/ 168 w 292"/>
                <a:gd name="T15" fmla="*/ 157 h 223"/>
                <a:gd name="T16" fmla="*/ 189 w 292"/>
                <a:gd name="T17" fmla="*/ 185 h 223"/>
                <a:gd name="T18" fmla="*/ 197 w 292"/>
                <a:gd name="T19" fmla="*/ 202 h 223"/>
                <a:gd name="T20" fmla="*/ 205 w 292"/>
                <a:gd name="T21" fmla="*/ 222 h 223"/>
                <a:gd name="T22" fmla="*/ 175 w 292"/>
                <a:gd name="T23" fmla="*/ 223 h 223"/>
                <a:gd name="T24" fmla="*/ 161 w 292"/>
                <a:gd name="T25" fmla="*/ 222 h 223"/>
                <a:gd name="T26" fmla="*/ 146 w 292"/>
                <a:gd name="T27" fmla="*/ 216 h 223"/>
                <a:gd name="T28" fmla="*/ 134 w 292"/>
                <a:gd name="T29" fmla="*/ 209 h 223"/>
                <a:gd name="T30" fmla="*/ 127 w 292"/>
                <a:gd name="T31" fmla="*/ 198 h 223"/>
                <a:gd name="T32" fmla="*/ 121 w 292"/>
                <a:gd name="T33" fmla="*/ 187 h 223"/>
                <a:gd name="T34" fmla="*/ 113 w 292"/>
                <a:gd name="T35" fmla="*/ 180 h 223"/>
                <a:gd name="T36" fmla="*/ 91 w 292"/>
                <a:gd name="T37" fmla="*/ 145 h 223"/>
                <a:gd name="T38" fmla="*/ 68 w 292"/>
                <a:gd name="T39" fmla="*/ 113 h 223"/>
                <a:gd name="T40" fmla="*/ 55 w 292"/>
                <a:gd name="T41" fmla="*/ 99 h 223"/>
                <a:gd name="T42" fmla="*/ 42 w 292"/>
                <a:gd name="T43" fmla="*/ 87 h 223"/>
                <a:gd name="T44" fmla="*/ 27 w 292"/>
                <a:gd name="T45" fmla="*/ 79 h 223"/>
                <a:gd name="T46" fmla="*/ 13 w 292"/>
                <a:gd name="T47" fmla="*/ 75 h 223"/>
                <a:gd name="T48" fmla="*/ 4 w 292"/>
                <a:gd name="T49" fmla="*/ 65 h 223"/>
                <a:gd name="T50" fmla="*/ 1 w 292"/>
                <a:gd name="T51" fmla="*/ 58 h 223"/>
                <a:gd name="T52" fmla="*/ 0 w 292"/>
                <a:gd name="T53" fmla="*/ 49 h 223"/>
                <a:gd name="T54" fmla="*/ 40 w 292"/>
                <a:gd name="T55" fmla="*/ 55 h 223"/>
                <a:gd name="T56" fmla="*/ 70 w 292"/>
                <a:gd name="T57" fmla="*/ 55 h 223"/>
                <a:gd name="T58" fmla="*/ 91 w 292"/>
                <a:gd name="T59" fmla="*/ 50 h 223"/>
                <a:gd name="T60" fmla="*/ 106 w 292"/>
                <a:gd name="T61" fmla="*/ 41 h 223"/>
                <a:gd name="T62" fmla="*/ 127 w 292"/>
                <a:gd name="T63" fmla="*/ 20 h 223"/>
                <a:gd name="T64" fmla="*/ 138 w 292"/>
                <a:gd name="T65" fmla="*/ 9 h 223"/>
                <a:gd name="T66" fmla="*/ 152 w 292"/>
                <a:gd name="T67" fmla="*/ 0 h 223"/>
                <a:gd name="T68" fmla="*/ 172 w 292"/>
                <a:gd name="T69" fmla="*/ 14 h 223"/>
                <a:gd name="T70" fmla="*/ 194 w 292"/>
                <a:gd name="T71" fmla="*/ 26 h 223"/>
                <a:gd name="T72" fmla="*/ 218 w 292"/>
                <a:gd name="T73" fmla="*/ 34 h 223"/>
                <a:gd name="T74" fmla="*/ 246 w 292"/>
                <a:gd name="T75" fmla="*/ 37 h 223"/>
                <a:gd name="T76" fmla="*/ 262 w 292"/>
                <a:gd name="T77" fmla="*/ 34 h 223"/>
                <a:gd name="T78" fmla="*/ 279 w 292"/>
                <a:gd name="T79" fmla="*/ 31 h 223"/>
                <a:gd name="T80" fmla="*/ 285 w 292"/>
                <a:gd name="T81" fmla="*/ 47 h 223"/>
                <a:gd name="T82" fmla="*/ 287 w 292"/>
                <a:gd name="T83" fmla="*/ 49 h 223"/>
                <a:gd name="T84" fmla="*/ 292 w 292"/>
                <a:gd name="T85" fmla="*/ 6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92" h="223">
                  <a:moveTo>
                    <a:pt x="292" y="69"/>
                  </a:moveTo>
                  <a:lnTo>
                    <a:pt x="259" y="93"/>
                  </a:lnTo>
                  <a:lnTo>
                    <a:pt x="172" y="75"/>
                  </a:lnTo>
                  <a:lnTo>
                    <a:pt x="166" y="77"/>
                  </a:lnTo>
                  <a:lnTo>
                    <a:pt x="159" y="78"/>
                  </a:lnTo>
                  <a:lnTo>
                    <a:pt x="152" y="79"/>
                  </a:lnTo>
                  <a:lnTo>
                    <a:pt x="146" y="79"/>
                  </a:lnTo>
                  <a:lnTo>
                    <a:pt x="139" y="79"/>
                  </a:lnTo>
                  <a:lnTo>
                    <a:pt x="133" y="78"/>
                  </a:lnTo>
                  <a:lnTo>
                    <a:pt x="126" y="77"/>
                  </a:lnTo>
                  <a:lnTo>
                    <a:pt x="119" y="75"/>
                  </a:lnTo>
                  <a:lnTo>
                    <a:pt x="119" y="93"/>
                  </a:lnTo>
                  <a:lnTo>
                    <a:pt x="132" y="113"/>
                  </a:lnTo>
                  <a:lnTo>
                    <a:pt x="144" y="131"/>
                  </a:lnTo>
                  <a:lnTo>
                    <a:pt x="156" y="145"/>
                  </a:lnTo>
                  <a:lnTo>
                    <a:pt x="168" y="157"/>
                  </a:lnTo>
                  <a:lnTo>
                    <a:pt x="179" y="170"/>
                  </a:lnTo>
                  <a:lnTo>
                    <a:pt x="189" y="185"/>
                  </a:lnTo>
                  <a:lnTo>
                    <a:pt x="193" y="193"/>
                  </a:lnTo>
                  <a:lnTo>
                    <a:pt x="197" y="202"/>
                  </a:lnTo>
                  <a:lnTo>
                    <a:pt x="202" y="211"/>
                  </a:lnTo>
                  <a:lnTo>
                    <a:pt x="205" y="222"/>
                  </a:lnTo>
                  <a:lnTo>
                    <a:pt x="191" y="223"/>
                  </a:lnTo>
                  <a:lnTo>
                    <a:pt x="175" y="223"/>
                  </a:lnTo>
                  <a:lnTo>
                    <a:pt x="168" y="223"/>
                  </a:lnTo>
                  <a:lnTo>
                    <a:pt x="161" y="222"/>
                  </a:lnTo>
                  <a:lnTo>
                    <a:pt x="154" y="220"/>
                  </a:lnTo>
                  <a:lnTo>
                    <a:pt x="146" y="216"/>
                  </a:lnTo>
                  <a:lnTo>
                    <a:pt x="139" y="213"/>
                  </a:lnTo>
                  <a:lnTo>
                    <a:pt x="134" y="209"/>
                  </a:lnTo>
                  <a:lnTo>
                    <a:pt x="130" y="203"/>
                  </a:lnTo>
                  <a:lnTo>
                    <a:pt x="127" y="198"/>
                  </a:lnTo>
                  <a:lnTo>
                    <a:pt x="124" y="192"/>
                  </a:lnTo>
                  <a:lnTo>
                    <a:pt x="121" y="187"/>
                  </a:lnTo>
                  <a:lnTo>
                    <a:pt x="117" y="183"/>
                  </a:lnTo>
                  <a:lnTo>
                    <a:pt x="113" y="180"/>
                  </a:lnTo>
                  <a:lnTo>
                    <a:pt x="102" y="162"/>
                  </a:lnTo>
                  <a:lnTo>
                    <a:pt x="91" y="145"/>
                  </a:lnTo>
                  <a:lnTo>
                    <a:pt x="80" y="129"/>
                  </a:lnTo>
                  <a:lnTo>
                    <a:pt x="68" y="113"/>
                  </a:lnTo>
                  <a:lnTo>
                    <a:pt x="61" y="105"/>
                  </a:lnTo>
                  <a:lnTo>
                    <a:pt x="55" y="99"/>
                  </a:lnTo>
                  <a:lnTo>
                    <a:pt x="48" y="93"/>
                  </a:lnTo>
                  <a:lnTo>
                    <a:pt x="42" y="87"/>
                  </a:lnTo>
                  <a:lnTo>
                    <a:pt x="35" y="83"/>
                  </a:lnTo>
                  <a:lnTo>
                    <a:pt x="27" y="79"/>
                  </a:lnTo>
                  <a:lnTo>
                    <a:pt x="21" y="76"/>
                  </a:lnTo>
                  <a:lnTo>
                    <a:pt x="13" y="75"/>
                  </a:lnTo>
                  <a:lnTo>
                    <a:pt x="9" y="70"/>
                  </a:lnTo>
                  <a:lnTo>
                    <a:pt x="4" y="65"/>
                  </a:lnTo>
                  <a:lnTo>
                    <a:pt x="2" y="62"/>
                  </a:lnTo>
                  <a:lnTo>
                    <a:pt x="1" y="58"/>
                  </a:lnTo>
                  <a:lnTo>
                    <a:pt x="0" y="54"/>
                  </a:lnTo>
                  <a:lnTo>
                    <a:pt x="0" y="49"/>
                  </a:lnTo>
                  <a:lnTo>
                    <a:pt x="22" y="53"/>
                  </a:lnTo>
                  <a:lnTo>
                    <a:pt x="40" y="55"/>
                  </a:lnTo>
                  <a:lnTo>
                    <a:pt x="57" y="56"/>
                  </a:lnTo>
                  <a:lnTo>
                    <a:pt x="70" y="55"/>
                  </a:lnTo>
                  <a:lnTo>
                    <a:pt x="82" y="53"/>
                  </a:lnTo>
                  <a:lnTo>
                    <a:pt x="91" y="50"/>
                  </a:lnTo>
                  <a:lnTo>
                    <a:pt x="99" y="46"/>
                  </a:lnTo>
                  <a:lnTo>
                    <a:pt x="106" y="41"/>
                  </a:lnTo>
                  <a:lnTo>
                    <a:pt x="117" y="31"/>
                  </a:lnTo>
                  <a:lnTo>
                    <a:pt x="127" y="20"/>
                  </a:lnTo>
                  <a:lnTo>
                    <a:pt x="132" y="14"/>
                  </a:lnTo>
                  <a:lnTo>
                    <a:pt x="138" y="9"/>
                  </a:lnTo>
                  <a:lnTo>
                    <a:pt x="145" y="4"/>
                  </a:lnTo>
                  <a:lnTo>
                    <a:pt x="152" y="0"/>
                  </a:lnTo>
                  <a:lnTo>
                    <a:pt x="162" y="8"/>
                  </a:lnTo>
                  <a:lnTo>
                    <a:pt x="172" y="14"/>
                  </a:lnTo>
                  <a:lnTo>
                    <a:pt x="183" y="21"/>
                  </a:lnTo>
                  <a:lnTo>
                    <a:pt x="194" y="26"/>
                  </a:lnTo>
                  <a:lnTo>
                    <a:pt x="205" y="31"/>
                  </a:lnTo>
                  <a:lnTo>
                    <a:pt x="218" y="34"/>
                  </a:lnTo>
                  <a:lnTo>
                    <a:pt x="231" y="37"/>
                  </a:lnTo>
                  <a:lnTo>
                    <a:pt x="246" y="37"/>
                  </a:lnTo>
                  <a:lnTo>
                    <a:pt x="255" y="36"/>
                  </a:lnTo>
                  <a:lnTo>
                    <a:pt x="262" y="34"/>
                  </a:lnTo>
                  <a:lnTo>
                    <a:pt x="270" y="32"/>
                  </a:lnTo>
                  <a:lnTo>
                    <a:pt x="279" y="31"/>
                  </a:lnTo>
                  <a:lnTo>
                    <a:pt x="283" y="42"/>
                  </a:lnTo>
                  <a:lnTo>
                    <a:pt x="285" y="47"/>
                  </a:lnTo>
                  <a:lnTo>
                    <a:pt x="287" y="49"/>
                  </a:lnTo>
                  <a:lnTo>
                    <a:pt x="287" y="49"/>
                  </a:lnTo>
                  <a:lnTo>
                    <a:pt x="289" y="52"/>
                  </a:lnTo>
                  <a:lnTo>
                    <a:pt x="292" y="6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65" name="Freeform 453"/>
            <p:cNvSpPr>
              <a:spLocks/>
            </p:cNvSpPr>
            <p:nvPr>
              <p:custDataLst>
                <p:tags r:id="rId291"/>
              </p:custDataLst>
            </p:nvPr>
          </p:nvSpPr>
          <p:spPr bwMode="auto">
            <a:xfrm>
              <a:off x="6383911" y="2720858"/>
              <a:ext cx="167574" cy="77593"/>
            </a:xfrm>
            <a:custGeom>
              <a:avLst/>
              <a:gdLst>
                <a:gd name="T0" fmla="*/ 375 w 379"/>
                <a:gd name="T1" fmla="*/ 94 h 147"/>
                <a:gd name="T2" fmla="*/ 360 w 379"/>
                <a:gd name="T3" fmla="*/ 101 h 147"/>
                <a:gd name="T4" fmla="*/ 354 w 379"/>
                <a:gd name="T5" fmla="*/ 108 h 147"/>
                <a:gd name="T6" fmla="*/ 347 w 379"/>
                <a:gd name="T7" fmla="*/ 117 h 147"/>
                <a:gd name="T8" fmla="*/ 333 w 379"/>
                <a:gd name="T9" fmla="*/ 127 h 147"/>
                <a:gd name="T10" fmla="*/ 320 w 379"/>
                <a:gd name="T11" fmla="*/ 131 h 147"/>
                <a:gd name="T12" fmla="*/ 311 w 379"/>
                <a:gd name="T13" fmla="*/ 132 h 147"/>
                <a:gd name="T14" fmla="*/ 301 w 379"/>
                <a:gd name="T15" fmla="*/ 130 h 147"/>
                <a:gd name="T16" fmla="*/ 291 w 379"/>
                <a:gd name="T17" fmla="*/ 126 h 147"/>
                <a:gd name="T18" fmla="*/ 281 w 379"/>
                <a:gd name="T19" fmla="*/ 119 h 147"/>
                <a:gd name="T20" fmla="*/ 275 w 379"/>
                <a:gd name="T21" fmla="*/ 116 h 147"/>
                <a:gd name="T22" fmla="*/ 269 w 379"/>
                <a:gd name="T23" fmla="*/ 118 h 147"/>
                <a:gd name="T24" fmla="*/ 267 w 379"/>
                <a:gd name="T25" fmla="*/ 123 h 147"/>
                <a:gd name="T26" fmla="*/ 266 w 379"/>
                <a:gd name="T27" fmla="*/ 140 h 147"/>
                <a:gd name="T28" fmla="*/ 257 w 379"/>
                <a:gd name="T29" fmla="*/ 145 h 147"/>
                <a:gd name="T30" fmla="*/ 244 w 379"/>
                <a:gd name="T31" fmla="*/ 140 h 147"/>
                <a:gd name="T32" fmla="*/ 229 w 379"/>
                <a:gd name="T33" fmla="*/ 131 h 147"/>
                <a:gd name="T34" fmla="*/ 113 w 379"/>
                <a:gd name="T35" fmla="*/ 141 h 147"/>
                <a:gd name="T36" fmla="*/ 80 w 379"/>
                <a:gd name="T37" fmla="*/ 124 h 147"/>
                <a:gd name="T38" fmla="*/ 58 w 379"/>
                <a:gd name="T39" fmla="*/ 109 h 147"/>
                <a:gd name="T40" fmla="*/ 45 w 379"/>
                <a:gd name="T41" fmla="*/ 94 h 147"/>
                <a:gd name="T42" fmla="*/ 37 w 379"/>
                <a:gd name="T43" fmla="*/ 82 h 147"/>
                <a:gd name="T44" fmla="*/ 26 w 379"/>
                <a:gd name="T45" fmla="*/ 59 h 147"/>
                <a:gd name="T46" fmla="*/ 16 w 379"/>
                <a:gd name="T47" fmla="*/ 48 h 147"/>
                <a:gd name="T48" fmla="*/ 0 w 379"/>
                <a:gd name="T49" fmla="*/ 36 h 147"/>
                <a:gd name="T50" fmla="*/ 29 w 379"/>
                <a:gd name="T51" fmla="*/ 40 h 147"/>
                <a:gd name="T52" fmla="*/ 52 w 379"/>
                <a:gd name="T53" fmla="*/ 38 h 147"/>
                <a:gd name="T54" fmla="*/ 72 w 379"/>
                <a:gd name="T55" fmla="*/ 33 h 147"/>
                <a:gd name="T56" fmla="*/ 87 w 379"/>
                <a:gd name="T57" fmla="*/ 25 h 147"/>
                <a:gd name="T58" fmla="*/ 119 w 379"/>
                <a:gd name="T59" fmla="*/ 8 h 147"/>
                <a:gd name="T60" fmla="*/ 138 w 379"/>
                <a:gd name="T61" fmla="*/ 2 h 147"/>
                <a:gd name="T62" fmla="*/ 159 w 379"/>
                <a:gd name="T63" fmla="*/ 0 h 147"/>
                <a:gd name="T64" fmla="*/ 200 w 379"/>
                <a:gd name="T65" fmla="*/ 23 h 147"/>
                <a:gd name="T66" fmla="*/ 244 w 379"/>
                <a:gd name="T67" fmla="*/ 45 h 147"/>
                <a:gd name="T68" fmla="*/ 292 w 379"/>
                <a:gd name="T69" fmla="*/ 67 h 147"/>
                <a:gd name="T70" fmla="*/ 333 w 379"/>
                <a:gd name="T71" fmla="*/ 80 h 147"/>
                <a:gd name="T72" fmla="*/ 354 w 379"/>
                <a:gd name="T73" fmla="*/ 86 h 147"/>
                <a:gd name="T74" fmla="*/ 379 w 379"/>
                <a:gd name="T75" fmla="*/ 92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79" h="147">
                  <a:moveTo>
                    <a:pt x="379" y="92"/>
                  </a:moveTo>
                  <a:lnTo>
                    <a:pt x="375" y="94"/>
                  </a:lnTo>
                  <a:lnTo>
                    <a:pt x="366" y="98"/>
                  </a:lnTo>
                  <a:lnTo>
                    <a:pt x="360" y="101"/>
                  </a:lnTo>
                  <a:lnTo>
                    <a:pt x="357" y="105"/>
                  </a:lnTo>
                  <a:lnTo>
                    <a:pt x="354" y="108"/>
                  </a:lnTo>
                  <a:lnTo>
                    <a:pt x="353" y="111"/>
                  </a:lnTo>
                  <a:lnTo>
                    <a:pt x="347" y="117"/>
                  </a:lnTo>
                  <a:lnTo>
                    <a:pt x="341" y="123"/>
                  </a:lnTo>
                  <a:lnTo>
                    <a:pt x="333" y="127"/>
                  </a:lnTo>
                  <a:lnTo>
                    <a:pt x="324" y="130"/>
                  </a:lnTo>
                  <a:lnTo>
                    <a:pt x="320" y="131"/>
                  </a:lnTo>
                  <a:lnTo>
                    <a:pt x="315" y="132"/>
                  </a:lnTo>
                  <a:lnTo>
                    <a:pt x="311" y="132"/>
                  </a:lnTo>
                  <a:lnTo>
                    <a:pt x="306" y="131"/>
                  </a:lnTo>
                  <a:lnTo>
                    <a:pt x="301" y="130"/>
                  </a:lnTo>
                  <a:lnTo>
                    <a:pt x="296" y="128"/>
                  </a:lnTo>
                  <a:lnTo>
                    <a:pt x="291" y="126"/>
                  </a:lnTo>
                  <a:lnTo>
                    <a:pt x="286" y="123"/>
                  </a:lnTo>
                  <a:lnTo>
                    <a:pt x="281" y="119"/>
                  </a:lnTo>
                  <a:lnTo>
                    <a:pt x="277" y="117"/>
                  </a:lnTo>
                  <a:lnTo>
                    <a:pt x="275" y="116"/>
                  </a:lnTo>
                  <a:lnTo>
                    <a:pt x="271" y="116"/>
                  </a:lnTo>
                  <a:lnTo>
                    <a:pt x="269" y="118"/>
                  </a:lnTo>
                  <a:lnTo>
                    <a:pt x="268" y="120"/>
                  </a:lnTo>
                  <a:lnTo>
                    <a:pt x="267" y="123"/>
                  </a:lnTo>
                  <a:lnTo>
                    <a:pt x="266" y="126"/>
                  </a:lnTo>
                  <a:lnTo>
                    <a:pt x="266" y="140"/>
                  </a:lnTo>
                  <a:lnTo>
                    <a:pt x="266" y="147"/>
                  </a:lnTo>
                  <a:lnTo>
                    <a:pt x="257" y="145"/>
                  </a:lnTo>
                  <a:lnTo>
                    <a:pt x="251" y="143"/>
                  </a:lnTo>
                  <a:lnTo>
                    <a:pt x="244" y="140"/>
                  </a:lnTo>
                  <a:lnTo>
                    <a:pt x="240" y="137"/>
                  </a:lnTo>
                  <a:lnTo>
                    <a:pt x="229" y="131"/>
                  </a:lnTo>
                  <a:lnTo>
                    <a:pt x="213" y="123"/>
                  </a:lnTo>
                  <a:lnTo>
                    <a:pt x="113" y="141"/>
                  </a:lnTo>
                  <a:lnTo>
                    <a:pt x="95" y="132"/>
                  </a:lnTo>
                  <a:lnTo>
                    <a:pt x="80" y="124"/>
                  </a:lnTo>
                  <a:lnTo>
                    <a:pt x="68" y="116"/>
                  </a:lnTo>
                  <a:lnTo>
                    <a:pt x="58" y="109"/>
                  </a:lnTo>
                  <a:lnTo>
                    <a:pt x="51" y="101"/>
                  </a:lnTo>
                  <a:lnTo>
                    <a:pt x="45" y="94"/>
                  </a:lnTo>
                  <a:lnTo>
                    <a:pt x="40" y="88"/>
                  </a:lnTo>
                  <a:lnTo>
                    <a:pt x="37" y="82"/>
                  </a:lnTo>
                  <a:lnTo>
                    <a:pt x="31" y="70"/>
                  </a:lnTo>
                  <a:lnTo>
                    <a:pt x="26" y="59"/>
                  </a:lnTo>
                  <a:lnTo>
                    <a:pt x="21" y="54"/>
                  </a:lnTo>
                  <a:lnTo>
                    <a:pt x="16" y="48"/>
                  </a:lnTo>
                  <a:lnTo>
                    <a:pt x="9" y="42"/>
                  </a:lnTo>
                  <a:lnTo>
                    <a:pt x="0" y="36"/>
                  </a:lnTo>
                  <a:lnTo>
                    <a:pt x="16" y="39"/>
                  </a:lnTo>
                  <a:lnTo>
                    <a:pt x="29" y="40"/>
                  </a:lnTo>
                  <a:lnTo>
                    <a:pt x="41" y="40"/>
                  </a:lnTo>
                  <a:lnTo>
                    <a:pt x="52" y="38"/>
                  </a:lnTo>
                  <a:lnTo>
                    <a:pt x="62" y="36"/>
                  </a:lnTo>
                  <a:lnTo>
                    <a:pt x="72" y="33"/>
                  </a:lnTo>
                  <a:lnTo>
                    <a:pt x="79" y="29"/>
                  </a:lnTo>
                  <a:lnTo>
                    <a:pt x="87" y="25"/>
                  </a:lnTo>
                  <a:lnTo>
                    <a:pt x="102" y="16"/>
                  </a:lnTo>
                  <a:lnTo>
                    <a:pt x="119" y="8"/>
                  </a:lnTo>
                  <a:lnTo>
                    <a:pt x="128" y="5"/>
                  </a:lnTo>
                  <a:lnTo>
                    <a:pt x="138" y="2"/>
                  </a:lnTo>
                  <a:lnTo>
                    <a:pt x="149" y="1"/>
                  </a:lnTo>
                  <a:lnTo>
                    <a:pt x="159" y="0"/>
                  </a:lnTo>
                  <a:lnTo>
                    <a:pt x="179" y="11"/>
                  </a:lnTo>
                  <a:lnTo>
                    <a:pt x="200" y="23"/>
                  </a:lnTo>
                  <a:lnTo>
                    <a:pt x="222" y="34"/>
                  </a:lnTo>
                  <a:lnTo>
                    <a:pt x="244" y="45"/>
                  </a:lnTo>
                  <a:lnTo>
                    <a:pt x="278" y="61"/>
                  </a:lnTo>
                  <a:lnTo>
                    <a:pt x="292" y="67"/>
                  </a:lnTo>
                  <a:lnTo>
                    <a:pt x="314" y="73"/>
                  </a:lnTo>
                  <a:lnTo>
                    <a:pt x="333" y="80"/>
                  </a:lnTo>
                  <a:lnTo>
                    <a:pt x="343" y="83"/>
                  </a:lnTo>
                  <a:lnTo>
                    <a:pt x="354" y="86"/>
                  </a:lnTo>
                  <a:lnTo>
                    <a:pt x="365" y="89"/>
                  </a:lnTo>
                  <a:lnTo>
                    <a:pt x="379" y="9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66" name="Freeform 454"/>
            <p:cNvSpPr>
              <a:spLocks/>
            </p:cNvSpPr>
            <p:nvPr>
              <p:custDataLst>
                <p:tags r:id="rId292"/>
              </p:custDataLst>
            </p:nvPr>
          </p:nvSpPr>
          <p:spPr bwMode="auto">
            <a:xfrm>
              <a:off x="6347203" y="2577481"/>
              <a:ext cx="30323" cy="59037"/>
            </a:xfrm>
            <a:custGeom>
              <a:avLst/>
              <a:gdLst>
                <a:gd name="T0" fmla="*/ 0 w 61"/>
                <a:gd name="T1" fmla="*/ 0 h 67"/>
                <a:gd name="T2" fmla="*/ 0 w 61"/>
                <a:gd name="T3" fmla="*/ 9 h 67"/>
                <a:gd name="T4" fmla="*/ 0 w 61"/>
                <a:gd name="T5" fmla="*/ 18 h 67"/>
                <a:gd name="T6" fmla="*/ 1 w 61"/>
                <a:gd name="T7" fmla="*/ 24 h 67"/>
                <a:gd name="T8" fmla="*/ 2 w 61"/>
                <a:gd name="T9" fmla="*/ 30 h 67"/>
                <a:gd name="T10" fmla="*/ 3 w 61"/>
                <a:gd name="T11" fmla="*/ 36 h 67"/>
                <a:gd name="T12" fmla="*/ 6 w 61"/>
                <a:gd name="T13" fmla="*/ 42 h 67"/>
                <a:gd name="T14" fmla="*/ 12 w 61"/>
                <a:gd name="T15" fmla="*/ 55 h 67"/>
                <a:gd name="T16" fmla="*/ 21 w 61"/>
                <a:gd name="T17" fmla="*/ 67 h 67"/>
                <a:gd name="T18" fmla="*/ 28 w 61"/>
                <a:gd name="T19" fmla="*/ 65 h 67"/>
                <a:gd name="T20" fmla="*/ 35 w 61"/>
                <a:gd name="T21" fmla="*/ 61 h 67"/>
                <a:gd name="T22" fmla="*/ 42 w 61"/>
                <a:gd name="T23" fmla="*/ 58 h 67"/>
                <a:gd name="T24" fmla="*/ 48 w 61"/>
                <a:gd name="T25" fmla="*/ 53 h 67"/>
                <a:gd name="T26" fmla="*/ 53 w 61"/>
                <a:gd name="T27" fmla="*/ 47 h 67"/>
                <a:gd name="T28" fmla="*/ 57 w 61"/>
                <a:gd name="T29" fmla="*/ 40 h 67"/>
                <a:gd name="T30" fmla="*/ 59 w 61"/>
                <a:gd name="T31" fmla="*/ 32 h 67"/>
                <a:gd name="T32" fmla="*/ 61 w 61"/>
                <a:gd name="T33" fmla="*/ 24 h 67"/>
                <a:gd name="T34" fmla="*/ 53 w 61"/>
                <a:gd name="T35" fmla="*/ 14 h 67"/>
                <a:gd name="T36" fmla="*/ 41 w 61"/>
                <a:gd name="T37" fmla="*/ 0 h 67"/>
                <a:gd name="T38" fmla="*/ 28 w 61"/>
                <a:gd name="T39" fmla="*/ 3 h 67"/>
                <a:gd name="T40" fmla="*/ 18 w 61"/>
                <a:gd name="T41" fmla="*/ 4 h 67"/>
                <a:gd name="T42" fmla="*/ 13 w 61"/>
                <a:gd name="T43" fmla="*/ 4 h 67"/>
                <a:gd name="T44" fmla="*/ 10 w 61"/>
                <a:gd name="T45" fmla="*/ 3 h 67"/>
                <a:gd name="T46" fmla="*/ 6 w 61"/>
                <a:gd name="T47" fmla="*/ 2 h 67"/>
                <a:gd name="T48" fmla="*/ 0 w 61"/>
                <a:gd name="T49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1" h="67">
                  <a:moveTo>
                    <a:pt x="0" y="0"/>
                  </a:moveTo>
                  <a:lnTo>
                    <a:pt x="0" y="9"/>
                  </a:lnTo>
                  <a:lnTo>
                    <a:pt x="0" y="18"/>
                  </a:lnTo>
                  <a:lnTo>
                    <a:pt x="1" y="24"/>
                  </a:lnTo>
                  <a:lnTo>
                    <a:pt x="2" y="30"/>
                  </a:lnTo>
                  <a:lnTo>
                    <a:pt x="3" y="36"/>
                  </a:lnTo>
                  <a:lnTo>
                    <a:pt x="6" y="42"/>
                  </a:lnTo>
                  <a:lnTo>
                    <a:pt x="12" y="55"/>
                  </a:lnTo>
                  <a:lnTo>
                    <a:pt x="21" y="67"/>
                  </a:lnTo>
                  <a:lnTo>
                    <a:pt x="28" y="65"/>
                  </a:lnTo>
                  <a:lnTo>
                    <a:pt x="35" y="61"/>
                  </a:lnTo>
                  <a:lnTo>
                    <a:pt x="42" y="58"/>
                  </a:lnTo>
                  <a:lnTo>
                    <a:pt x="48" y="53"/>
                  </a:lnTo>
                  <a:lnTo>
                    <a:pt x="53" y="47"/>
                  </a:lnTo>
                  <a:lnTo>
                    <a:pt x="57" y="40"/>
                  </a:lnTo>
                  <a:lnTo>
                    <a:pt x="59" y="32"/>
                  </a:lnTo>
                  <a:lnTo>
                    <a:pt x="61" y="24"/>
                  </a:lnTo>
                  <a:lnTo>
                    <a:pt x="53" y="14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3"/>
                  </a:lnTo>
                  <a:lnTo>
                    <a:pt x="6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08" name="Freeform 455"/>
            <p:cNvSpPr>
              <a:spLocks/>
            </p:cNvSpPr>
            <p:nvPr>
              <p:custDataLst>
                <p:tags r:id="rId293"/>
              </p:custDataLst>
            </p:nvPr>
          </p:nvSpPr>
          <p:spPr bwMode="auto">
            <a:xfrm>
              <a:off x="6318882" y="2581714"/>
              <a:ext cx="25400" cy="58738"/>
            </a:xfrm>
            <a:custGeom>
              <a:avLst/>
              <a:gdLst>
                <a:gd name="T0" fmla="*/ 0 w 60"/>
                <a:gd name="T1" fmla="*/ 2147483647 h 55"/>
                <a:gd name="T2" fmla="*/ 0 w 60"/>
                <a:gd name="T3" fmla="*/ 2147483647 h 55"/>
                <a:gd name="T4" fmla="*/ 2147483647 w 60"/>
                <a:gd name="T5" fmla="*/ 2147483647 h 55"/>
                <a:gd name="T6" fmla="*/ 2147483647 w 60"/>
                <a:gd name="T7" fmla="*/ 2147483647 h 55"/>
                <a:gd name="T8" fmla="*/ 2147483647 w 60"/>
                <a:gd name="T9" fmla="*/ 2147483647 h 55"/>
                <a:gd name="T10" fmla="*/ 2147483647 w 60"/>
                <a:gd name="T11" fmla="*/ 2147483647 h 55"/>
                <a:gd name="T12" fmla="*/ 2147483647 w 60"/>
                <a:gd name="T13" fmla="*/ 2147483647 h 55"/>
                <a:gd name="T14" fmla="*/ 2147483647 w 60"/>
                <a:gd name="T15" fmla="*/ 2147483647 h 55"/>
                <a:gd name="T16" fmla="*/ 2147483647 w 60"/>
                <a:gd name="T17" fmla="*/ 2147483647 h 55"/>
                <a:gd name="T18" fmla="*/ 2147483647 w 60"/>
                <a:gd name="T19" fmla="*/ 2147483647 h 55"/>
                <a:gd name="T20" fmla="*/ 2147483647 w 60"/>
                <a:gd name="T21" fmla="*/ 2147483647 h 55"/>
                <a:gd name="T22" fmla="*/ 2147483647 w 60"/>
                <a:gd name="T23" fmla="*/ 2147483647 h 55"/>
                <a:gd name="T24" fmla="*/ 2147483647 w 60"/>
                <a:gd name="T25" fmla="*/ 2147483647 h 55"/>
                <a:gd name="T26" fmla="*/ 2147483647 w 60"/>
                <a:gd name="T27" fmla="*/ 2147483647 h 55"/>
                <a:gd name="T28" fmla="*/ 2147483647 w 60"/>
                <a:gd name="T29" fmla="*/ 2147483647 h 55"/>
                <a:gd name="T30" fmla="*/ 2147483647 w 60"/>
                <a:gd name="T31" fmla="*/ 2147483647 h 55"/>
                <a:gd name="T32" fmla="*/ 2147483647 w 60"/>
                <a:gd name="T33" fmla="*/ 2147483647 h 55"/>
                <a:gd name="T34" fmla="*/ 2147483647 w 60"/>
                <a:gd name="T35" fmla="*/ 0 h 55"/>
                <a:gd name="T36" fmla="*/ 2147483647 w 60"/>
                <a:gd name="T37" fmla="*/ 2147483647 h 55"/>
                <a:gd name="T38" fmla="*/ 2147483647 w 60"/>
                <a:gd name="T39" fmla="*/ 2147483647 h 55"/>
                <a:gd name="T40" fmla="*/ 2147483647 w 60"/>
                <a:gd name="T41" fmla="*/ 2147483647 h 55"/>
                <a:gd name="T42" fmla="*/ 0 w 60"/>
                <a:gd name="T43" fmla="*/ 2147483647 h 55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60" h="55">
                  <a:moveTo>
                    <a:pt x="0" y="6"/>
                  </a:moveTo>
                  <a:lnTo>
                    <a:pt x="0" y="24"/>
                  </a:lnTo>
                  <a:lnTo>
                    <a:pt x="5" y="32"/>
                  </a:lnTo>
                  <a:lnTo>
                    <a:pt x="10" y="40"/>
                  </a:lnTo>
                  <a:lnTo>
                    <a:pt x="16" y="45"/>
                  </a:lnTo>
                  <a:lnTo>
                    <a:pt x="21" y="49"/>
                  </a:lnTo>
                  <a:lnTo>
                    <a:pt x="27" y="52"/>
                  </a:lnTo>
                  <a:lnTo>
                    <a:pt x="33" y="54"/>
                  </a:lnTo>
                  <a:lnTo>
                    <a:pt x="40" y="55"/>
                  </a:lnTo>
                  <a:lnTo>
                    <a:pt x="46" y="55"/>
                  </a:lnTo>
                  <a:lnTo>
                    <a:pt x="53" y="52"/>
                  </a:lnTo>
                  <a:lnTo>
                    <a:pt x="60" y="49"/>
                  </a:lnTo>
                  <a:lnTo>
                    <a:pt x="50" y="34"/>
                  </a:lnTo>
                  <a:lnTo>
                    <a:pt x="42" y="22"/>
                  </a:lnTo>
                  <a:lnTo>
                    <a:pt x="39" y="17"/>
                  </a:lnTo>
                  <a:lnTo>
                    <a:pt x="35" y="12"/>
                  </a:lnTo>
                  <a:lnTo>
                    <a:pt x="34" y="6"/>
                  </a:lnTo>
                  <a:lnTo>
                    <a:pt x="33" y="0"/>
                  </a:lnTo>
                  <a:lnTo>
                    <a:pt x="23" y="1"/>
                  </a:lnTo>
                  <a:lnTo>
                    <a:pt x="15" y="3"/>
                  </a:lnTo>
                  <a:lnTo>
                    <a:pt x="7" y="5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68" name="Freeform 456"/>
            <p:cNvSpPr>
              <a:spLocks/>
            </p:cNvSpPr>
            <p:nvPr>
              <p:custDataLst>
                <p:tags r:id="rId294"/>
              </p:custDataLst>
            </p:nvPr>
          </p:nvSpPr>
          <p:spPr bwMode="auto">
            <a:xfrm>
              <a:off x="6288154" y="2528564"/>
              <a:ext cx="52666" cy="77593"/>
            </a:xfrm>
            <a:custGeom>
              <a:avLst/>
              <a:gdLst>
                <a:gd name="T0" fmla="*/ 74 w 120"/>
                <a:gd name="T1" fmla="*/ 129 h 148"/>
                <a:gd name="T2" fmla="*/ 70 w 120"/>
                <a:gd name="T3" fmla="*/ 131 h 148"/>
                <a:gd name="T4" fmla="*/ 67 w 120"/>
                <a:gd name="T5" fmla="*/ 132 h 148"/>
                <a:gd name="T6" fmla="*/ 64 w 120"/>
                <a:gd name="T7" fmla="*/ 133 h 148"/>
                <a:gd name="T8" fmla="*/ 60 w 120"/>
                <a:gd name="T9" fmla="*/ 133 h 148"/>
                <a:gd name="T10" fmla="*/ 56 w 120"/>
                <a:gd name="T11" fmla="*/ 133 h 148"/>
                <a:gd name="T12" fmla="*/ 53 w 120"/>
                <a:gd name="T13" fmla="*/ 132 h 148"/>
                <a:gd name="T14" fmla="*/ 50 w 120"/>
                <a:gd name="T15" fmla="*/ 131 h 148"/>
                <a:gd name="T16" fmla="*/ 47 w 120"/>
                <a:gd name="T17" fmla="*/ 129 h 148"/>
                <a:gd name="T18" fmla="*/ 41 w 120"/>
                <a:gd name="T19" fmla="*/ 128 h 148"/>
                <a:gd name="T20" fmla="*/ 34 w 120"/>
                <a:gd name="T21" fmla="*/ 125 h 148"/>
                <a:gd name="T22" fmla="*/ 26 w 120"/>
                <a:gd name="T23" fmla="*/ 120 h 148"/>
                <a:gd name="T24" fmla="*/ 19 w 120"/>
                <a:gd name="T25" fmla="*/ 115 h 148"/>
                <a:gd name="T26" fmla="*/ 11 w 120"/>
                <a:gd name="T27" fmla="*/ 108 h 148"/>
                <a:gd name="T28" fmla="*/ 6 w 120"/>
                <a:gd name="T29" fmla="*/ 101 h 148"/>
                <a:gd name="T30" fmla="*/ 3 w 120"/>
                <a:gd name="T31" fmla="*/ 97 h 148"/>
                <a:gd name="T32" fmla="*/ 2 w 120"/>
                <a:gd name="T33" fmla="*/ 94 h 148"/>
                <a:gd name="T34" fmla="*/ 1 w 120"/>
                <a:gd name="T35" fmla="*/ 90 h 148"/>
                <a:gd name="T36" fmla="*/ 0 w 120"/>
                <a:gd name="T37" fmla="*/ 87 h 148"/>
                <a:gd name="T38" fmla="*/ 2 w 120"/>
                <a:gd name="T39" fmla="*/ 73 h 148"/>
                <a:gd name="T40" fmla="*/ 8 w 120"/>
                <a:gd name="T41" fmla="*/ 55 h 148"/>
                <a:gd name="T42" fmla="*/ 14 w 120"/>
                <a:gd name="T43" fmla="*/ 35 h 148"/>
                <a:gd name="T44" fmla="*/ 20 w 120"/>
                <a:gd name="T45" fmla="*/ 18 h 148"/>
                <a:gd name="T46" fmla="*/ 32 w 120"/>
                <a:gd name="T47" fmla="*/ 17 h 148"/>
                <a:gd name="T48" fmla="*/ 42 w 120"/>
                <a:gd name="T49" fmla="*/ 16 h 148"/>
                <a:gd name="T50" fmla="*/ 51 w 120"/>
                <a:gd name="T51" fmla="*/ 14 h 148"/>
                <a:gd name="T52" fmla="*/ 58 w 120"/>
                <a:gd name="T53" fmla="*/ 11 h 148"/>
                <a:gd name="T54" fmla="*/ 70 w 120"/>
                <a:gd name="T55" fmla="*/ 5 h 148"/>
                <a:gd name="T56" fmla="*/ 80 w 120"/>
                <a:gd name="T57" fmla="*/ 0 h 148"/>
                <a:gd name="T58" fmla="*/ 85 w 120"/>
                <a:gd name="T59" fmla="*/ 2 h 148"/>
                <a:gd name="T60" fmla="*/ 93 w 120"/>
                <a:gd name="T61" fmla="*/ 7 h 148"/>
                <a:gd name="T62" fmla="*/ 98 w 120"/>
                <a:gd name="T63" fmla="*/ 10 h 148"/>
                <a:gd name="T64" fmla="*/ 102 w 120"/>
                <a:gd name="T65" fmla="*/ 13 h 148"/>
                <a:gd name="T66" fmla="*/ 106 w 120"/>
                <a:gd name="T67" fmla="*/ 16 h 148"/>
                <a:gd name="T68" fmla="*/ 107 w 120"/>
                <a:gd name="T69" fmla="*/ 18 h 148"/>
                <a:gd name="T70" fmla="*/ 100 w 120"/>
                <a:gd name="T71" fmla="*/ 28 h 148"/>
                <a:gd name="T72" fmla="*/ 93 w 120"/>
                <a:gd name="T73" fmla="*/ 37 h 148"/>
                <a:gd name="T74" fmla="*/ 95 w 120"/>
                <a:gd name="T75" fmla="*/ 42 h 148"/>
                <a:gd name="T76" fmla="*/ 98 w 120"/>
                <a:gd name="T77" fmla="*/ 49 h 148"/>
                <a:gd name="T78" fmla="*/ 102 w 120"/>
                <a:gd name="T79" fmla="*/ 56 h 148"/>
                <a:gd name="T80" fmla="*/ 107 w 120"/>
                <a:gd name="T81" fmla="*/ 63 h 148"/>
                <a:gd name="T82" fmla="*/ 115 w 120"/>
                <a:gd name="T83" fmla="*/ 75 h 148"/>
                <a:gd name="T84" fmla="*/ 120 w 120"/>
                <a:gd name="T85" fmla="*/ 79 h 148"/>
                <a:gd name="T86" fmla="*/ 113 w 120"/>
                <a:gd name="T87" fmla="*/ 81 h 148"/>
                <a:gd name="T88" fmla="*/ 107 w 120"/>
                <a:gd name="T89" fmla="*/ 84 h 148"/>
                <a:gd name="T90" fmla="*/ 100 w 120"/>
                <a:gd name="T91" fmla="*/ 87 h 148"/>
                <a:gd name="T92" fmla="*/ 96 w 120"/>
                <a:gd name="T93" fmla="*/ 91 h 148"/>
                <a:gd name="T94" fmla="*/ 90 w 120"/>
                <a:gd name="T95" fmla="*/ 95 h 148"/>
                <a:gd name="T96" fmla="*/ 87 w 120"/>
                <a:gd name="T97" fmla="*/ 99 h 148"/>
                <a:gd name="T98" fmla="*/ 82 w 120"/>
                <a:gd name="T99" fmla="*/ 104 h 148"/>
                <a:gd name="T100" fmla="*/ 80 w 120"/>
                <a:gd name="T101" fmla="*/ 109 h 148"/>
                <a:gd name="T102" fmla="*/ 78 w 120"/>
                <a:gd name="T103" fmla="*/ 114 h 148"/>
                <a:gd name="T104" fmla="*/ 77 w 120"/>
                <a:gd name="T105" fmla="*/ 120 h 148"/>
                <a:gd name="T106" fmla="*/ 76 w 120"/>
                <a:gd name="T107" fmla="*/ 125 h 148"/>
                <a:gd name="T108" fmla="*/ 75 w 120"/>
                <a:gd name="T109" fmla="*/ 130 h 148"/>
                <a:gd name="T110" fmla="*/ 76 w 120"/>
                <a:gd name="T111" fmla="*/ 135 h 148"/>
                <a:gd name="T112" fmla="*/ 77 w 120"/>
                <a:gd name="T113" fmla="*/ 140 h 148"/>
                <a:gd name="T114" fmla="*/ 78 w 120"/>
                <a:gd name="T115" fmla="*/ 144 h 148"/>
                <a:gd name="T116" fmla="*/ 80 w 120"/>
                <a:gd name="T117" fmla="*/ 148 h 148"/>
                <a:gd name="T118" fmla="*/ 74 w 120"/>
                <a:gd name="T119" fmla="*/ 12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0" h="148">
                  <a:moveTo>
                    <a:pt x="74" y="129"/>
                  </a:moveTo>
                  <a:lnTo>
                    <a:pt x="70" y="131"/>
                  </a:lnTo>
                  <a:lnTo>
                    <a:pt x="67" y="132"/>
                  </a:lnTo>
                  <a:lnTo>
                    <a:pt x="64" y="133"/>
                  </a:lnTo>
                  <a:lnTo>
                    <a:pt x="60" y="133"/>
                  </a:lnTo>
                  <a:lnTo>
                    <a:pt x="56" y="133"/>
                  </a:lnTo>
                  <a:lnTo>
                    <a:pt x="53" y="132"/>
                  </a:lnTo>
                  <a:lnTo>
                    <a:pt x="50" y="131"/>
                  </a:lnTo>
                  <a:lnTo>
                    <a:pt x="47" y="129"/>
                  </a:lnTo>
                  <a:lnTo>
                    <a:pt x="41" y="128"/>
                  </a:lnTo>
                  <a:lnTo>
                    <a:pt x="34" y="125"/>
                  </a:lnTo>
                  <a:lnTo>
                    <a:pt x="26" y="120"/>
                  </a:lnTo>
                  <a:lnTo>
                    <a:pt x="19" y="115"/>
                  </a:lnTo>
                  <a:lnTo>
                    <a:pt x="11" y="108"/>
                  </a:lnTo>
                  <a:lnTo>
                    <a:pt x="6" y="101"/>
                  </a:lnTo>
                  <a:lnTo>
                    <a:pt x="3" y="97"/>
                  </a:lnTo>
                  <a:lnTo>
                    <a:pt x="2" y="94"/>
                  </a:lnTo>
                  <a:lnTo>
                    <a:pt x="1" y="90"/>
                  </a:lnTo>
                  <a:lnTo>
                    <a:pt x="0" y="87"/>
                  </a:lnTo>
                  <a:lnTo>
                    <a:pt x="2" y="73"/>
                  </a:lnTo>
                  <a:lnTo>
                    <a:pt x="8" y="55"/>
                  </a:lnTo>
                  <a:lnTo>
                    <a:pt x="14" y="35"/>
                  </a:lnTo>
                  <a:lnTo>
                    <a:pt x="20" y="18"/>
                  </a:lnTo>
                  <a:lnTo>
                    <a:pt x="32" y="17"/>
                  </a:lnTo>
                  <a:lnTo>
                    <a:pt x="42" y="16"/>
                  </a:lnTo>
                  <a:lnTo>
                    <a:pt x="51" y="14"/>
                  </a:lnTo>
                  <a:lnTo>
                    <a:pt x="58" y="11"/>
                  </a:lnTo>
                  <a:lnTo>
                    <a:pt x="70" y="5"/>
                  </a:lnTo>
                  <a:lnTo>
                    <a:pt x="80" y="0"/>
                  </a:lnTo>
                  <a:lnTo>
                    <a:pt x="85" y="2"/>
                  </a:lnTo>
                  <a:lnTo>
                    <a:pt x="93" y="7"/>
                  </a:lnTo>
                  <a:lnTo>
                    <a:pt x="98" y="10"/>
                  </a:lnTo>
                  <a:lnTo>
                    <a:pt x="102" y="13"/>
                  </a:lnTo>
                  <a:lnTo>
                    <a:pt x="106" y="16"/>
                  </a:lnTo>
                  <a:lnTo>
                    <a:pt x="107" y="18"/>
                  </a:lnTo>
                  <a:lnTo>
                    <a:pt x="100" y="28"/>
                  </a:lnTo>
                  <a:lnTo>
                    <a:pt x="93" y="37"/>
                  </a:lnTo>
                  <a:lnTo>
                    <a:pt x="95" y="42"/>
                  </a:lnTo>
                  <a:lnTo>
                    <a:pt x="98" y="49"/>
                  </a:lnTo>
                  <a:lnTo>
                    <a:pt x="102" y="56"/>
                  </a:lnTo>
                  <a:lnTo>
                    <a:pt x="107" y="63"/>
                  </a:lnTo>
                  <a:lnTo>
                    <a:pt x="115" y="75"/>
                  </a:lnTo>
                  <a:lnTo>
                    <a:pt x="120" y="79"/>
                  </a:lnTo>
                  <a:lnTo>
                    <a:pt x="113" y="81"/>
                  </a:lnTo>
                  <a:lnTo>
                    <a:pt x="107" y="84"/>
                  </a:lnTo>
                  <a:lnTo>
                    <a:pt x="100" y="87"/>
                  </a:lnTo>
                  <a:lnTo>
                    <a:pt x="96" y="91"/>
                  </a:lnTo>
                  <a:lnTo>
                    <a:pt x="90" y="95"/>
                  </a:lnTo>
                  <a:lnTo>
                    <a:pt x="87" y="99"/>
                  </a:lnTo>
                  <a:lnTo>
                    <a:pt x="82" y="104"/>
                  </a:lnTo>
                  <a:lnTo>
                    <a:pt x="80" y="109"/>
                  </a:lnTo>
                  <a:lnTo>
                    <a:pt x="78" y="114"/>
                  </a:lnTo>
                  <a:lnTo>
                    <a:pt x="77" y="120"/>
                  </a:lnTo>
                  <a:lnTo>
                    <a:pt x="76" y="125"/>
                  </a:lnTo>
                  <a:lnTo>
                    <a:pt x="75" y="130"/>
                  </a:lnTo>
                  <a:lnTo>
                    <a:pt x="76" y="135"/>
                  </a:lnTo>
                  <a:lnTo>
                    <a:pt x="77" y="140"/>
                  </a:lnTo>
                  <a:lnTo>
                    <a:pt x="78" y="144"/>
                  </a:lnTo>
                  <a:lnTo>
                    <a:pt x="80" y="148"/>
                  </a:lnTo>
                  <a:lnTo>
                    <a:pt x="74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69" name="Freeform 457"/>
            <p:cNvSpPr>
              <a:spLocks/>
            </p:cNvSpPr>
            <p:nvPr>
              <p:custDataLst>
                <p:tags r:id="rId295"/>
              </p:custDataLst>
            </p:nvPr>
          </p:nvSpPr>
          <p:spPr bwMode="auto">
            <a:xfrm>
              <a:off x="6720654" y="3333166"/>
              <a:ext cx="272907" cy="306997"/>
            </a:xfrm>
            <a:custGeom>
              <a:avLst/>
              <a:gdLst>
                <a:gd name="T0" fmla="*/ 21 w 631"/>
                <a:gd name="T1" fmla="*/ 2 h 592"/>
                <a:gd name="T2" fmla="*/ 32 w 631"/>
                <a:gd name="T3" fmla="*/ 4 h 592"/>
                <a:gd name="T4" fmla="*/ 54 w 631"/>
                <a:gd name="T5" fmla="*/ 8 h 592"/>
                <a:gd name="T6" fmla="*/ 78 w 631"/>
                <a:gd name="T7" fmla="*/ 11 h 592"/>
                <a:gd name="T8" fmla="*/ 104 w 631"/>
                <a:gd name="T9" fmla="*/ 19 h 592"/>
                <a:gd name="T10" fmla="*/ 130 w 631"/>
                <a:gd name="T11" fmla="*/ 32 h 592"/>
                <a:gd name="T12" fmla="*/ 146 w 631"/>
                <a:gd name="T13" fmla="*/ 40 h 592"/>
                <a:gd name="T14" fmla="*/ 159 w 631"/>
                <a:gd name="T15" fmla="*/ 43 h 592"/>
                <a:gd name="T16" fmla="*/ 189 w 631"/>
                <a:gd name="T17" fmla="*/ 43 h 592"/>
                <a:gd name="T18" fmla="*/ 227 w 631"/>
                <a:gd name="T19" fmla="*/ 37 h 592"/>
                <a:gd name="T20" fmla="*/ 277 w 631"/>
                <a:gd name="T21" fmla="*/ 23 h 592"/>
                <a:gd name="T22" fmla="*/ 399 w 631"/>
                <a:gd name="T23" fmla="*/ 38 h 592"/>
                <a:gd name="T24" fmla="*/ 403 w 631"/>
                <a:gd name="T25" fmla="*/ 69 h 592"/>
                <a:gd name="T26" fmla="*/ 410 w 631"/>
                <a:gd name="T27" fmla="*/ 95 h 592"/>
                <a:gd name="T28" fmla="*/ 417 w 631"/>
                <a:gd name="T29" fmla="*/ 119 h 592"/>
                <a:gd name="T30" fmla="*/ 427 w 631"/>
                <a:gd name="T31" fmla="*/ 140 h 592"/>
                <a:gd name="T32" fmla="*/ 450 w 631"/>
                <a:gd name="T33" fmla="*/ 175 h 592"/>
                <a:gd name="T34" fmla="*/ 472 w 631"/>
                <a:gd name="T35" fmla="*/ 204 h 592"/>
                <a:gd name="T36" fmla="*/ 482 w 631"/>
                <a:gd name="T37" fmla="*/ 222 h 592"/>
                <a:gd name="T38" fmla="*/ 485 w 631"/>
                <a:gd name="T39" fmla="*/ 240 h 592"/>
                <a:gd name="T40" fmla="*/ 491 w 631"/>
                <a:gd name="T41" fmla="*/ 255 h 592"/>
                <a:gd name="T42" fmla="*/ 496 w 631"/>
                <a:gd name="T43" fmla="*/ 261 h 592"/>
                <a:gd name="T44" fmla="*/ 505 w 631"/>
                <a:gd name="T45" fmla="*/ 266 h 592"/>
                <a:gd name="T46" fmla="*/ 513 w 631"/>
                <a:gd name="T47" fmla="*/ 270 h 592"/>
                <a:gd name="T48" fmla="*/ 519 w 631"/>
                <a:gd name="T49" fmla="*/ 278 h 592"/>
                <a:gd name="T50" fmla="*/ 533 w 631"/>
                <a:gd name="T51" fmla="*/ 303 h 592"/>
                <a:gd name="T52" fmla="*/ 541 w 631"/>
                <a:gd name="T53" fmla="*/ 331 h 592"/>
                <a:gd name="T54" fmla="*/ 545 w 631"/>
                <a:gd name="T55" fmla="*/ 358 h 592"/>
                <a:gd name="T56" fmla="*/ 548 w 631"/>
                <a:gd name="T57" fmla="*/ 368 h 592"/>
                <a:gd name="T58" fmla="*/ 557 w 631"/>
                <a:gd name="T59" fmla="*/ 381 h 592"/>
                <a:gd name="T60" fmla="*/ 583 w 631"/>
                <a:gd name="T61" fmla="*/ 415 h 592"/>
                <a:gd name="T62" fmla="*/ 612 w 631"/>
                <a:gd name="T63" fmla="*/ 447 h 592"/>
                <a:gd name="T64" fmla="*/ 631 w 631"/>
                <a:gd name="T65" fmla="*/ 463 h 592"/>
                <a:gd name="T66" fmla="*/ 612 w 631"/>
                <a:gd name="T67" fmla="*/ 481 h 592"/>
                <a:gd name="T68" fmla="*/ 624 w 631"/>
                <a:gd name="T69" fmla="*/ 496 h 592"/>
                <a:gd name="T70" fmla="*/ 626 w 631"/>
                <a:gd name="T71" fmla="*/ 507 h 592"/>
                <a:gd name="T72" fmla="*/ 626 w 631"/>
                <a:gd name="T73" fmla="*/ 516 h 592"/>
                <a:gd name="T74" fmla="*/ 631 w 631"/>
                <a:gd name="T75" fmla="*/ 531 h 592"/>
                <a:gd name="T76" fmla="*/ 626 w 631"/>
                <a:gd name="T77" fmla="*/ 539 h 592"/>
                <a:gd name="T78" fmla="*/ 617 w 631"/>
                <a:gd name="T79" fmla="*/ 548 h 592"/>
                <a:gd name="T80" fmla="*/ 592 w 631"/>
                <a:gd name="T81" fmla="*/ 569 h 592"/>
                <a:gd name="T82" fmla="*/ 558 w 631"/>
                <a:gd name="T83" fmla="*/ 592 h 592"/>
                <a:gd name="T84" fmla="*/ 46 w 631"/>
                <a:gd name="T85" fmla="*/ 174 h 592"/>
                <a:gd name="T86" fmla="*/ 25 w 631"/>
                <a:gd name="T87" fmla="*/ 157 h 592"/>
                <a:gd name="T88" fmla="*/ 11 w 631"/>
                <a:gd name="T89" fmla="*/ 138 h 592"/>
                <a:gd name="T90" fmla="*/ 2 w 631"/>
                <a:gd name="T91" fmla="*/ 117 h 592"/>
                <a:gd name="T92" fmla="*/ 0 w 631"/>
                <a:gd name="T93" fmla="*/ 93 h 592"/>
                <a:gd name="T94" fmla="*/ 3 w 631"/>
                <a:gd name="T95" fmla="*/ 89 h 592"/>
                <a:gd name="T96" fmla="*/ 10 w 631"/>
                <a:gd name="T97" fmla="*/ 83 h 592"/>
                <a:gd name="T98" fmla="*/ 17 w 631"/>
                <a:gd name="T99" fmla="*/ 77 h 592"/>
                <a:gd name="T100" fmla="*/ 20 w 631"/>
                <a:gd name="T101" fmla="*/ 69 h 592"/>
                <a:gd name="T102" fmla="*/ 18 w 631"/>
                <a:gd name="T103" fmla="*/ 53 h 592"/>
                <a:gd name="T104" fmla="*/ 13 w 631"/>
                <a:gd name="T105" fmla="*/ 42 h 592"/>
                <a:gd name="T106" fmla="*/ 9 w 631"/>
                <a:gd name="T107" fmla="*/ 34 h 592"/>
                <a:gd name="T108" fmla="*/ 7 w 631"/>
                <a:gd name="T109" fmla="*/ 26 h 592"/>
                <a:gd name="T110" fmla="*/ 13 w 631"/>
                <a:gd name="T111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31" h="592">
                  <a:moveTo>
                    <a:pt x="13" y="0"/>
                  </a:moveTo>
                  <a:lnTo>
                    <a:pt x="21" y="2"/>
                  </a:lnTo>
                  <a:lnTo>
                    <a:pt x="26" y="2"/>
                  </a:lnTo>
                  <a:lnTo>
                    <a:pt x="32" y="4"/>
                  </a:lnTo>
                  <a:lnTo>
                    <a:pt x="40" y="7"/>
                  </a:lnTo>
                  <a:lnTo>
                    <a:pt x="54" y="8"/>
                  </a:lnTo>
                  <a:lnTo>
                    <a:pt x="67" y="9"/>
                  </a:lnTo>
                  <a:lnTo>
                    <a:pt x="78" y="11"/>
                  </a:lnTo>
                  <a:lnTo>
                    <a:pt x="88" y="13"/>
                  </a:lnTo>
                  <a:lnTo>
                    <a:pt x="104" y="19"/>
                  </a:lnTo>
                  <a:lnTo>
                    <a:pt x="118" y="26"/>
                  </a:lnTo>
                  <a:lnTo>
                    <a:pt x="130" y="32"/>
                  </a:lnTo>
                  <a:lnTo>
                    <a:pt x="141" y="38"/>
                  </a:lnTo>
                  <a:lnTo>
                    <a:pt x="146" y="40"/>
                  </a:lnTo>
                  <a:lnTo>
                    <a:pt x="153" y="42"/>
                  </a:lnTo>
                  <a:lnTo>
                    <a:pt x="159" y="43"/>
                  </a:lnTo>
                  <a:lnTo>
                    <a:pt x="166" y="44"/>
                  </a:lnTo>
                  <a:lnTo>
                    <a:pt x="189" y="43"/>
                  </a:lnTo>
                  <a:lnTo>
                    <a:pt x="210" y="41"/>
                  </a:lnTo>
                  <a:lnTo>
                    <a:pt x="227" y="37"/>
                  </a:lnTo>
                  <a:lnTo>
                    <a:pt x="244" y="33"/>
                  </a:lnTo>
                  <a:lnTo>
                    <a:pt x="277" y="23"/>
                  </a:lnTo>
                  <a:lnTo>
                    <a:pt x="312" y="14"/>
                  </a:lnTo>
                  <a:lnTo>
                    <a:pt x="399" y="38"/>
                  </a:lnTo>
                  <a:lnTo>
                    <a:pt x="400" y="53"/>
                  </a:lnTo>
                  <a:lnTo>
                    <a:pt x="403" y="69"/>
                  </a:lnTo>
                  <a:lnTo>
                    <a:pt x="405" y="82"/>
                  </a:lnTo>
                  <a:lnTo>
                    <a:pt x="410" y="95"/>
                  </a:lnTo>
                  <a:lnTo>
                    <a:pt x="413" y="107"/>
                  </a:lnTo>
                  <a:lnTo>
                    <a:pt x="417" y="119"/>
                  </a:lnTo>
                  <a:lnTo>
                    <a:pt x="423" y="130"/>
                  </a:lnTo>
                  <a:lnTo>
                    <a:pt x="427" y="140"/>
                  </a:lnTo>
                  <a:lnTo>
                    <a:pt x="438" y="158"/>
                  </a:lnTo>
                  <a:lnTo>
                    <a:pt x="450" y="175"/>
                  </a:lnTo>
                  <a:lnTo>
                    <a:pt x="461" y="190"/>
                  </a:lnTo>
                  <a:lnTo>
                    <a:pt x="472" y="204"/>
                  </a:lnTo>
                  <a:lnTo>
                    <a:pt x="478" y="213"/>
                  </a:lnTo>
                  <a:lnTo>
                    <a:pt x="482" y="222"/>
                  </a:lnTo>
                  <a:lnTo>
                    <a:pt x="484" y="232"/>
                  </a:lnTo>
                  <a:lnTo>
                    <a:pt x="485" y="240"/>
                  </a:lnTo>
                  <a:lnTo>
                    <a:pt x="488" y="248"/>
                  </a:lnTo>
                  <a:lnTo>
                    <a:pt x="491" y="255"/>
                  </a:lnTo>
                  <a:lnTo>
                    <a:pt x="494" y="258"/>
                  </a:lnTo>
                  <a:lnTo>
                    <a:pt x="496" y="261"/>
                  </a:lnTo>
                  <a:lnTo>
                    <a:pt x="501" y="263"/>
                  </a:lnTo>
                  <a:lnTo>
                    <a:pt x="505" y="266"/>
                  </a:lnTo>
                  <a:lnTo>
                    <a:pt x="508" y="267"/>
                  </a:lnTo>
                  <a:lnTo>
                    <a:pt x="513" y="270"/>
                  </a:lnTo>
                  <a:lnTo>
                    <a:pt x="516" y="274"/>
                  </a:lnTo>
                  <a:lnTo>
                    <a:pt x="519" y="278"/>
                  </a:lnTo>
                  <a:lnTo>
                    <a:pt x="526" y="290"/>
                  </a:lnTo>
                  <a:lnTo>
                    <a:pt x="533" y="303"/>
                  </a:lnTo>
                  <a:lnTo>
                    <a:pt x="537" y="317"/>
                  </a:lnTo>
                  <a:lnTo>
                    <a:pt x="541" y="331"/>
                  </a:lnTo>
                  <a:lnTo>
                    <a:pt x="544" y="346"/>
                  </a:lnTo>
                  <a:lnTo>
                    <a:pt x="545" y="358"/>
                  </a:lnTo>
                  <a:lnTo>
                    <a:pt x="546" y="363"/>
                  </a:lnTo>
                  <a:lnTo>
                    <a:pt x="548" y="368"/>
                  </a:lnTo>
                  <a:lnTo>
                    <a:pt x="551" y="374"/>
                  </a:lnTo>
                  <a:lnTo>
                    <a:pt x="557" y="381"/>
                  </a:lnTo>
                  <a:lnTo>
                    <a:pt x="569" y="398"/>
                  </a:lnTo>
                  <a:lnTo>
                    <a:pt x="583" y="415"/>
                  </a:lnTo>
                  <a:lnTo>
                    <a:pt x="598" y="432"/>
                  </a:lnTo>
                  <a:lnTo>
                    <a:pt x="612" y="447"/>
                  </a:lnTo>
                  <a:lnTo>
                    <a:pt x="624" y="458"/>
                  </a:lnTo>
                  <a:lnTo>
                    <a:pt x="631" y="463"/>
                  </a:lnTo>
                  <a:lnTo>
                    <a:pt x="622" y="472"/>
                  </a:lnTo>
                  <a:lnTo>
                    <a:pt x="612" y="481"/>
                  </a:lnTo>
                  <a:lnTo>
                    <a:pt x="619" y="489"/>
                  </a:lnTo>
                  <a:lnTo>
                    <a:pt x="624" y="496"/>
                  </a:lnTo>
                  <a:lnTo>
                    <a:pt x="626" y="501"/>
                  </a:lnTo>
                  <a:lnTo>
                    <a:pt x="626" y="507"/>
                  </a:lnTo>
                  <a:lnTo>
                    <a:pt x="626" y="511"/>
                  </a:lnTo>
                  <a:lnTo>
                    <a:pt x="626" y="516"/>
                  </a:lnTo>
                  <a:lnTo>
                    <a:pt x="627" y="523"/>
                  </a:lnTo>
                  <a:lnTo>
                    <a:pt x="631" y="531"/>
                  </a:lnTo>
                  <a:lnTo>
                    <a:pt x="629" y="535"/>
                  </a:lnTo>
                  <a:lnTo>
                    <a:pt x="626" y="539"/>
                  </a:lnTo>
                  <a:lnTo>
                    <a:pt x="622" y="543"/>
                  </a:lnTo>
                  <a:lnTo>
                    <a:pt x="617" y="548"/>
                  </a:lnTo>
                  <a:lnTo>
                    <a:pt x="605" y="559"/>
                  </a:lnTo>
                  <a:lnTo>
                    <a:pt x="592" y="569"/>
                  </a:lnTo>
                  <a:lnTo>
                    <a:pt x="569" y="585"/>
                  </a:lnTo>
                  <a:lnTo>
                    <a:pt x="558" y="592"/>
                  </a:lnTo>
                  <a:lnTo>
                    <a:pt x="53" y="592"/>
                  </a:lnTo>
                  <a:lnTo>
                    <a:pt x="46" y="174"/>
                  </a:lnTo>
                  <a:lnTo>
                    <a:pt x="35" y="166"/>
                  </a:lnTo>
                  <a:lnTo>
                    <a:pt x="25" y="157"/>
                  </a:lnTo>
                  <a:lnTo>
                    <a:pt x="18" y="148"/>
                  </a:lnTo>
                  <a:lnTo>
                    <a:pt x="11" y="138"/>
                  </a:lnTo>
                  <a:lnTo>
                    <a:pt x="6" y="128"/>
                  </a:lnTo>
                  <a:lnTo>
                    <a:pt x="2" y="117"/>
                  </a:lnTo>
                  <a:lnTo>
                    <a:pt x="1" y="105"/>
                  </a:lnTo>
                  <a:lnTo>
                    <a:pt x="0" y="93"/>
                  </a:lnTo>
                  <a:lnTo>
                    <a:pt x="1" y="91"/>
                  </a:lnTo>
                  <a:lnTo>
                    <a:pt x="3" y="89"/>
                  </a:lnTo>
                  <a:lnTo>
                    <a:pt x="7" y="86"/>
                  </a:lnTo>
                  <a:lnTo>
                    <a:pt x="10" y="83"/>
                  </a:lnTo>
                  <a:lnTo>
                    <a:pt x="13" y="80"/>
                  </a:lnTo>
                  <a:lnTo>
                    <a:pt x="17" y="77"/>
                  </a:lnTo>
                  <a:lnTo>
                    <a:pt x="19" y="73"/>
                  </a:lnTo>
                  <a:lnTo>
                    <a:pt x="20" y="69"/>
                  </a:lnTo>
                  <a:lnTo>
                    <a:pt x="20" y="61"/>
                  </a:lnTo>
                  <a:lnTo>
                    <a:pt x="18" y="53"/>
                  </a:lnTo>
                  <a:lnTo>
                    <a:pt x="15" y="47"/>
                  </a:lnTo>
                  <a:lnTo>
                    <a:pt x="13" y="42"/>
                  </a:lnTo>
                  <a:lnTo>
                    <a:pt x="11" y="38"/>
                  </a:lnTo>
                  <a:lnTo>
                    <a:pt x="9" y="34"/>
                  </a:lnTo>
                  <a:lnTo>
                    <a:pt x="7" y="30"/>
                  </a:lnTo>
                  <a:lnTo>
                    <a:pt x="7" y="26"/>
                  </a:lnTo>
                  <a:lnTo>
                    <a:pt x="10" y="11"/>
                  </a:lnTo>
                  <a:lnTo>
                    <a:pt x="13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11" name="Freeform 458"/>
            <p:cNvSpPr>
              <a:spLocks/>
            </p:cNvSpPr>
            <p:nvPr>
              <p:custDataLst>
                <p:tags r:id="rId296"/>
              </p:custDataLst>
            </p:nvPr>
          </p:nvSpPr>
          <p:spPr bwMode="auto">
            <a:xfrm>
              <a:off x="6315707" y="2967477"/>
              <a:ext cx="17462" cy="57150"/>
            </a:xfrm>
            <a:custGeom>
              <a:avLst/>
              <a:gdLst>
                <a:gd name="T0" fmla="*/ 2147483647 w 40"/>
                <a:gd name="T1" fmla="*/ 2147483647 h 93"/>
                <a:gd name="T2" fmla="*/ 2147483647 w 40"/>
                <a:gd name="T3" fmla="*/ 2147483647 h 93"/>
                <a:gd name="T4" fmla="*/ 2147483647 w 40"/>
                <a:gd name="T5" fmla="*/ 2147483647 h 93"/>
                <a:gd name="T6" fmla="*/ 2147483647 w 40"/>
                <a:gd name="T7" fmla="*/ 2147483647 h 93"/>
                <a:gd name="T8" fmla="*/ 2147483647 w 40"/>
                <a:gd name="T9" fmla="*/ 2147483647 h 93"/>
                <a:gd name="T10" fmla="*/ 2147483647 w 40"/>
                <a:gd name="T11" fmla="*/ 2147483647 h 93"/>
                <a:gd name="T12" fmla="*/ 2147483647 w 40"/>
                <a:gd name="T13" fmla="*/ 0 h 93"/>
                <a:gd name="T14" fmla="*/ 2147483647 w 40"/>
                <a:gd name="T15" fmla="*/ 2147483647 h 93"/>
                <a:gd name="T16" fmla="*/ 2147483647 w 40"/>
                <a:gd name="T17" fmla="*/ 2147483647 h 93"/>
                <a:gd name="T18" fmla="*/ 2147483647 w 40"/>
                <a:gd name="T19" fmla="*/ 2147483647 h 93"/>
                <a:gd name="T20" fmla="*/ 2147483647 w 40"/>
                <a:gd name="T21" fmla="*/ 2147483647 h 93"/>
                <a:gd name="T22" fmla="*/ 2147483647 w 40"/>
                <a:gd name="T23" fmla="*/ 2147483647 h 93"/>
                <a:gd name="T24" fmla="*/ 2147483647 w 40"/>
                <a:gd name="T25" fmla="*/ 2147483647 h 93"/>
                <a:gd name="T26" fmla="*/ 2147483647 w 40"/>
                <a:gd name="T27" fmla="*/ 2147483647 h 93"/>
                <a:gd name="T28" fmla="*/ 2147483647 w 40"/>
                <a:gd name="T29" fmla="*/ 2147483647 h 93"/>
                <a:gd name="T30" fmla="*/ 2147483647 w 40"/>
                <a:gd name="T31" fmla="*/ 2147483647 h 93"/>
                <a:gd name="T32" fmla="*/ 2147483647 w 40"/>
                <a:gd name="T33" fmla="*/ 2147483647 h 93"/>
                <a:gd name="T34" fmla="*/ 2147483647 w 40"/>
                <a:gd name="T35" fmla="*/ 2147483647 h 93"/>
                <a:gd name="T36" fmla="*/ 2147483647 w 40"/>
                <a:gd name="T37" fmla="*/ 2147483647 h 93"/>
                <a:gd name="T38" fmla="*/ 2147483647 w 40"/>
                <a:gd name="T39" fmla="*/ 2147483647 h 93"/>
                <a:gd name="T40" fmla="*/ 2147483647 w 40"/>
                <a:gd name="T41" fmla="*/ 2147483647 h 93"/>
                <a:gd name="T42" fmla="*/ 2147483647 w 40"/>
                <a:gd name="T43" fmla="*/ 2147483647 h 93"/>
                <a:gd name="T44" fmla="*/ 0 w 40"/>
                <a:gd name="T45" fmla="*/ 2147483647 h 93"/>
                <a:gd name="T46" fmla="*/ 2147483647 w 40"/>
                <a:gd name="T47" fmla="*/ 2147483647 h 93"/>
                <a:gd name="T48" fmla="*/ 2147483647 w 40"/>
                <a:gd name="T49" fmla="*/ 2147483647 h 93"/>
                <a:gd name="T50" fmla="*/ 2147483647 w 40"/>
                <a:gd name="T51" fmla="*/ 2147483647 h 93"/>
                <a:gd name="T52" fmla="*/ 2147483647 w 40"/>
                <a:gd name="T53" fmla="*/ 2147483647 h 9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40" h="93">
                  <a:moveTo>
                    <a:pt x="7" y="31"/>
                  </a:moveTo>
                  <a:lnTo>
                    <a:pt x="10" y="30"/>
                  </a:lnTo>
                  <a:lnTo>
                    <a:pt x="14" y="26"/>
                  </a:lnTo>
                  <a:lnTo>
                    <a:pt x="20" y="20"/>
                  </a:lnTo>
                  <a:lnTo>
                    <a:pt x="25" y="15"/>
                  </a:lnTo>
                  <a:lnTo>
                    <a:pt x="35" y="4"/>
                  </a:lnTo>
                  <a:lnTo>
                    <a:pt x="40" y="0"/>
                  </a:lnTo>
                  <a:lnTo>
                    <a:pt x="37" y="26"/>
                  </a:lnTo>
                  <a:lnTo>
                    <a:pt x="35" y="53"/>
                  </a:lnTo>
                  <a:lnTo>
                    <a:pt x="34" y="65"/>
                  </a:lnTo>
                  <a:lnTo>
                    <a:pt x="34" y="77"/>
                  </a:lnTo>
                  <a:lnTo>
                    <a:pt x="35" y="82"/>
                  </a:lnTo>
                  <a:lnTo>
                    <a:pt x="36" y="86"/>
                  </a:lnTo>
                  <a:lnTo>
                    <a:pt x="37" y="90"/>
                  </a:lnTo>
                  <a:lnTo>
                    <a:pt x="40" y="93"/>
                  </a:lnTo>
                  <a:lnTo>
                    <a:pt x="26" y="93"/>
                  </a:lnTo>
                  <a:lnTo>
                    <a:pt x="13" y="93"/>
                  </a:lnTo>
                  <a:lnTo>
                    <a:pt x="11" y="92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4" y="86"/>
                  </a:lnTo>
                  <a:lnTo>
                    <a:pt x="1" y="80"/>
                  </a:lnTo>
                  <a:lnTo>
                    <a:pt x="0" y="73"/>
                  </a:lnTo>
                  <a:lnTo>
                    <a:pt x="1" y="64"/>
                  </a:lnTo>
                  <a:lnTo>
                    <a:pt x="3" y="50"/>
                  </a:lnTo>
                  <a:lnTo>
                    <a:pt x="6" y="37"/>
                  </a:lnTo>
                  <a:lnTo>
                    <a:pt x="7" y="31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12" name="Freeform 459"/>
            <p:cNvSpPr>
              <a:spLocks/>
            </p:cNvSpPr>
            <p:nvPr>
              <p:custDataLst>
                <p:tags r:id="rId297"/>
              </p:custDataLst>
            </p:nvPr>
          </p:nvSpPr>
          <p:spPr bwMode="auto">
            <a:xfrm>
              <a:off x="5955344" y="2718239"/>
              <a:ext cx="295275" cy="273050"/>
            </a:xfrm>
            <a:custGeom>
              <a:avLst/>
              <a:gdLst>
                <a:gd name="T0" fmla="*/ 2147483647 w 664"/>
                <a:gd name="T1" fmla="*/ 2147483647 h 518"/>
                <a:gd name="T2" fmla="*/ 2147483647 w 664"/>
                <a:gd name="T3" fmla="*/ 2147483647 h 518"/>
                <a:gd name="T4" fmla="*/ 2147483647 w 664"/>
                <a:gd name="T5" fmla="*/ 2147483647 h 518"/>
                <a:gd name="T6" fmla="*/ 2147483647 w 664"/>
                <a:gd name="T7" fmla="*/ 2147483647 h 518"/>
                <a:gd name="T8" fmla="*/ 2147483647 w 664"/>
                <a:gd name="T9" fmla="*/ 2147483647 h 518"/>
                <a:gd name="T10" fmla="*/ 2147483647 w 664"/>
                <a:gd name="T11" fmla="*/ 2147483647 h 518"/>
                <a:gd name="T12" fmla="*/ 2147483647 w 664"/>
                <a:gd name="T13" fmla="*/ 2147483647 h 518"/>
                <a:gd name="T14" fmla="*/ 2147483647 w 664"/>
                <a:gd name="T15" fmla="*/ 2147483647 h 518"/>
                <a:gd name="T16" fmla="*/ 2147483647 w 664"/>
                <a:gd name="T17" fmla="*/ 2147483647 h 518"/>
                <a:gd name="T18" fmla="*/ 2147483647 w 664"/>
                <a:gd name="T19" fmla="*/ 2147483647 h 518"/>
                <a:gd name="T20" fmla="*/ 2147483647 w 664"/>
                <a:gd name="T21" fmla="*/ 2147483647 h 518"/>
                <a:gd name="T22" fmla="*/ 2147483647 w 664"/>
                <a:gd name="T23" fmla="*/ 2147483647 h 518"/>
                <a:gd name="T24" fmla="*/ 2147483647 w 664"/>
                <a:gd name="T25" fmla="*/ 2147483647 h 518"/>
                <a:gd name="T26" fmla="*/ 2147483647 w 664"/>
                <a:gd name="T27" fmla="*/ 2147483647 h 518"/>
                <a:gd name="T28" fmla="*/ 2147483647 w 664"/>
                <a:gd name="T29" fmla="*/ 2147483647 h 518"/>
                <a:gd name="T30" fmla="*/ 2147483647 w 664"/>
                <a:gd name="T31" fmla="*/ 2147483647 h 518"/>
                <a:gd name="T32" fmla="*/ 2147483647 w 664"/>
                <a:gd name="T33" fmla="*/ 2147483647 h 518"/>
                <a:gd name="T34" fmla="*/ 2147483647 w 664"/>
                <a:gd name="T35" fmla="*/ 2147483647 h 518"/>
                <a:gd name="T36" fmla="*/ 2147483647 w 664"/>
                <a:gd name="T37" fmla="*/ 2147483647 h 518"/>
                <a:gd name="T38" fmla="*/ 2147483647 w 664"/>
                <a:gd name="T39" fmla="*/ 2147483647 h 518"/>
                <a:gd name="T40" fmla="*/ 2147483647 w 664"/>
                <a:gd name="T41" fmla="*/ 2147483647 h 518"/>
                <a:gd name="T42" fmla="*/ 2147483647 w 664"/>
                <a:gd name="T43" fmla="*/ 2147483647 h 518"/>
                <a:gd name="T44" fmla="*/ 2147483647 w 664"/>
                <a:gd name="T45" fmla="*/ 2147483647 h 518"/>
                <a:gd name="T46" fmla="*/ 2147483647 w 664"/>
                <a:gd name="T47" fmla="*/ 2147483647 h 518"/>
                <a:gd name="T48" fmla="*/ 2147483647 w 664"/>
                <a:gd name="T49" fmla="*/ 2147483647 h 518"/>
                <a:gd name="T50" fmla="*/ 2147483647 w 664"/>
                <a:gd name="T51" fmla="*/ 2147483647 h 518"/>
                <a:gd name="T52" fmla="*/ 2147483647 w 664"/>
                <a:gd name="T53" fmla="*/ 2147483647 h 518"/>
                <a:gd name="T54" fmla="*/ 2147483647 w 664"/>
                <a:gd name="T55" fmla="*/ 2147483647 h 518"/>
                <a:gd name="T56" fmla="*/ 2147483647 w 664"/>
                <a:gd name="T57" fmla="*/ 2147483647 h 518"/>
                <a:gd name="T58" fmla="*/ 2147483647 w 664"/>
                <a:gd name="T59" fmla="*/ 2147483647 h 518"/>
                <a:gd name="T60" fmla="*/ 2147483647 w 664"/>
                <a:gd name="T61" fmla="*/ 2147483647 h 518"/>
                <a:gd name="T62" fmla="*/ 2147483647 w 664"/>
                <a:gd name="T63" fmla="*/ 2147483647 h 518"/>
                <a:gd name="T64" fmla="*/ 2147483647 w 664"/>
                <a:gd name="T65" fmla="*/ 2147483647 h 518"/>
                <a:gd name="T66" fmla="*/ 2147483647 w 664"/>
                <a:gd name="T67" fmla="*/ 2147483647 h 518"/>
                <a:gd name="T68" fmla="*/ 2147483647 w 664"/>
                <a:gd name="T69" fmla="*/ 2147483647 h 518"/>
                <a:gd name="T70" fmla="*/ 2147483647 w 664"/>
                <a:gd name="T71" fmla="*/ 2147483647 h 518"/>
                <a:gd name="T72" fmla="*/ 2147483647 w 664"/>
                <a:gd name="T73" fmla="*/ 2147483647 h 518"/>
                <a:gd name="T74" fmla="*/ 2147483647 w 664"/>
                <a:gd name="T75" fmla="*/ 2147483647 h 518"/>
                <a:gd name="T76" fmla="*/ 2147483647 w 664"/>
                <a:gd name="T77" fmla="*/ 2147483647 h 518"/>
                <a:gd name="T78" fmla="*/ 2147483647 w 664"/>
                <a:gd name="T79" fmla="*/ 2147483647 h 518"/>
                <a:gd name="T80" fmla="*/ 2147483647 w 664"/>
                <a:gd name="T81" fmla="*/ 2147483647 h 518"/>
                <a:gd name="T82" fmla="*/ 2147483647 w 664"/>
                <a:gd name="T83" fmla="*/ 2147483647 h 518"/>
                <a:gd name="T84" fmla="*/ 2147483647 w 664"/>
                <a:gd name="T85" fmla="*/ 2147483647 h 518"/>
                <a:gd name="T86" fmla="*/ 2147483647 w 664"/>
                <a:gd name="T87" fmla="*/ 2147483647 h 518"/>
                <a:gd name="T88" fmla="*/ 2147483647 w 664"/>
                <a:gd name="T89" fmla="*/ 2147483647 h 518"/>
                <a:gd name="T90" fmla="*/ 2147483647 w 664"/>
                <a:gd name="T91" fmla="*/ 2147483647 h 518"/>
                <a:gd name="T92" fmla="*/ 2147483647 w 664"/>
                <a:gd name="T93" fmla="*/ 2147483647 h 518"/>
                <a:gd name="T94" fmla="*/ 2147483647 w 664"/>
                <a:gd name="T95" fmla="*/ 2147483647 h 518"/>
                <a:gd name="T96" fmla="*/ 2147483647 w 664"/>
                <a:gd name="T97" fmla="*/ 2147483647 h 518"/>
                <a:gd name="T98" fmla="*/ 2147483647 w 664"/>
                <a:gd name="T99" fmla="*/ 2147483647 h 518"/>
                <a:gd name="T100" fmla="*/ 2147483647 w 664"/>
                <a:gd name="T101" fmla="*/ 2147483647 h 518"/>
                <a:gd name="T102" fmla="*/ 2147483647 w 664"/>
                <a:gd name="T103" fmla="*/ 2147483647 h 518"/>
                <a:gd name="T104" fmla="*/ 2147483647 w 664"/>
                <a:gd name="T105" fmla="*/ 2147483647 h 518"/>
                <a:gd name="T106" fmla="*/ 2147483647 w 664"/>
                <a:gd name="T107" fmla="*/ 2147483647 h 518"/>
                <a:gd name="T108" fmla="*/ 2147483647 w 664"/>
                <a:gd name="T109" fmla="*/ 2147483647 h 518"/>
                <a:gd name="T110" fmla="*/ 2147483647 w 664"/>
                <a:gd name="T111" fmla="*/ 2147483647 h 518"/>
                <a:gd name="T112" fmla="*/ 2147483647 w 664"/>
                <a:gd name="T113" fmla="*/ 2147483647 h 518"/>
                <a:gd name="T114" fmla="*/ 2147483647 w 664"/>
                <a:gd name="T115" fmla="*/ 2147483647 h 518"/>
                <a:gd name="T116" fmla="*/ 2147483647 w 664"/>
                <a:gd name="T117" fmla="*/ 2147483647 h 518"/>
                <a:gd name="T118" fmla="*/ 2147483647 w 664"/>
                <a:gd name="T119" fmla="*/ 2147483647 h 518"/>
                <a:gd name="T120" fmla="*/ 2147483647 w 664"/>
                <a:gd name="T121" fmla="*/ 2147483647 h 518"/>
                <a:gd name="T122" fmla="*/ 2147483647 w 664"/>
                <a:gd name="T123" fmla="*/ 2147483647 h 518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64" h="518">
                  <a:moveTo>
                    <a:pt x="146" y="450"/>
                  </a:moveTo>
                  <a:lnTo>
                    <a:pt x="148" y="447"/>
                  </a:lnTo>
                  <a:lnTo>
                    <a:pt x="149" y="445"/>
                  </a:lnTo>
                  <a:lnTo>
                    <a:pt x="150" y="441"/>
                  </a:lnTo>
                  <a:lnTo>
                    <a:pt x="151" y="438"/>
                  </a:lnTo>
                  <a:lnTo>
                    <a:pt x="151" y="431"/>
                  </a:lnTo>
                  <a:lnTo>
                    <a:pt x="150" y="424"/>
                  </a:lnTo>
                  <a:lnTo>
                    <a:pt x="147" y="411"/>
                  </a:lnTo>
                  <a:lnTo>
                    <a:pt x="146" y="400"/>
                  </a:lnTo>
                  <a:lnTo>
                    <a:pt x="147" y="378"/>
                  </a:lnTo>
                  <a:lnTo>
                    <a:pt x="149" y="364"/>
                  </a:lnTo>
                  <a:lnTo>
                    <a:pt x="151" y="353"/>
                  </a:lnTo>
                  <a:lnTo>
                    <a:pt x="152" y="339"/>
                  </a:lnTo>
                  <a:lnTo>
                    <a:pt x="150" y="320"/>
                  </a:lnTo>
                  <a:lnTo>
                    <a:pt x="146" y="298"/>
                  </a:lnTo>
                  <a:lnTo>
                    <a:pt x="141" y="273"/>
                  </a:lnTo>
                  <a:lnTo>
                    <a:pt x="139" y="252"/>
                  </a:lnTo>
                  <a:lnTo>
                    <a:pt x="134" y="251"/>
                  </a:lnTo>
                  <a:lnTo>
                    <a:pt x="127" y="249"/>
                  </a:lnTo>
                  <a:lnTo>
                    <a:pt x="119" y="246"/>
                  </a:lnTo>
                  <a:lnTo>
                    <a:pt x="109" y="241"/>
                  </a:lnTo>
                  <a:lnTo>
                    <a:pt x="87" y="231"/>
                  </a:lnTo>
                  <a:lnTo>
                    <a:pt x="64" y="217"/>
                  </a:lnTo>
                  <a:lnTo>
                    <a:pt x="20" y="192"/>
                  </a:lnTo>
                  <a:lnTo>
                    <a:pt x="0" y="178"/>
                  </a:lnTo>
                  <a:lnTo>
                    <a:pt x="19" y="172"/>
                  </a:lnTo>
                  <a:lnTo>
                    <a:pt x="24" y="171"/>
                  </a:lnTo>
                  <a:lnTo>
                    <a:pt x="28" y="168"/>
                  </a:lnTo>
                  <a:lnTo>
                    <a:pt x="31" y="165"/>
                  </a:lnTo>
                  <a:lnTo>
                    <a:pt x="36" y="159"/>
                  </a:lnTo>
                  <a:lnTo>
                    <a:pt x="39" y="155"/>
                  </a:lnTo>
                  <a:lnTo>
                    <a:pt x="44" y="151"/>
                  </a:lnTo>
                  <a:lnTo>
                    <a:pt x="48" y="148"/>
                  </a:lnTo>
                  <a:lnTo>
                    <a:pt x="52" y="147"/>
                  </a:lnTo>
                  <a:lnTo>
                    <a:pt x="92" y="159"/>
                  </a:lnTo>
                  <a:lnTo>
                    <a:pt x="100" y="155"/>
                  </a:lnTo>
                  <a:lnTo>
                    <a:pt x="108" y="153"/>
                  </a:lnTo>
                  <a:lnTo>
                    <a:pt x="116" y="152"/>
                  </a:lnTo>
                  <a:lnTo>
                    <a:pt x="125" y="152"/>
                  </a:lnTo>
                  <a:lnTo>
                    <a:pt x="132" y="153"/>
                  </a:lnTo>
                  <a:lnTo>
                    <a:pt x="140" y="155"/>
                  </a:lnTo>
                  <a:lnTo>
                    <a:pt x="147" y="157"/>
                  </a:lnTo>
                  <a:lnTo>
                    <a:pt x="152" y="159"/>
                  </a:lnTo>
                  <a:lnTo>
                    <a:pt x="152" y="86"/>
                  </a:lnTo>
                  <a:lnTo>
                    <a:pt x="165" y="94"/>
                  </a:lnTo>
                  <a:lnTo>
                    <a:pt x="175" y="102"/>
                  </a:lnTo>
                  <a:lnTo>
                    <a:pt x="181" y="105"/>
                  </a:lnTo>
                  <a:lnTo>
                    <a:pt x="185" y="109"/>
                  </a:lnTo>
                  <a:lnTo>
                    <a:pt x="192" y="110"/>
                  </a:lnTo>
                  <a:lnTo>
                    <a:pt x="198" y="111"/>
                  </a:lnTo>
                  <a:lnTo>
                    <a:pt x="207" y="110"/>
                  </a:lnTo>
                  <a:lnTo>
                    <a:pt x="217" y="107"/>
                  </a:lnTo>
                  <a:lnTo>
                    <a:pt x="226" y="103"/>
                  </a:lnTo>
                  <a:lnTo>
                    <a:pt x="236" y="99"/>
                  </a:lnTo>
                  <a:lnTo>
                    <a:pt x="246" y="93"/>
                  </a:lnTo>
                  <a:lnTo>
                    <a:pt x="255" y="87"/>
                  </a:lnTo>
                  <a:lnTo>
                    <a:pt x="264" y="80"/>
                  </a:lnTo>
                  <a:lnTo>
                    <a:pt x="273" y="73"/>
                  </a:lnTo>
                  <a:lnTo>
                    <a:pt x="282" y="65"/>
                  </a:lnTo>
                  <a:lnTo>
                    <a:pt x="289" y="57"/>
                  </a:lnTo>
                  <a:lnTo>
                    <a:pt x="297" y="48"/>
                  </a:lnTo>
                  <a:lnTo>
                    <a:pt x="303" y="40"/>
                  </a:lnTo>
                  <a:lnTo>
                    <a:pt x="308" y="32"/>
                  </a:lnTo>
                  <a:lnTo>
                    <a:pt x="313" y="25"/>
                  </a:lnTo>
                  <a:lnTo>
                    <a:pt x="316" y="18"/>
                  </a:lnTo>
                  <a:lnTo>
                    <a:pt x="318" y="12"/>
                  </a:lnTo>
                  <a:lnTo>
                    <a:pt x="337" y="11"/>
                  </a:lnTo>
                  <a:lnTo>
                    <a:pt x="354" y="8"/>
                  </a:lnTo>
                  <a:lnTo>
                    <a:pt x="370" y="4"/>
                  </a:lnTo>
                  <a:lnTo>
                    <a:pt x="385" y="0"/>
                  </a:lnTo>
                  <a:lnTo>
                    <a:pt x="385" y="24"/>
                  </a:lnTo>
                  <a:lnTo>
                    <a:pt x="404" y="32"/>
                  </a:lnTo>
                  <a:lnTo>
                    <a:pt x="422" y="40"/>
                  </a:lnTo>
                  <a:lnTo>
                    <a:pt x="440" y="50"/>
                  </a:lnTo>
                  <a:lnTo>
                    <a:pt x="457" y="61"/>
                  </a:lnTo>
                  <a:lnTo>
                    <a:pt x="475" y="72"/>
                  </a:lnTo>
                  <a:lnTo>
                    <a:pt x="493" y="81"/>
                  </a:lnTo>
                  <a:lnTo>
                    <a:pt x="511" y="90"/>
                  </a:lnTo>
                  <a:lnTo>
                    <a:pt x="531" y="98"/>
                  </a:lnTo>
                  <a:lnTo>
                    <a:pt x="538" y="101"/>
                  </a:lnTo>
                  <a:lnTo>
                    <a:pt x="552" y="107"/>
                  </a:lnTo>
                  <a:lnTo>
                    <a:pt x="561" y="111"/>
                  </a:lnTo>
                  <a:lnTo>
                    <a:pt x="569" y="114"/>
                  </a:lnTo>
                  <a:lnTo>
                    <a:pt x="578" y="116"/>
                  </a:lnTo>
                  <a:lnTo>
                    <a:pt x="584" y="117"/>
                  </a:lnTo>
                  <a:lnTo>
                    <a:pt x="604" y="118"/>
                  </a:lnTo>
                  <a:lnTo>
                    <a:pt x="623" y="121"/>
                  </a:lnTo>
                  <a:lnTo>
                    <a:pt x="644" y="124"/>
                  </a:lnTo>
                  <a:lnTo>
                    <a:pt x="664" y="129"/>
                  </a:lnTo>
                  <a:lnTo>
                    <a:pt x="658" y="136"/>
                  </a:lnTo>
                  <a:lnTo>
                    <a:pt x="654" y="145"/>
                  </a:lnTo>
                  <a:lnTo>
                    <a:pt x="650" y="155"/>
                  </a:lnTo>
                  <a:lnTo>
                    <a:pt x="645" y="166"/>
                  </a:lnTo>
                  <a:lnTo>
                    <a:pt x="638" y="189"/>
                  </a:lnTo>
                  <a:lnTo>
                    <a:pt x="629" y="212"/>
                  </a:lnTo>
                  <a:lnTo>
                    <a:pt x="620" y="236"/>
                  </a:lnTo>
                  <a:lnTo>
                    <a:pt x="609" y="256"/>
                  </a:lnTo>
                  <a:lnTo>
                    <a:pt x="604" y="265"/>
                  </a:lnTo>
                  <a:lnTo>
                    <a:pt x="598" y="272"/>
                  </a:lnTo>
                  <a:lnTo>
                    <a:pt x="591" y="279"/>
                  </a:lnTo>
                  <a:lnTo>
                    <a:pt x="584" y="283"/>
                  </a:lnTo>
                  <a:lnTo>
                    <a:pt x="585" y="286"/>
                  </a:lnTo>
                  <a:lnTo>
                    <a:pt x="588" y="290"/>
                  </a:lnTo>
                  <a:lnTo>
                    <a:pt x="593" y="294"/>
                  </a:lnTo>
                  <a:lnTo>
                    <a:pt x="599" y="298"/>
                  </a:lnTo>
                  <a:lnTo>
                    <a:pt x="606" y="301"/>
                  </a:lnTo>
                  <a:lnTo>
                    <a:pt x="612" y="304"/>
                  </a:lnTo>
                  <a:lnTo>
                    <a:pt x="618" y="307"/>
                  </a:lnTo>
                  <a:lnTo>
                    <a:pt x="623" y="307"/>
                  </a:lnTo>
                  <a:lnTo>
                    <a:pt x="623" y="326"/>
                  </a:lnTo>
                  <a:lnTo>
                    <a:pt x="623" y="334"/>
                  </a:lnTo>
                  <a:lnTo>
                    <a:pt x="622" y="340"/>
                  </a:lnTo>
                  <a:lnTo>
                    <a:pt x="622" y="344"/>
                  </a:lnTo>
                  <a:lnTo>
                    <a:pt x="620" y="347"/>
                  </a:lnTo>
                  <a:lnTo>
                    <a:pt x="618" y="353"/>
                  </a:lnTo>
                  <a:lnTo>
                    <a:pt x="617" y="363"/>
                  </a:lnTo>
                  <a:lnTo>
                    <a:pt x="618" y="372"/>
                  </a:lnTo>
                  <a:lnTo>
                    <a:pt x="618" y="381"/>
                  </a:lnTo>
                  <a:lnTo>
                    <a:pt x="620" y="391"/>
                  </a:lnTo>
                  <a:lnTo>
                    <a:pt x="622" y="399"/>
                  </a:lnTo>
                  <a:lnTo>
                    <a:pt x="624" y="408"/>
                  </a:lnTo>
                  <a:lnTo>
                    <a:pt x="629" y="416"/>
                  </a:lnTo>
                  <a:lnTo>
                    <a:pt x="632" y="423"/>
                  </a:lnTo>
                  <a:lnTo>
                    <a:pt x="638" y="430"/>
                  </a:lnTo>
                  <a:lnTo>
                    <a:pt x="622" y="444"/>
                  </a:lnTo>
                  <a:lnTo>
                    <a:pt x="608" y="457"/>
                  </a:lnTo>
                  <a:lnTo>
                    <a:pt x="593" y="469"/>
                  </a:lnTo>
                  <a:lnTo>
                    <a:pt x="577" y="480"/>
                  </a:lnTo>
                  <a:lnTo>
                    <a:pt x="569" y="484"/>
                  </a:lnTo>
                  <a:lnTo>
                    <a:pt x="561" y="487"/>
                  </a:lnTo>
                  <a:lnTo>
                    <a:pt x="551" y="489"/>
                  </a:lnTo>
                  <a:lnTo>
                    <a:pt x="542" y="489"/>
                  </a:lnTo>
                  <a:lnTo>
                    <a:pt x="532" y="488"/>
                  </a:lnTo>
                  <a:lnTo>
                    <a:pt x="521" y="485"/>
                  </a:lnTo>
                  <a:lnTo>
                    <a:pt x="509" y="481"/>
                  </a:lnTo>
                  <a:lnTo>
                    <a:pt x="497" y="474"/>
                  </a:lnTo>
                  <a:lnTo>
                    <a:pt x="487" y="466"/>
                  </a:lnTo>
                  <a:lnTo>
                    <a:pt x="477" y="460"/>
                  </a:lnTo>
                  <a:lnTo>
                    <a:pt x="473" y="458"/>
                  </a:lnTo>
                  <a:lnTo>
                    <a:pt x="467" y="457"/>
                  </a:lnTo>
                  <a:lnTo>
                    <a:pt x="463" y="456"/>
                  </a:lnTo>
                  <a:lnTo>
                    <a:pt x="457" y="456"/>
                  </a:lnTo>
                  <a:lnTo>
                    <a:pt x="450" y="456"/>
                  </a:lnTo>
                  <a:lnTo>
                    <a:pt x="443" y="457"/>
                  </a:lnTo>
                  <a:lnTo>
                    <a:pt x="436" y="459"/>
                  </a:lnTo>
                  <a:lnTo>
                    <a:pt x="429" y="462"/>
                  </a:lnTo>
                  <a:lnTo>
                    <a:pt x="423" y="465"/>
                  </a:lnTo>
                  <a:lnTo>
                    <a:pt x="417" y="468"/>
                  </a:lnTo>
                  <a:lnTo>
                    <a:pt x="411" y="472"/>
                  </a:lnTo>
                  <a:lnTo>
                    <a:pt x="406" y="477"/>
                  </a:lnTo>
                  <a:lnTo>
                    <a:pt x="397" y="486"/>
                  </a:lnTo>
                  <a:lnTo>
                    <a:pt x="390" y="496"/>
                  </a:lnTo>
                  <a:lnTo>
                    <a:pt x="388" y="503"/>
                  </a:lnTo>
                  <a:lnTo>
                    <a:pt x="386" y="508"/>
                  </a:lnTo>
                  <a:lnTo>
                    <a:pt x="385" y="512"/>
                  </a:lnTo>
                  <a:lnTo>
                    <a:pt x="385" y="517"/>
                  </a:lnTo>
                  <a:lnTo>
                    <a:pt x="364" y="518"/>
                  </a:lnTo>
                  <a:lnTo>
                    <a:pt x="343" y="517"/>
                  </a:lnTo>
                  <a:lnTo>
                    <a:pt x="333" y="515"/>
                  </a:lnTo>
                  <a:lnTo>
                    <a:pt x="325" y="512"/>
                  </a:lnTo>
                  <a:lnTo>
                    <a:pt x="321" y="510"/>
                  </a:lnTo>
                  <a:lnTo>
                    <a:pt x="317" y="507"/>
                  </a:lnTo>
                  <a:lnTo>
                    <a:pt x="314" y="503"/>
                  </a:lnTo>
                  <a:lnTo>
                    <a:pt x="311" y="499"/>
                  </a:lnTo>
                  <a:lnTo>
                    <a:pt x="307" y="500"/>
                  </a:lnTo>
                  <a:lnTo>
                    <a:pt x="303" y="502"/>
                  </a:lnTo>
                  <a:lnTo>
                    <a:pt x="299" y="505"/>
                  </a:lnTo>
                  <a:lnTo>
                    <a:pt x="296" y="508"/>
                  </a:lnTo>
                  <a:lnTo>
                    <a:pt x="293" y="511"/>
                  </a:lnTo>
                  <a:lnTo>
                    <a:pt x="289" y="514"/>
                  </a:lnTo>
                  <a:lnTo>
                    <a:pt x="287" y="516"/>
                  </a:lnTo>
                  <a:lnTo>
                    <a:pt x="285" y="517"/>
                  </a:lnTo>
                  <a:lnTo>
                    <a:pt x="277" y="517"/>
                  </a:lnTo>
                  <a:lnTo>
                    <a:pt x="268" y="516"/>
                  </a:lnTo>
                  <a:lnTo>
                    <a:pt x="259" y="514"/>
                  </a:lnTo>
                  <a:lnTo>
                    <a:pt x="248" y="512"/>
                  </a:lnTo>
                  <a:lnTo>
                    <a:pt x="227" y="506"/>
                  </a:lnTo>
                  <a:lnTo>
                    <a:pt x="205" y="496"/>
                  </a:lnTo>
                  <a:lnTo>
                    <a:pt x="195" y="492"/>
                  </a:lnTo>
                  <a:lnTo>
                    <a:pt x="185" y="487"/>
                  </a:lnTo>
                  <a:lnTo>
                    <a:pt x="175" y="481"/>
                  </a:lnTo>
                  <a:lnTo>
                    <a:pt x="168" y="475"/>
                  </a:lnTo>
                  <a:lnTo>
                    <a:pt x="160" y="469"/>
                  </a:lnTo>
                  <a:lnTo>
                    <a:pt x="153" y="463"/>
                  </a:lnTo>
                  <a:lnTo>
                    <a:pt x="149" y="456"/>
                  </a:lnTo>
                  <a:lnTo>
                    <a:pt x="146" y="45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13" name="Freeform 460"/>
            <p:cNvSpPr>
              <a:spLocks/>
            </p:cNvSpPr>
            <p:nvPr>
              <p:custDataLst>
                <p:tags r:id="rId298"/>
              </p:custDataLst>
            </p:nvPr>
          </p:nvSpPr>
          <p:spPr bwMode="auto">
            <a:xfrm>
              <a:off x="7036432" y="2953189"/>
              <a:ext cx="150812" cy="82550"/>
            </a:xfrm>
            <a:custGeom>
              <a:avLst/>
              <a:gdLst>
                <a:gd name="T0" fmla="*/ 2147483647 w 352"/>
                <a:gd name="T1" fmla="*/ 2147483647 h 153"/>
                <a:gd name="T2" fmla="*/ 2147483647 w 352"/>
                <a:gd name="T3" fmla="*/ 2147483647 h 153"/>
                <a:gd name="T4" fmla="*/ 2147483647 w 352"/>
                <a:gd name="T5" fmla="*/ 2147483647 h 153"/>
                <a:gd name="T6" fmla="*/ 2147483647 w 352"/>
                <a:gd name="T7" fmla="*/ 2147483647 h 153"/>
                <a:gd name="T8" fmla="*/ 2147483647 w 352"/>
                <a:gd name="T9" fmla="*/ 2147483647 h 153"/>
                <a:gd name="T10" fmla="*/ 2147483647 w 352"/>
                <a:gd name="T11" fmla="*/ 2147483647 h 153"/>
                <a:gd name="T12" fmla="*/ 2147483647 w 352"/>
                <a:gd name="T13" fmla="*/ 2147483647 h 153"/>
                <a:gd name="T14" fmla="*/ 2147483647 w 352"/>
                <a:gd name="T15" fmla="*/ 2147483647 h 153"/>
                <a:gd name="T16" fmla="*/ 2147483647 w 352"/>
                <a:gd name="T17" fmla="*/ 2147483647 h 153"/>
                <a:gd name="T18" fmla="*/ 2147483647 w 352"/>
                <a:gd name="T19" fmla="*/ 2147483647 h 153"/>
                <a:gd name="T20" fmla="*/ 2147483647 w 352"/>
                <a:gd name="T21" fmla="*/ 2147483647 h 153"/>
                <a:gd name="T22" fmla="*/ 2147483647 w 352"/>
                <a:gd name="T23" fmla="*/ 2147483647 h 153"/>
                <a:gd name="T24" fmla="*/ 2147483647 w 352"/>
                <a:gd name="T25" fmla="*/ 2147483647 h 153"/>
                <a:gd name="T26" fmla="*/ 2147483647 w 352"/>
                <a:gd name="T27" fmla="*/ 2147483647 h 153"/>
                <a:gd name="T28" fmla="*/ 2147483647 w 352"/>
                <a:gd name="T29" fmla="*/ 2147483647 h 153"/>
                <a:gd name="T30" fmla="*/ 2147483647 w 352"/>
                <a:gd name="T31" fmla="*/ 2147483647 h 153"/>
                <a:gd name="T32" fmla="*/ 2147483647 w 352"/>
                <a:gd name="T33" fmla="*/ 2147483647 h 153"/>
                <a:gd name="T34" fmla="*/ 2147483647 w 352"/>
                <a:gd name="T35" fmla="*/ 2147483647 h 153"/>
                <a:gd name="T36" fmla="*/ 2147483647 w 352"/>
                <a:gd name="T37" fmla="*/ 2147483647 h 153"/>
                <a:gd name="T38" fmla="*/ 2147483647 w 352"/>
                <a:gd name="T39" fmla="*/ 2147483647 h 153"/>
                <a:gd name="T40" fmla="*/ 2147483647 w 352"/>
                <a:gd name="T41" fmla="*/ 2147483647 h 153"/>
                <a:gd name="T42" fmla="*/ 2147483647 w 352"/>
                <a:gd name="T43" fmla="*/ 2147483647 h 153"/>
                <a:gd name="T44" fmla="*/ 2147483647 w 352"/>
                <a:gd name="T45" fmla="*/ 2147483647 h 153"/>
                <a:gd name="T46" fmla="*/ 2147483647 w 352"/>
                <a:gd name="T47" fmla="*/ 2147483647 h 153"/>
                <a:gd name="T48" fmla="*/ 2147483647 w 352"/>
                <a:gd name="T49" fmla="*/ 2147483647 h 153"/>
                <a:gd name="T50" fmla="*/ 2147483647 w 352"/>
                <a:gd name="T51" fmla="*/ 2147483647 h 153"/>
                <a:gd name="T52" fmla="*/ 2147483647 w 352"/>
                <a:gd name="T53" fmla="*/ 2147483647 h 153"/>
                <a:gd name="T54" fmla="*/ 0 w 352"/>
                <a:gd name="T55" fmla="*/ 0 h 153"/>
                <a:gd name="T56" fmla="*/ 2147483647 w 352"/>
                <a:gd name="T57" fmla="*/ 0 h 153"/>
                <a:gd name="T58" fmla="*/ 2147483647 w 352"/>
                <a:gd name="T59" fmla="*/ 2147483647 h 153"/>
                <a:gd name="T60" fmla="*/ 2147483647 w 352"/>
                <a:gd name="T61" fmla="*/ 2147483647 h 153"/>
                <a:gd name="T62" fmla="*/ 2147483647 w 352"/>
                <a:gd name="T63" fmla="*/ 2147483647 h 153"/>
                <a:gd name="T64" fmla="*/ 2147483647 w 352"/>
                <a:gd name="T65" fmla="*/ 2147483647 h 153"/>
                <a:gd name="T66" fmla="*/ 2147483647 w 352"/>
                <a:gd name="T67" fmla="*/ 2147483647 h 153"/>
                <a:gd name="T68" fmla="*/ 2147483647 w 352"/>
                <a:gd name="T69" fmla="*/ 2147483647 h 153"/>
                <a:gd name="T70" fmla="*/ 2147483647 w 352"/>
                <a:gd name="T71" fmla="*/ 2147483647 h 153"/>
                <a:gd name="T72" fmla="*/ 2147483647 w 352"/>
                <a:gd name="T73" fmla="*/ 2147483647 h 153"/>
                <a:gd name="T74" fmla="*/ 2147483647 w 352"/>
                <a:gd name="T75" fmla="*/ 2147483647 h 153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0" t="0" r="r" b="b"/>
              <a:pathLst>
                <a:path w="352" h="153">
                  <a:moveTo>
                    <a:pt x="332" y="91"/>
                  </a:moveTo>
                  <a:lnTo>
                    <a:pt x="352" y="153"/>
                  </a:lnTo>
                  <a:lnTo>
                    <a:pt x="326" y="141"/>
                  </a:lnTo>
                  <a:lnTo>
                    <a:pt x="299" y="129"/>
                  </a:lnTo>
                  <a:lnTo>
                    <a:pt x="266" y="141"/>
                  </a:lnTo>
                  <a:lnTo>
                    <a:pt x="232" y="141"/>
                  </a:lnTo>
                  <a:lnTo>
                    <a:pt x="227" y="135"/>
                  </a:lnTo>
                  <a:lnTo>
                    <a:pt x="226" y="135"/>
                  </a:lnTo>
                  <a:lnTo>
                    <a:pt x="219" y="129"/>
                  </a:lnTo>
                  <a:lnTo>
                    <a:pt x="213" y="125"/>
                  </a:lnTo>
                  <a:lnTo>
                    <a:pt x="205" y="121"/>
                  </a:lnTo>
                  <a:lnTo>
                    <a:pt x="197" y="118"/>
                  </a:lnTo>
                  <a:lnTo>
                    <a:pt x="181" y="113"/>
                  </a:lnTo>
                  <a:lnTo>
                    <a:pt x="163" y="110"/>
                  </a:lnTo>
                  <a:lnTo>
                    <a:pt x="126" y="107"/>
                  </a:lnTo>
                  <a:lnTo>
                    <a:pt x="86" y="104"/>
                  </a:lnTo>
                  <a:lnTo>
                    <a:pt x="85" y="94"/>
                  </a:lnTo>
                  <a:lnTo>
                    <a:pt x="82" y="84"/>
                  </a:lnTo>
                  <a:lnTo>
                    <a:pt x="80" y="75"/>
                  </a:lnTo>
                  <a:lnTo>
                    <a:pt x="75" y="67"/>
                  </a:lnTo>
                  <a:lnTo>
                    <a:pt x="71" y="59"/>
                  </a:lnTo>
                  <a:lnTo>
                    <a:pt x="67" y="52"/>
                  </a:lnTo>
                  <a:lnTo>
                    <a:pt x="61" y="44"/>
                  </a:lnTo>
                  <a:lnTo>
                    <a:pt x="56" y="37"/>
                  </a:lnTo>
                  <a:lnTo>
                    <a:pt x="44" y="26"/>
                  </a:lnTo>
                  <a:lnTo>
                    <a:pt x="29" y="16"/>
                  </a:lnTo>
                  <a:lnTo>
                    <a:pt x="15" y="7"/>
                  </a:lnTo>
                  <a:lnTo>
                    <a:pt x="0" y="0"/>
                  </a:lnTo>
                  <a:lnTo>
                    <a:pt x="7" y="0"/>
                  </a:lnTo>
                  <a:lnTo>
                    <a:pt x="60" y="18"/>
                  </a:lnTo>
                  <a:lnTo>
                    <a:pt x="106" y="30"/>
                  </a:lnTo>
                  <a:lnTo>
                    <a:pt x="134" y="18"/>
                  </a:lnTo>
                  <a:lnTo>
                    <a:pt x="180" y="36"/>
                  </a:lnTo>
                  <a:lnTo>
                    <a:pt x="206" y="55"/>
                  </a:lnTo>
                  <a:lnTo>
                    <a:pt x="246" y="49"/>
                  </a:lnTo>
                  <a:lnTo>
                    <a:pt x="286" y="61"/>
                  </a:lnTo>
                  <a:lnTo>
                    <a:pt x="313" y="79"/>
                  </a:lnTo>
                  <a:lnTo>
                    <a:pt x="332" y="9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14" name="Freeform 461"/>
            <p:cNvSpPr>
              <a:spLocks/>
            </p:cNvSpPr>
            <p:nvPr>
              <p:custDataLst>
                <p:tags r:id="rId299"/>
              </p:custDataLst>
            </p:nvPr>
          </p:nvSpPr>
          <p:spPr bwMode="auto">
            <a:xfrm>
              <a:off x="6585582" y="3013514"/>
              <a:ext cx="147637" cy="173038"/>
            </a:xfrm>
            <a:custGeom>
              <a:avLst/>
              <a:gdLst>
                <a:gd name="T0" fmla="*/ 2147483647 w 331"/>
                <a:gd name="T1" fmla="*/ 2147483647 h 327"/>
                <a:gd name="T2" fmla="*/ 2147483647 w 331"/>
                <a:gd name="T3" fmla="*/ 2147483647 h 327"/>
                <a:gd name="T4" fmla="*/ 2147483647 w 331"/>
                <a:gd name="T5" fmla="*/ 2147483647 h 327"/>
                <a:gd name="T6" fmla="*/ 2147483647 w 331"/>
                <a:gd name="T7" fmla="*/ 2147483647 h 327"/>
                <a:gd name="T8" fmla="*/ 2147483647 w 331"/>
                <a:gd name="T9" fmla="*/ 2147483647 h 327"/>
                <a:gd name="T10" fmla="*/ 2147483647 w 331"/>
                <a:gd name="T11" fmla="*/ 2147483647 h 327"/>
                <a:gd name="T12" fmla="*/ 2147483647 w 331"/>
                <a:gd name="T13" fmla="*/ 2147483647 h 327"/>
                <a:gd name="T14" fmla="*/ 2147483647 w 331"/>
                <a:gd name="T15" fmla="*/ 2147483647 h 327"/>
                <a:gd name="T16" fmla="*/ 2147483647 w 331"/>
                <a:gd name="T17" fmla="*/ 2147483647 h 327"/>
                <a:gd name="T18" fmla="*/ 2147483647 w 331"/>
                <a:gd name="T19" fmla="*/ 2147483647 h 327"/>
                <a:gd name="T20" fmla="*/ 2147483647 w 331"/>
                <a:gd name="T21" fmla="*/ 2147483647 h 327"/>
                <a:gd name="T22" fmla="*/ 2147483647 w 331"/>
                <a:gd name="T23" fmla="*/ 2147483647 h 327"/>
                <a:gd name="T24" fmla="*/ 2147483647 w 331"/>
                <a:gd name="T25" fmla="*/ 2147483647 h 327"/>
                <a:gd name="T26" fmla="*/ 2147483647 w 331"/>
                <a:gd name="T27" fmla="*/ 2147483647 h 327"/>
                <a:gd name="T28" fmla="*/ 2147483647 w 331"/>
                <a:gd name="T29" fmla="*/ 2147483647 h 327"/>
                <a:gd name="T30" fmla="*/ 2147483647 w 331"/>
                <a:gd name="T31" fmla="*/ 2147483647 h 327"/>
                <a:gd name="T32" fmla="*/ 2147483647 w 331"/>
                <a:gd name="T33" fmla="*/ 2147483647 h 327"/>
                <a:gd name="T34" fmla="*/ 2147483647 w 331"/>
                <a:gd name="T35" fmla="*/ 2147483647 h 327"/>
                <a:gd name="T36" fmla="*/ 2147483647 w 331"/>
                <a:gd name="T37" fmla="*/ 2147483647 h 327"/>
                <a:gd name="T38" fmla="*/ 2147483647 w 331"/>
                <a:gd name="T39" fmla="*/ 2147483647 h 327"/>
                <a:gd name="T40" fmla="*/ 2147483647 w 331"/>
                <a:gd name="T41" fmla="*/ 2147483647 h 327"/>
                <a:gd name="T42" fmla="*/ 2147483647 w 331"/>
                <a:gd name="T43" fmla="*/ 2147483647 h 327"/>
                <a:gd name="T44" fmla="*/ 2147483647 w 331"/>
                <a:gd name="T45" fmla="*/ 2147483647 h 327"/>
                <a:gd name="T46" fmla="*/ 2147483647 w 331"/>
                <a:gd name="T47" fmla="*/ 2147483647 h 327"/>
                <a:gd name="T48" fmla="*/ 2147483647 w 331"/>
                <a:gd name="T49" fmla="*/ 2147483647 h 327"/>
                <a:gd name="T50" fmla="*/ 2147483647 w 331"/>
                <a:gd name="T51" fmla="*/ 2147483647 h 327"/>
                <a:gd name="T52" fmla="*/ 2147483647 w 331"/>
                <a:gd name="T53" fmla="*/ 2147483647 h 327"/>
                <a:gd name="T54" fmla="*/ 2147483647 w 331"/>
                <a:gd name="T55" fmla="*/ 2147483647 h 327"/>
                <a:gd name="T56" fmla="*/ 2147483647 w 331"/>
                <a:gd name="T57" fmla="*/ 2147483647 h 327"/>
                <a:gd name="T58" fmla="*/ 2147483647 w 331"/>
                <a:gd name="T59" fmla="*/ 2147483647 h 327"/>
                <a:gd name="T60" fmla="*/ 2147483647 w 331"/>
                <a:gd name="T61" fmla="*/ 2147483647 h 327"/>
                <a:gd name="T62" fmla="*/ 2147483647 w 331"/>
                <a:gd name="T63" fmla="*/ 2147483647 h 327"/>
                <a:gd name="T64" fmla="*/ 2147483647 w 331"/>
                <a:gd name="T65" fmla="*/ 2147483647 h 327"/>
                <a:gd name="T66" fmla="*/ 2147483647 w 331"/>
                <a:gd name="T67" fmla="*/ 2147483647 h 327"/>
                <a:gd name="T68" fmla="*/ 2147483647 w 331"/>
                <a:gd name="T69" fmla="*/ 2147483647 h 327"/>
                <a:gd name="T70" fmla="*/ 0 w 331"/>
                <a:gd name="T71" fmla="*/ 2147483647 h 327"/>
                <a:gd name="T72" fmla="*/ 2147483647 w 331"/>
                <a:gd name="T73" fmla="*/ 2147483647 h 327"/>
                <a:gd name="T74" fmla="*/ 2147483647 w 331"/>
                <a:gd name="T75" fmla="*/ 2147483647 h 327"/>
                <a:gd name="T76" fmla="*/ 2147483647 w 331"/>
                <a:gd name="T77" fmla="*/ 2147483647 h 327"/>
                <a:gd name="T78" fmla="*/ 2147483647 w 331"/>
                <a:gd name="T79" fmla="*/ 2147483647 h 327"/>
                <a:gd name="T80" fmla="*/ 2147483647 w 331"/>
                <a:gd name="T81" fmla="*/ 2147483647 h 327"/>
                <a:gd name="T82" fmla="*/ 2147483647 w 331"/>
                <a:gd name="T83" fmla="*/ 2147483647 h 327"/>
                <a:gd name="T84" fmla="*/ 2147483647 w 331"/>
                <a:gd name="T85" fmla="*/ 2147483647 h 327"/>
                <a:gd name="T86" fmla="*/ 2147483647 w 331"/>
                <a:gd name="T87" fmla="*/ 2147483647 h 327"/>
                <a:gd name="T88" fmla="*/ 2147483647 w 331"/>
                <a:gd name="T89" fmla="*/ 2147483647 h 327"/>
                <a:gd name="T90" fmla="*/ 2147483647 w 331"/>
                <a:gd name="T91" fmla="*/ 2147483647 h 327"/>
                <a:gd name="T92" fmla="*/ 2147483647 w 331"/>
                <a:gd name="T93" fmla="*/ 2147483647 h 327"/>
                <a:gd name="T94" fmla="*/ 2147483647 w 331"/>
                <a:gd name="T95" fmla="*/ 2147483647 h 327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0" t="0" r="r" b="b"/>
              <a:pathLst>
                <a:path w="331" h="327">
                  <a:moveTo>
                    <a:pt x="331" y="56"/>
                  </a:moveTo>
                  <a:lnTo>
                    <a:pt x="245" y="37"/>
                  </a:lnTo>
                  <a:lnTo>
                    <a:pt x="230" y="40"/>
                  </a:lnTo>
                  <a:lnTo>
                    <a:pt x="216" y="44"/>
                  </a:lnTo>
                  <a:lnTo>
                    <a:pt x="204" y="50"/>
                  </a:lnTo>
                  <a:lnTo>
                    <a:pt x="193" y="56"/>
                  </a:lnTo>
                  <a:lnTo>
                    <a:pt x="189" y="59"/>
                  </a:lnTo>
                  <a:lnTo>
                    <a:pt x="185" y="63"/>
                  </a:lnTo>
                  <a:lnTo>
                    <a:pt x="182" y="67"/>
                  </a:lnTo>
                  <a:lnTo>
                    <a:pt x="181" y="72"/>
                  </a:lnTo>
                  <a:lnTo>
                    <a:pt x="180" y="77"/>
                  </a:lnTo>
                  <a:lnTo>
                    <a:pt x="181" y="81"/>
                  </a:lnTo>
                  <a:lnTo>
                    <a:pt x="182" y="87"/>
                  </a:lnTo>
                  <a:lnTo>
                    <a:pt x="185" y="92"/>
                  </a:lnTo>
                  <a:lnTo>
                    <a:pt x="184" y="94"/>
                  </a:lnTo>
                  <a:lnTo>
                    <a:pt x="181" y="98"/>
                  </a:lnTo>
                  <a:lnTo>
                    <a:pt x="179" y="101"/>
                  </a:lnTo>
                  <a:lnTo>
                    <a:pt x="177" y="102"/>
                  </a:lnTo>
                  <a:lnTo>
                    <a:pt x="174" y="105"/>
                  </a:lnTo>
                  <a:lnTo>
                    <a:pt x="172" y="105"/>
                  </a:lnTo>
                  <a:lnTo>
                    <a:pt x="168" y="105"/>
                  </a:lnTo>
                  <a:lnTo>
                    <a:pt x="165" y="102"/>
                  </a:lnTo>
                  <a:lnTo>
                    <a:pt x="162" y="100"/>
                  </a:lnTo>
                  <a:lnTo>
                    <a:pt x="160" y="98"/>
                  </a:lnTo>
                  <a:lnTo>
                    <a:pt x="159" y="92"/>
                  </a:lnTo>
                  <a:lnTo>
                    <a:pt x="159" y="86"/>
                  </a:lnTo>
                  <a:lnTo>
                    <a:pt x="149" y="85"/>
                  </a:lnTo>
                  <a:lnTo>
                    <a:pt x="139" y="82"/>
                  </a:lnTo>
                  <a:lnTo>
                    <a:pt x="132" y="79"/>
                  </a:lnTo>
                  <a:lnTo>
                    <a:pt x="126" y="74"/>
                  </a:lnTo>
                  <a:lnTo>
                    <a:pt x="126" y="83"/>
                  </a:lnTo>
                  <a:lnTo>
                    <a:pt x="126" y="92"/>
                  </a:lnTo>
                  <a:lnTo>
                    <a:pt x="127" y="96"/>
                  </a:lnTo>
                  <a:lnTo>
                    <a:pt x="129" y="101"/>
                  </a:lnTo>
                  <a:lnTo>
                    <a:pt x="135" y="109"/>
                  </a:lnTo>
                  <a:lnTo>
                    <a:pt x="139" y="116"/>
                  </a:lnTo>
                  <a:lnTo>
                    <a:pt x="146" y="122"/>
                  </a:lnTo>
                  <a:lnTo>
                    <a:pt x="151" y="127"/>
                  </a:lnTo>
                  <a:lnTo>
                    <a:pt x="154" y="129"/>
                  </a:lnTo>
                  <a:lnTo>
                    <a:pt x="156" y="130"/>
                  </a:lnTo>
                  <a:lnTo>
                    <a:pt x="157" y="130"/>
                  </a:lnTo>
                  <a:lnTo>
                    <a:pt x="159" y="130"/>
                  </a:lnTo>
                  <a:lnTo>
                    <a:pt x="159" y="147"/>
                  </a:lnTo>
                  <a:lnTo>
                    <a:pt x="159" y="163"/>
                  </a:lnTo>
                  <a:lnTo>
                    <a:pt x="159" y="177"/>
                  </a:lnTo>
                  <a:lnTo>
                    <a:pt x="159" y="191"/>
                  </a:lnTo>
                  <a:lnTo>
                    <a:pt x="159" y="213"/>
                  </a:lnTo>
                  <a:lnTo>
                    <a:pt x="159" y="237"/>
                  </a:lnTo>
                  <a:lnTo>
                    <a:pt x="158" y="242"/>
                  </a:lnTo>
                  <a:lnTo>
                    <a:pt x="157" y="247"/>
                  </a:lnTo>
                  <a:lnTo>
                    <a:pt x="156" y="251"/>
                  </a:lnTo>
                  <a:lnTo>
                    <a:pt x="154" y="254"/>
                  </a:lnTo>
                  <a:lnTo>
                    <a:pt x="150" y="257"/>
                  </a:lnTo>
                  <a:lnTo>
                    <a:pt x="147" y="259"/>
                  </a:lnTo>
                  <a:lnTo>
                    <a:pt x="144" y="259"/>
                  </a:lnTo>
                  <a:lnTo>
                    <a:pt x="139" y="259"/>
                  </a:lnTo>
                  <a:lnTo>
                    <a:pt x="145" y="264"/>
                  </a:lnTo>
                  <a:lnTo>
                    <a:pt x="154" y="270"/>
                  </a:lnTo>
                  <a:lnTo>
                    <a:pt x="158" y="274"/>
                  </a:lnTo>
                  <a:lnTo>
                    <a:pt x="162" y="276"/>
                  </a:lnTo>
                  <a:lnTo>
                    <a:pt x="167" y="277"/>
                  </a:lnTo>
                  <a:lnTo>
                    <a:pt x="172" y="278"/>
                  </a:lnTo>
                  <a:lnTo>
                    <a:pt x="167" y="286"/>
                  </a:lnTo>
                  <a:lnTo>
                    <a:pt x="161" y="291"/>
                  </a:lnTo>
                  <a:lnTo>
                    <a:pt x="158" y="293"/>
                  </a:lnTo>
                  <a:lnTo>
                    <a:pt x="155" y="295"/>
                  </a:lnTo>
                  <a:lnTo>
                    <a:pt x="150" y="296"/>
                  </a:lnTo>
                  <a:lnTo>
                    <a:pt x="146" y="296"/>
                  </a:lnTo>
                  <a:lnTo>
                    <a:pt x="140" y="297"/>
                  </a:lnTo>
                  <a:lnTo>
                    <a:pt x="137" y="299"/>
                  </a:lnTo>
                  <a:lnTo>
                    <a:pt x="134" y="302"/>
                  </a:lnTo>
                  <a:lnTo>
                    <a:pt x="130" y="307"/>
                  </a:lnTo>
                  <a:lnTo>
                    <a:pt x="128" y="311"/>
                  </a:lnTo>
                  <a:lnTo>
                    <a:pt x="127" y="316"/>
                  </a:lnTo>
                  <a:lnTo>
                    <a:pt x="126" y="321"/>
                  </a:lnTo>
                  <a:lnTo>
                    <a:pt x="126" y="327"/>
                  </a:lnTo>
                  <a:lnTo>
                    <a:pt x="122" y="311"/>
                  </a:lnTo>
                  <a:lnTo>
                    <a:pt x="121" y="300"/>
                  </a:lnTo>
                  <a:lnTo>
                    <a:pt x="121" y="296"/>
                  </a:lnTo>
                  <a:lnTo>
                    <a:pt x="122" y="292"/>
                  </a:lnTo>
                  <a:lnTo>
                    <a:pt x="124" y="288"/>
                  </a:lnTo>
                  <a:lnTo>
                    <a:pt x="126" y="284"/>
                  </a:lnTo>
                  <a:lnTo>
                    <a:pt x="116" y="284"/>
                  </a:lnTo>
                  <a:lnTo>
                    <a:pt x="109" y="286"/>
                  </a:lnTo>
                  <a:lnTo>
                    <a:pt x="103" y="288"/>
                  </a:lnTo>
                  <a:lnTo>
                    <a:pt x="98" y="290"/>
                  </a:lnTo>
                  <a:lnTo>
                    <a:pt x="93" y="292"/>
                  </a:lnTo>
                  <a:lnTo>
                    <a:pt x="89" y="294"/>
                  </a:lnTo>
                  <a:lnTo>
                    <a:pt x="83" y="295"/>
                  </a:lnTo>
                  <a:lnTo>
                    <a:pt x="79" y="296"/>
                  </a:lnTo>
                  <a:lnTo>
                    <a:pt x="78" y="272"/>
                  </a:lnTo>
                  <a:lnTo>
                    <a:pt x="74" y="251"/>
                  </a:lnTo>
                  <a:lnTo>
                    <a:pt x="73" y="242"/>
                  </a:lnTo>
                  <a:lnTo>
                    <a:pt x="73" y="234"/>
                  </a:lnTo>
                  <a:lnTo>
                    <a:pt x="76" y="225"/>
                  </a:lnTo>
                  <a:lnTo>
                    <a:pt x="79" y="216"/>
                  </a:lnTo>
                  <a:lnTo>
                    <a:pt x="68" y="216"/>
                  </a:lnTo>
                  <a:lnTo>
                    <a:pt x="57" y="213"/>
                  </a:lnTo>
                  <a:lnTo>
                    <a:pt x="48" y="211"/>
                  </a:lnTo>
                  <a:lnTo>
                    <a:pt x="40" y="207"/>
                  </a:lnTo>
                  <a:lnTo>
                    <a:pt x="34" y="203"/>
                  </a:lnTo>
                  <a:lnTo>
                    <a:pt x="28" y="198"/>
                  </a:lnTo>
                  <a:lnTo>
                    <a:pt x="23" y="193"/>
                  </a:lnTo>
                  <a:lnTo>
                    <a:pt x="20" y="187"/>
                  </a:lnTo>
                  <a:lnTo>
                    <a:pt x="13" y="173"/>
                  </a:lnTo>
                  <a:lnTo>
                    <a:pt x="9" y="158"/>
                  </a:lnTo>
                  <a:lnTo>
                    <a:pt x="4" y="144"/>
                  </a:lnTo>
                  <a:lnTo>
                    <a:pt x="0" y="130"/>
                  </a:lnTo>
                  <a:lnTo>
                    <a:pt x="10" y="124"/>
                  </a:lnTo>
                  <a:lnTo>
                    <a:pt x="19" y="118"/>
                  </a:lnTo>
                  <a:lnTo>
                    <a:pt x="28" y="111"/>
                  </a:lnTo>
                  <a:lnTo>
                    <a:pt x="37" y="101"/>
                  </a:lnTo>
                  <a:lnTo>
                    <a:pt x="45" y="92"/>
                  </a:lnTo>
                  <a:lnTo>
                    <a:pt x="50" y="81"/>
                  </a:lnTo>
                  <a:lnTo>
                    <a:pt x="56" y="69"/>
                  </a:lnTo>
                  <a:lnTo>
                    <a:pt x="59" y="56"/>
                  </a:lnTo>
                  <a:lnTo>
                    <a:pt x="73" y="55"/>
                  </a:lnTo>
                  <a:lnTo>
                    <a:pt x="88" y="52"/>
                  </a:lnTo>
                  <a:lnTo>
                    <a:pt x="102" y="47"/>
                  </a:lnTo>
                  <a:lnTo>
                    <a:pt x="115" y="41"/>
                  </a:lnTo>
                  <a:lnTo>
                    <a:pt x="140" y="29"/>
                  </a:lnTo>
                  <a:lnTo>
                    <a:pt x="166" y="19"/>
                  </a:lnTo>
                  <a:lnTo>
                    <a:pt x="180" y="14"/>
                  </a:lnTo>
                  <a:lnTo>
                    <a:pt x="192" y="10"/>
                  </a:lnTo>
                  <a:lnTo>
                    <a:pt x="205" y="8"/>
                  </a:lnTo>
                  <a:lnTo>
                    <a:pt x="218" y="7"/>
                  </a:lnTo>
                  <a:lnTo>
                    <a:pt x="230" y="8"/>
                  </a:lnTo>
                  <a:lnTo>
                    <a:pt x="240" y="10"/>
                  </a:lnTo>
                  <a:lnTo>
                    <a:pt x="249" y="14"/>
                  </a:lnTo>
                  <a:lnTo>
                    <a:pt x="257" y="19"/>
                  </a:lnTo>
                  <a:lnTo>
                    <a:pt x="264" y="23"/>
                  </a:lnTo>
                  <a:lnTo>
                    <a:pt x="271" y="27"/>
                  </a:lnTo>
                  <a:lnTo>
                    <a:pt x="278" y="30"/>
                  </a:lnTo>
                  <a:lnTo>
                    <a:pt x="285" y="31"/>
                  </a:lnTo>
                  <a:lnTo>
                    <a:pt x="292" y="30"/>
                  </a:lnTo>
                  <a:lnTo>
                    <a:pt x="297" y="28"/>
                  </a:lnTo>
                  <a:lnTo>
                    <a:pt x="303" y="24"/>
                  </a:lnTo>
                  <a:lnTo>
                    <a:pt x="307" y="20"/>
                  </a:lnTo>
                  <a:lnTo>
                    <a:pt x="316" y="10"/>
                  </a:lnTo>
                  <a:lnTo>
                    <a:pt x="325" y="0"/>
                  </a:lnTo>
                  <a:lnTo>
                    <a:pt x="327" y="6"/>
                  </a:lnTo>
                  <a:lnTo>
                    <a:pt x="329" y="14"/>
                  </a:lnTo>
                  <a:lnTo>
                    <a:pt x="330" y="23"/>
                  </a:lnTo>
                  <a:lnTo>
                    <a:pt x="330" y="32"/>
                  </a:lnTo>
                  <a:lnTo>
                    <a:pt x="331" y="49"/>
                  </a:lnTo>
                  <a:lnTo>
                    <a:pt x="331" y="56"/>
                  </a:lnTo>
                </a:path>
              </a:pathLst>
            </a:custGeom>
            <a:solidFill>
              <a:srgbClr val="FF00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15" name="Freeform 462"/>
            <p:cNvSpPr>
              <a:spLocks/>
            </p:cNvSpPr>
            <p:nvPr>
              <p:custDataLst>
                <p:tags r:id="rId300"/>
              </p:custDataLst>
            </p:nvPr>
          </p:nvSpPr>
          <p:spPr bwMode="auto">
            <a:xfrm>
              <a:off x="6669719" y="3205602"/>
              <a:ext cx="69850" cy="57150"/>
            </a:xfrm>
            <a:custGeom>
              <a:avLst/>
              <a:gdLst>
                <a:gd name="T0" fmla="*/ 0 w 153"/>
                <a:gd name="T1" fmla="*/ 0 h 49"/>
                <a:gd name="T2" fmla="*/ 2147483647 w 153"/>
                <a:gd name="T3" fmla="*/ 2147483647 h 49"/>
                <a:gd name="T4" fmla="*/ 2147483647 w 153"/>
                <a:gd name="T5" fmla="*/ 2147483647 h 49"/>
                <a:gd name="T6" fmla="*/ 2147483647 w 153"/>
                <a:gd name="T7" fmla="*/ 2147483647 h 49"/>
                <a:gd name="T8" fmla="*/ 2147483647 w 153"/>
                <a:gd name="T9" fmla="*/ 2147483647 h 49"/>
                <a:gd name="T10" fmla="*/ 2147483647 w 153"/>
                <a:gd name="T11" fmla="*/ 2147483647 h 49"/>
                <a:gd name="T12" fmla="*/ 2147483647 w 153"/>
                <a:gd name="T13" fmla="*/ 2147483647 h 49"/>
                <a:gd name="T14" fmla="*/ 2147483647 w 153"/>
                <a:gd name="T15" fmla="*/ 2147483647 h 49"/>
                <a:gd name="T16" fmla="*/ 2147483647 w 153"/>
                <a:gd name="T17" fmla="*/ 0 h 49"/>
                <a:gd name="T18" fmla="*/ 2147483647 w 153"/>
                <a:gd name="T19" fmla="*/ 2147483647 h 49"/>
                <a:gd name="T20" fmla="*/ 2147483647 w 153"/>
                <a:gd name="T21" fmla="*/ 2147483647 h 49"/>
                <a:gd name="T22" fmla="*/ 2147483647 w 153"/>
                <a:gd name="T23" fmla="*/ 2147483647 h 49"/>
                <a:gd name="T24" fmla="*/ 2147483647 w 153"/>
                <a:gd name="T25" fmla="*/ 2147483647 h 49"/>
                <a:gd name="T26" fmla="*/ 2147483647 w 153"/>
                <a:gd name="T27" fmla="*/ 2147483647 h 49"/>
                <a:gd name="T28" fmla="*/ 2147483647 w 153"/>
                <a:gd name="T29" fmla="*/ 2147483647 h 49"/>
                <a:gd name="T30" fmla="*/ 2147483647 w 153"/>
                <a:gd name="T31" fmla="*/ 2147483647 h 49"/>
                <a:gd name="T32" fmla="*/ 2147483647 w 153"/>
                <a:gd name="T33" fmla="*/ 2147483647 h 49"/>
                <a:gd name="T34" fmla="*/ 2147483647 w 153"/>
                <a:gd name="T35" fmla="*/ 2147483647 h 49"/>
                <a:gd name="T36" fmla="*/ 2147483647 w 153"/>
                <a:gd name="T37" fmla="*/ 2147483647 h 49"/>
                <a:gd name="T38" fmla="*/ 2147483647 w 153"/>
                <a:gd name="T39" fmla="*/ 2147483647 h 49"/>
                <a:gd name="T40" fmla="*/ 2147483647 w 153"/>
                <a:gd name="T41" fmla="*/ 2147483647 h 49"/>
                <a:gd name="T42" fmla="*/ 2147483647 w 153"/>
                <a:gd name="T43" fmla="*/ 2147483647 h 49"/>
                <a:gd name="T44" fmla="*/ 2147483647 w 153"/>
                <a:gd name="T45" fmla="*/ 2147483647 h 49"/>
                <a:gd name="T46" fmla="*/ 2147483647 w 153"/>
                <a:gd name="T47" fmla="*/ 2147483647 h 49"/>
                <a:gd name="T48" fmla="*/ 0 w 153"/>
                <a:gd name="T49" fmla="*/ 2147483647 h 49"/>
                <a:gd name="T50" fmla="*/ 0 w 153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153" h="49">
                  <a:moveTo>
                    <a:pt x="0" y="0"/>
                  </a:moveTo>
                  <a:lnTo>
                    <a:pt x="44" y="2"/>
                  </a:lnTo>
                  <a:lnTo>
                    <a:pt x="83" y="6"/>
                  </a:lnTo>
                  <a:lnTo>
                    <a:pt x="103" y="8"/>
                  </a:lnTo>
                  <a:lnTo>
                    <a:pt x="121" y="7"/>
                  </a:lnTo>
                  <a:lnTo>
                    <a:pt x="130" y="6"/>
                  </a:lnTo>
                  <a:lnTo>
                    <a:pt x="137" y="5"/>
                  </a:lnTo>
                  <a:lnTo>
                    <a:pt x="145" y="3"/>
                  </a:lnTo>
                  <a:lnTo>
                    <a:pt x="153" y="0"/>
                  </a:lnTo>
                  <a:lnTo>
                    <a:pt x="153" y="9"/>
                  </a:lnTo>
                  <a:lnTo>
                    <a:pt x="153" y="25"/>
                  </a:lnTo>
                  <a:lnTo>
                    <a:pt x="143" y="31"/>
                  </a:lnTo>
                  <a:lnTo>
                    <a:pt x="133" y="36"/>
                  </a:lnTo>
                  <a:lnTo>
                    <a:pt x="124" y="40"/>
                  </a:lnTo>
                  <a:lnTo>
                    <a:pt x="114" y="44"/>
                  </a:lnTo>
                  <a:lnTo>
                    <a:pt x="106" y="46"/>
                  </a:lnTo>
                  <a:lnTo>
                    <a:pt x="99" y="48"/>
                  </a:lnTo>
                  <a:lnTo>
                    <a:pt x="92" y="49"/>
                  </a:lnTo>
                  <a:lnTo>
                    <a:pt x="87" y="49"/>
                  </a:lnTo>
                  <a:lnTo>
                    <a:pt x="72" y="48"/>
                  </a:lnTo>
                  <a:lnTo>
                    <a:pt x="60" y="46"/>
                  </a:lnTo>
                  <a:lnTo>
                    <a:pt x="50" y="43"/>
                  </a:lnTo>
                  <a:lnTo>
                    <a:pt x="41" y="38"/>
                  </a:lnTo>
                  <a:lnTo>
                    <a:pt x="22" y="2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16" name="Freeform 463"/>
            <p:cNvSpPr>
              <a:spLocks/>
            </p:cNvSpPr>
            <p:nvPr>
              <p:custDataLst>
                <p:tags r:id="rId301"/>
              </p:custDataLst>
            </p:nvPr>
          </p:nvSpPr>
          <p:spPr bwMode="auto">
            <a:xfrm>
              <a:off x="5748969" y="3937439"/>
              <a:ext cx="187325" cy="158750"/>
            </a:xfrm>
            <a:custGeom>
              <a:avLst/>
              <a:gdLst>
                <a:gd name="T0" fmla="*/ 2147483647 w 426"/>
                <a:gd name="T1" fmla="*/ 2147483647 h 299"/>
                <a:gd name="T2" fmla="*/ 2147483647 w 426"/>
                <a:gd name="T3" fmla="*/ 2147483647 h 299"/>
                <a:gd name="T4" fmla="*/ 2147483647 w 426"/>
                <a:gd name="T5" fmla="*/ 2147483647 h 299"/>
                <a:gd name="T6" fmla="*/ 2147483647 w 426"/>
                <a:gd name="T7" fmla="*/ 2147483647 h 299"/>
                <a:gd name="T8" fmla="*/ 2147483647 w 426"/>
                <a:gd name="T9" fmla="*/ 2147483647 h 299"/>
                <a:gd name="T10" fmla="*/ 2147483647 w 426"/>
                <a:gd name="T11" fmla="*/ 2147483647 h 299"/>
                <a:gd name="T12" fmla="*/ 2147483647 w 426"/>
                <a:gd name="T13" fmla="*/ 2147483647 h 299"/>
                <a:gd name="T14" fmla="*/ 2147483647 w 426"/>
                <a:gd name="T15" fmla="*/ 2147483647 h 299"/>
                <a:gd name="T16" fmla="*/ 2147483647 w 426"/>
                <a:gd name="T17" fmla="*/ 2147483647 h 299"/>
                <a:gd name="T18" fmla="*/ 2147483647 w 426"/>
                <a:gd name="T19" fmla="*/ 2147483647 h 299"/>
                <a:gd name="T20" fmla="*/ 2147483647 w 426"/>
                <a:gd name="T21" fmla="*/ 2147483647 h 299"/>
                <a:gd name="T22" fmla="*/ 2147483647 w 426"/>
                <a:gd name="T23" fmla="*/ 2147483647 h 299"/>
                <a:gd name="T24" fmla="*/ 2147483647 w 426"/>
                <a:gd name="T25" fmla="*/ 2147483647 h 299"/>
                <a:gd name="T26" fmla="*/ 2147483647 w 426"/>
                <a:gd name="T27" fmla="*/ 2147483647 h 299"/>
                <a:gd name="T28" fmla="*/ 2147483647 w 426"/>
                <a:gd name="T29" fmla="*/ 2147483647 h 299"/>
                <a:gd name="T30" fmla="*/ 2147483647 w 426"/>
                <a:gd name="T31" fmla="*/ 2147483647 h 299"/>
                <a:gd name="T32" fmla="*/ 2147483647 w 426"/>
                <a:gd name="T33" fmla="*/ 2147483647 h 299"/>
                <a:gd name="T34" fmla="*/ 2147483647 w 426"/>
                <a:gd name="T35" fmla="*/ 2147483647 h 299"/>
                <a:gd name="T36" fmla="*/ 2147483647 w 426"/>
                <a:gd name="T37" fmla="*/ 2147483647 h 299"/>
                <a:gd name="T38" fmla="*/ 2147483647 w 426"/>
                <a:gd name="T39" fmla="*/ 2147483647 h 299"/>
                <a:gd name="T40" fmla="*/ 2147483647 w 426"/>
                <a:gd name="T41" fmla="*/ 2147483647 h 299"/>
                <a:gd name="T42" fmla="*/ 2147483647 w 426"/>
                <a:gd name="T43" fmla="*/ 2147483647 h 299"/>
                <a:gd name="T44" fmla="*/ 2147483647 w 426"/>
                <a:gd name="T45" fmla="*/ 2147483647 h 299"/>
                <a:gd name="T46" fmla="*/ 2147483647 w 426"/>
                <a:gd name="T47" fmla="*/ 2147483647 h 299"/>
                <a:gd name="T48" fmla="*/ 2147483647 w 426"/>
                <a:gd name="T49" fmla="*/ 2147483647 h 299"/>
                <a:gd name="T50" fmla="*/ 2147483647 w 426"/>
                <a:gd name="T51" fmla="*/ 2147483647 h 299"/>
                <a:gd name="T52" fmla="*/ 2147483647 w 426"/>
                <a:gd name="T53" fmla="*/ 2147483647 h 299"/>
                <a:gd name="T54" fmla="*/ 2147483647 w 426"/>
                <a:gd name="T55" fmla="*/ 2147483647 h 299"/>
                <a:gd name="T56" fmla="*/ 2147483647 w 426"/>
                <a:gd name="T57" fmla="*/ 2147483647 h 299"/>
                <a:gd name="T58" fmla="*/ 2147483647 w 426"/>
                <a:gd name="T59" fmla="*/ 2147483647 h 299"/>
                <a:gd name="T60" fmla="*/ 2147483647 w 426"/>
                <a:gd name="T61" fmla="*/ 2147483647 h 299"/>
                <a:gd name="T62" fmla="*/ 2147483647 w 426"/>
                <a:gd name="T63" fmla="*/ 2147483647 h 299"/>
                <a:gd name="T64" fmla="*/ 2147483647 w 426"/>
                <a:gd name="T65" fmla="*/ 2147483647 h 299"/>
                <a:gd name="T66" fmla="*/ 2147483647 w 426"/>
                <a:gd name="T67" fmla="*/ 2147483647 h 299"/>
                <a:gd name="T68" fmla="*/ 2147483647 w 426"/>
                <a:gd name="T69" fmla="*/ 2147483647 h 299"/>
                <a:gd name="T70" fmla="*/ 2147483647 w 426"/>
                <a:gd name="T71" fmla="*/ 2147483647 h 299"/>
                <a:gd name="T72" fmla="*/ 2147483647 w 426"/>
                <a:gd name="T73" fmla="*/ 2147483647 h 299"/>
                <a:gd name="T74" fmla="*/ 2147483647 w 426"/>
                <a:gd name="T75" fmla="*/ 2147483647 h 299"/>
                <a:gd name="T76" fmla="*/ 2147483647 w 426"/>
                <a:gd name="T77" fmla="*/ 2147483647 h 299"/>
                <a:gd name="T78" fmla="*/ 2147483647 w 426"/>
                <a:gd name="T79" fmla="*/ 2147483647 h 299"/>
                <a:gd name="T80" fmla="*/ 2147483647 w 426"/>
                <a:gd name="T81" fmla="*/ 2147483647 h 299"/>
                <a:gd name="T82" fmla="*/ 2147483647 w 426"/>
                <a:gd name="T83" fmla="*/ 2147483647 h 299"/>
                <a:gd name="T84" fmla="*/ 2147483647 w 426"/>
                <a:gd name="T85" fmla="*/ 2147483647 h 299"/>
                <a:gd name="T86" fmla="*/ 2147483647 w 426"/>
                <a:gd name="T87" fmla="*/ 2147483647 h 299"/>
                <a:gd name="T88" fmla="*/ 2147483647 w 426"/>
                <a:gd name="T89" fmla="*/ 2147483647 h 299"/>
                <a:gd name="T90" fmla="*/ 2147483647 w 426"/>
                <a:gd name="T91" fmla="*/ 2147483647 h 299"/>
                <a:gd name="T92" fmla="*/ 2147483647 w 426"/>
                <a:gd name="T93" fmla="*/ 2147483647 h 299"/>
                <a:gd name="T94" fmla="*/ 2147483647 w 426"/>
                <a:gd name="T95" fmla="*/ 2147483647 h 299"/>
                <a:gd name="T96" fmla="*/ 2147483647 w 426"/>
                <a:gd name="T97" fmla="*/ 2147483647 h 299"/>
                <a:gd name="T98" fmla="*/ 2147483647 w 426"/>
                <a:gd name="T99" fmla="*/ 2147483647 h 299"/>
                <a:gd name="T100" fmla="*/ 2147483647 w 426"/>
                <a:gd name="T101" fmla="*/ 2147483647 h 299"/>
                <a:gd name="T102" fmla="*/ 2147483647 w 426"/>
                <a:gd name="T103" fmla="*/ 2147483647 h 299"/>
                <a:gd name="T104" fmla="*/ 2147483647 w 426"/>
                <a:gd name="T105" fmla="*/ 2147483647 h 299"/>
                <a:gd name="T106" fmla="*/ 2147483647 w 426"/>
                <a:gd name="T107" fmla="*/ 2147483647 h 299"/>
                <a:gd name="T108" fmla="*/ 2147483647 w 426"/>
                <a:gd name="T109" fmla="*/ 2147483647 h 299"/>
                <a:gd name="T110" fmla="*/ 2147483647 w 426"/>
                <a:gd name="T111" fmla="*/ 2147483647 h 299"/>
                <a:gd name="T112" fmla="*/ 2147483647 w 426"/>
                <a:gd name="T113" fmla="*/ 2147483647 h 299"/>
                <a:gd name="T114" fmla="*/ 2147483647 w 426"/>
                <a:gd name="T115" fmla="*/ 2147483647 h 299"/>
                <a:gd name="T116" fmla="*/ 2147483647 w 426"/>
                <a:gd name="T117" fmla="*/ 2147483647 h 299"/>
                <a:gd name="T118" fmla="*/ 2147483647 w 426"/>
                <a:gd name="T119" fmla="*/ 2147483647 h 29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26" h="299">
                  <a:moveTo>
                    <a:pt x="179" y="13"/>
                  </a:moveTo>
                  <a:lnTo>
                    <a:pt x="194" y="16"/>
                  </a:lnTo>
                  <a:lnTo>
                    <a:pt x="207" y="19"/>
                  </a:lnTo>
                  <a:lnTo>
                    <a:pt x="216" y="22"/>
                  </a:lnTo>
                  <a:lnTo>
                    <a:pt x="223" y="24"/>
                  </a:lnTo>
                  <a:lnTo>
                    <a:pt x="230" y="29"/>
                  </a:lnTo>
                  <a:lnTo>
                    <a:pt x="233" y="31"/>
                  </a:lnTo>
                  <a:lnTo>
                    <a:pt x="253" y="35"/>
                  </a:lnTo>
                  <a:lnTo>
                    <a:pt x="269" y="37"/>
                  </a:lnTo>
                  <a:lnTo>
                    <a:pt x="279" y="37"/>
                  </a:lnTo>
                  <a:lnTo>
                    <a:pt x="285" y="37"/>
                  </a:lnTo>
                  <a:lnTo>
                    <a:pt x="300" y="37"/>
                  </a:lnTo>
                  <a:lnTo>
                    <a:pt x="314" y="36"/>
                  </a:lnTo>
                  <a:lnTo>
                    <a:pt x="319" y="34"/>
                  </a:lnTo>
                  <a:lnTo>
                    <a:pt x="325" y="32"/>
                  </a:lnTo>
                  <a:lnTo>
                    <a:pt x="329" y="29"/>
                  </a:lnTo>
                  <a:lnTo>
                    <a:pt x="331" y="25"/>
                  </a:lnTo>
                  <a:lnTo>
                    <a:pt x="365" y="25"/>
                  </a:lnTo>
                  <a:lnTo>
                    <a:pt x="368" y="37"/>
                  </a:lnTo>
                  <a:lnTo>
                    <a:pt x="372" y="49"/>
                  </a:lnTo>
                  <a:lnTo>
                    <a:pt x="376" y="62"/>
                  </a:lnTo>
                  <a:lnTo>
                    <a:pt x="383" y="74"/>
                  </a:lnTo>
                  <a:lnTo>
                    <a:pt x="386" y="79"/>
                  </a:lnTo>
                  <a:lnTo>
                    <a:pt x="391" y="84"/>
                  </a:lnTo>
                  <a:lnTo>
                    <a:pt x="395" y="88"/>
                  </a:lnTo>
                  <a:lnTo>
                    <a:pt x="400" y="92"/>
                  </a:lnTo>
                  <a:lnTo>
                    <a:pt x="405" y="95"/>
                  </a:lnTo>
                  <a:lnTo>
                    <a:pt x="412" y="97"/>
                  </a:lnTo>
                  <a:lnTo>
                    <a:pt x="418" y="98"/>
                  </a:lnTo>
                  <a:lnTo>
                    <a:pt x="425" y="99"/>
                  </a:lnTo>
                  <a:lnTo>
                    <a:pt x="425" y="111"/>
                  </a:lnTo>
                  <a:lnTo>
                    <a:pt x="425" y="120"/>
                  </a:lnTo>
                  <a:lnTo>
                    <a:pt x="425" y="130"/>
                  </a:lnTo>
                  <a:lnTo>
                    <a:pt x="425" y="142"/>
                  </a:lnTo>
                  <a:lnTo>
                    <a:pt x="419" y="151"/>
                  </a:lnTo>
                  <a:lnTo>
                    <a:pt x="416" y="158"/>
                  </a:lnTo>
                  <a:lnTo>
                    <a:pt x="413" y="164"/>
                  </a:lnTo>
                  <a:lnTo>
                    <a:pt x="412" y="170"/>
                  </a:lnTo>
                  <a:lnTo>
                    <a:pt x="412" y="175"/>
                  </a:lnTo>
                  <a:lnTo>
                    <a:pt x="412" y="181"/>
                  </a:lnTo>
                  <a:lnTo>
                    <a:pt x="414" y="186"/>
                  </a:lnTo>
                  <a:lnTo>
                    <a:pt x="415" y="190"/>
                  </a:lnTo>
                  <a:lnTo>
                    <a:pt x="419" y="200"/>
                  </a:lnTo>
                  <a:lnTo>
                    <a:pt x="423" y="211"/>
                  </a:lnTo>
                  <a:lnTo>
                    <a:pt x="425" y="218"/>
                  </a:lnTo>
                  <a:lnTo>
                    <a:pt x="426" y="226"/>
                  </a:lnTo>
                  <a:lnTo>
                    <a:pt x="426" y="236"/>
                  </a:lnTo>
                  <a:lnTo>
                    <a:pt x="425" y="247"/>
                  </a:lnTo>
                  <a:lnTo>
                    <a:pt x="426" y="261"/>
                  </a:lnTo>
                  <a:lnTo>
                    <a:pt x="426" y="274"/>
                  </a:lnTo>
                  <a:lnTo>
                    <a:pt x="425" y="280"/>
                  </a:lnTo>
                  <a:lnTo>
                    <a:pt x="423" y="285"/>
                  </a:lnTo>
                  <a:lnTo>
                    <a:pt x="418" y="292"/>
                  </a:lnTo>
                  <a:lnTo>
                    <a:pt x="412" y="296"/>
                  </a:lnTo>
                  <a:lnTo>
                    <a:pt x="385" y="296"/>
                  </a:lnTo>
                  <a:lnTo>
                    <a:pt x="380" y="298"/>
                  </a:lnTo>
                  <a:lnTo>
                    <a:pt x="375" y="299"/>
                  </a:lnTo>
                  <a:lnTo>
                    <a:pt x="370" y="299"/>
                  </a:lnTo>
                  <a:lnTo>
                    <a:pt x="365" y="297"/>
                  </a:lnTo>
                  <a:lnTo>
                    <a:pt x="360" y="296"/>
                  </a:lnTo>
                  <a:lnTo>
                    <a:pt x="356" y="293"/>
                  </a:lnTo>
                  <a:lnTo>
                    <a:pt x="351" y="290"/>
                  </a:lnTo>
                  <a:lnTo>
                    <a:pt x="347" y="286"/>
                  </a:lnTo>
                  <a:lnTo>
                    <a:pt x="338" y="278"/>
                  </a:lnTo>
                  <a:lnTo>
                    <a:pt x="330" y="269"/>
                  </a:lnTo>
                  <a:lnTo>
                    <a:pt x="324" y="261"/>
                  </a:lnTo>
                  <a:lnTo>
                    <a:pt x="318" y="253"/>
                  </a:lnTo>
                  <a:lnTo>
                    <a:pt x="311" y="253"/>
                  </a:lnTo>
                  <a:lnTo>
                    <a:pt x="304" y="252"/>
                  </a:lnTo>
                  <a:lnTo>
                    <a:pt x="294" y="251"/>
                  </a:lnTo>
                  <a:lnTo>
                    <a:pt x="279" y="247"/>
                  </a:lnTo>
                  <a:lnTo>
                    <a:pt x="278" y="232"/>
                  </a:lnTo>
                  <a:lnTo>
                    <a:pt x="275" y="217"/>
                  </a:lnTo>
                  <a:lnTo>
                    <a:pt x="274" y="210"/>
                  </a:lnTo>
                  <a:lnTo>
                    <a:pt x="272" y="203"/>
                  </a:lnTo>
                  <a:lnTo>
                    <a:pt x="269" y="197"/>
                  </a:lnTo>
                  <a:lnTo>
                    <a:pt x="266" y="190"/>
                  </a:lnTo>
                  <a:lnTo>
                    <a:pt x="261" y="184"/>
                  </a:lnTo>
                  <a:lnTo>
                    <a:pt x="257" y="179"/>
                  </a:lnTo>
                  <a:lnTo>
                    <a:pt x="251" y="173"/>
                  </a:lnTo>
                  <a:lnTo>
                    <a:pt x="245" y="168"/>
                  </a:lnTo>
                  <a:lnTo>
                    <a:pt x="238" y="165"/>
                  </a:lnTo>
                  <a:lnTo>
                    <a:pt x="230" y="162"/>
                  </a:lnTo>
                  <a:lnTo>
                    <a:pt x="222" y="161"/>
                  </a:lnTo>
                  <a:lnTo>
                    <a:pt x="213" y="160"/>
                  </a:lnTo>
                  <a:lnTo>
                    <a:pt x="204" y="161"/>
                  </a:lnTo>
                  <a:lnTo>
                    <a:pt x="195" y="162"/>
                  </a:lnTo>
                  <a:lnTo>
                    <a:pt x="188" y="163"/>
                  </a:lnTo>
                  <a:lnTo>
                    <a:pt x="181" y="166"/>
                  </a:lnTo>
                  <a:lnTo>
                    <a:pt x="173" y="168"/>
                  </a:lnTo>
                  <a:lnTo>
                    <a:pt x="167" y="172"/>
                  </a:lnTo>
                  <a:lnTo>
                    <a:pt x="160" y="176"/>
                  </a:lnTo>
                  <a:lnTo>
                    <a:pt x="155" y="181"/>
                  </a:lnTo>
                  <a:lnTo>
                    <a:pt x="141" y="191"/>
                  </a:lnTo>
                  <a:lnTo>
                    <a:pt x="131" y="202"/>
                  </a:lnTo>
                  <a:lnTo>
                    <a:pt x="118" y="215"/>
                  </a:lnTo>
                  <a:lnTo>
                    <a:pt x="106" y="228"/>
                  </a:lnTo>
                  <a:lnTo>
                    <a:pt x="105" y="218"/>
                  </a:lnTo>
                  <a:lnTo>
                    <a:pt x="103" y="209"/>
                  </a:lnTo>
                  <a:lnTo>
                    <a:pt x="100" y="201"/>
                  </a:lnTo>
                  <a:lnTo>
                    <a:pt x="95" y="193"/>
                  </a:lnTo>
                  <a:lnTo>
                    <a:pt x="90" y="186"/>
                  </a:lnTo>
                  <a:lnTo>
                    <a:pt x="83" y="179"/>
                  </a:lnTo>
                  <a:lnTo>
                    <a:pt x="76" y="171"/>
                  </a:lnTo>
                  <a:lnTo>
                    <a:pt x="68" y="165"/>
                  </a:lnTo>
                  <a:lnTo>
                    <a:pt x="50" y="153"/>
                  </a:lnTo>
                  <a:lnTo>
                    <a:pt x="33" y="140"/>
                  </a:lnTo>
                  <a:lnTo>
                    <a:pt x="24" y="134"/>
                  </a:lnTo>
                  <a:lnTo>
                    <a:pt x="15" y="127"/>
                  </a:lnTo>
                  <a:lnTo>
                    <a:pt x="8" y="119"/>
                  </a:lnTo>
                  <a:lnTo>
                    <a:pt x="0" y="111"/>
                  </a:lnTo>
                  <a:lnTo>
                    <a:pt x="15" y="101"/>
                  </a:lnTo>
                  <a:lnTo>
                    <a:pt x="31" y="90"/>
                  </a:lnTo>
                  <a:lnTo>
                    <a:pt x="46" y="77"/>
                  </a:lnTo>
                  <a:lnTo>
                    <a:pt x="60" y="62"/>
                  </a:lnTo>
                  <a:lnTo>
                    <a:pt x="75" y="48"/>
                  </a:lnTo>
                  <a:lnTo>
                    <a:pt x="87" y="33"/>
                  </a:lnTo>
                  <a:lnTo>
                    <a:pt x="98" y="17"/>
                  </a:lnTo>
                  <a:lnTo>
                    <a:pt x="106" y="0"/>
                  </a:lnTo>
                  <a:lnTo>
                    <a:pt x="179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17" name="Freeform 464"/>
            <p:cNvSpPr>
              <a:spLocks/>
            </p:cNvSpPr>
            <p:nvPr>
              <p:custDataLst>
                <p:tags r:id="rId302"/>
              </p:custDataLst>
            </p:nvPr>
          </p:nvSpPr>
          <p:spPr bwMode="auto">
            <a:xfrm>
              <a:off x="7793669" y="3200839"/>
              <a:ext cx="692150" cy="874713"/>
            </a:xfrm>
            <a:custGeom>
              <a:avLst/>
              <a:gdLst>
                <a:gd name="T0" fmla="*/ 2147483647 w 1594"/>
                <a:gd name="T1" fmla="*/ 2147483647 h 1670"/>
                <a:gd name="T2" fmla="*/ 2147483647 w 1594"/>
                <a:gd name="T3" fmla="*/ 2147483647 h 1670"/>
                <a:gd name="T4" fmla="*/ 2147483647 w 1594"/>
                <a:gd name="T5" fmla="*/ 2147483647 h 1670"/>
                <a:gd name="T6" fmla="*/ 2147483647 w 1594"/>
                <a:gd name="T7" fmla="*/ 2147483647 h 1670"/>
                <a:gd name="T8" fmla="*/ 2147483647 w 1594"/>
                <a:gd name="T9" fmla="*/ 2147483647 h 1670"/>
                <a:gd name="T10" fmla="*/ 2147483647 w 1594"/>
                <a:gd name="T11" fmla="*/ 2147483647 h 1670"/>
                <a:gd name="T12" fmla="*/ 2147483647 w 1594"/>
                <a:gd name="T13" fmla="*/ 2147483647 h 1670"/>
                <a:gd name="T14" fmla="*/ 2147483647 w 1594"/>
                <a:gd name="T15" fmla="*/ 2147483647 h 1670"/>
                <a:gd name="T16" fmla="*/ 2147483647 w 1594"/>
                <a:gd name="T17" fmla="*/ 2147483647 h 1670"/>
                <a:gd name="T18" fmla="*/ 2147483647 w 1594"/>
                <a:gd name="T19" fmla="*/ 2147483647 h 1670"/>
                <a:gd name="T20" fmla="*/ 2147483647 w 1594"/>
                <a:gd name="T21" fmla="*/ 2147483647 h 1670"/>
                <a:gd name="T22" fmla="*/ 2147483647 w 1594"/>
                <a:gd name="T23" fmla="*/ 2147483647 h 1670"/>
                <a:gd name="T24" fmla="*/ 2147483647 w 1594"/>
                <a:gd name="T25" fmla="*/ 2147483647 h 1670"/>
                <a:gd name="T26" fmla="*/ 2147483647 w 1594"/>
                <a:gd name="T27" fmla="*/ 2147483647 h 1670"/>
                <a:gd name="T28" fmla="*/ 2147483647 w 1594"/>
                <a:gd name="T29" fmla="*/ 2147483647 h 1670"/>
                <a:gd name="T30" fmla="*/ 2147483647 w 1594"/>
                <a:gd name="T31" fmla="*/ 2147483647 h 1670"/>
                <a:gd name="T32" fmla="*/ 2147483647 w 1594"/>
                <a:gd name="T33" fmla="*/ 2147483647 h 1670"/>
                <a:gd name="T34" fmla="*/ 2147483647 w 1594"/>
                <a:gd name="T35" fmla="*/ 2147483647 h 1670"/>
                <a:gd name="T36" fmla="*/ 2147483647 w 1594"/>
                <a:gd name="T37" fmla="*/ 2147483647 h 1670"/>
                <a:gd name="T38" fmla="*/ 2147483647 w 1594"/>
                <a:gd name="T39" fmla="*/ 2147483647 h 1670"/>
                <a:gd name="T40" fmla="*/ 2147483647 w 1594"/>
                <a:gd name="T41" fmla="*/ 2147483647 h 1670"/>
                <a:gd name="T42" fmla="*/ 2147483647 w 1594"/>
                <a:gd name="T43" fmla="*/ 2147483647 h 1670"/>
                <a:gd name="T44" fmla="*/ 2147483647 w 1594"/>
                <a:gd name="T45" fmla="*/ 2147483647 h 1670"/>
                <a:gd name="T46" fmla="*/ 2147483647 w 1594"/>
                <a:gd name="T47" fmla="*/ 2147483647 h 1670"/>
                <a:gd name="T48" fmla="*/ 2147483647 w 1594"/>
                <a:gd name="T49" fmla="*/ 2147483647 h 1670"/>
                <a:gd name="T50" fmla="*/ 2147483647 w 1594"/>
                <a:gd name="T51" fmla="*/ 2147483647 h 1670"/>
                <a:gd name="T52" fmla="*/ 2147483647 w 1594"/>
                <a:gd name="T53" fmla="*/ 2147483647 h 1670"/>
                <a:gd name="T54" fmla="*/ 2147483647 w 1594"/>
                <a:gd name="T55" fmla="*/ 2147483647 h 1670"/>
                <a:gd name="T56" fmla="*/ 2147483647 w 1594"/>
                <a:gd name="T57" fmla="*/ 2147483647 h 1670"/>
                <a:gd name="T58" fmla="*/ 2147483647 w 1594"/>
                <a:gd name="T59" fmla="*/ 2147483647 h 1670"/>
                <a:gd name="T60" fmla="*/ 2147483647 w 1594"/>
                <a:gd name="T61" fmla="*/ 2147483647 h 1670"/>
                <a:gd name="T62" fmla="*/ 2147483647 w 1594"/>
                <a:gd name="T63" fmla="*/ 2147483647 h 1670"/>
                <a:gd name="T64" fmla="*/ 2147483647 w 1594"/>
                <a:gd name="T65" fmla="*/ 2147483647 h 1670"/>
                <a:gd name="T66" fmla="*/ 2147483647 w 1594"/>
                <a:gd name="T67" fmla="*/ 2147483647 h 1670"/>
                <a:gd name="T68" fmla="*/ 2147483647 w 1594"/>
                <a:gd name="T69" fmla="*/ 2147483647 h 1670"/>
                <a:gd name="T70" fmla="*/ 2147483647 w 1594"/>
                <a:gd name="T71" fmla="*/ 2147483647 h 1670"/>
                <a:gd name="T72" fmla="*/ 2147483647 w 1594"/>
                <a:gd name="T73" fmla="*/ 2147483647 h 1670"/>
                <a:gd name="T74" fmla="*/ 2147483647 w 1594"/>
                <a:gd name="T75" fmla="*/ 2147483647 h 1670"/>
                <a:gd name="T76" fmla="*/ 2147483647 w 1594"/>
                <a:gd name="T77" fmla="*/ 2147483647 h 1670"/>
                <a:gd name="T78" fmla="*/ 2147483647 w 1594"/>
                <a:gd name="T79" fmla="*/ 2147483647 h 1670"/>
                <a:gd name="T80" fmla="*/ 2147483647 w 1594"/>
                <a:gd name="T81" fmla="*/ 2147483647 h 1670"/>
                <a:gd name="T82" fmla="*/ 2147483647 w 1594"/>
                <a:gd name="T83" fmla="*/ 2147483647 h 1670"/>
                <a:gd name="T84" fmla="*/ 2147483647 w 1594"/>
                <a:gd name="T85" fmla="*/ 2147483647 h 1670"/>
                <a:gd name="T86" fmla="*/ 2147483647 w 1594"/>
                <a:gd name="T87" fmla="*/ 2147483647 h 1670"/>
                <a:gd name="T88" fmla="*/ 2147483647 w 1594"/>
                <a:gd name="T89" fmla="*/ 2147483647 h 1670"/>
                <a:gd name="T90" fmla="*/ 2147483647 w 1594"/>
                <a:gd name="T91" fmla="*/ 2147483647 h 1670"/>
                <a:gd name="T92" fmla="*/ 2147483647 w 1594"/>
                <a:gd name="T93" fmla="*/ 2147483647 h 1670"/>
                <a:gd name="T94" fmla="*/ 2147483647 w 1594"/>
                <a:gd name="T95" fmla="*/ 2147483647 h 1670"/>
                <a:gd name="T96" fmla="*/ 2147483647 w 1594"/>
                <a:gd name="T97" fmla="*/ 2147483647 h 1670"/>
                <a:gd name="T98" fmla="*/ 2147483647 w 1594"/>
                <a:gd name="T99" fmla="*/ 2147483647 h 1670"/>
                <a:gd name="T100" fmla="*/ 2147483647 w 1594"/>
                <a:gd name="T101" fmla="*/ 2147483647 h 1670"/>
                <a:gd name="T102" fmla="*/ 2147483647 w 1594"/>
                <a:gd name="T103" fmla="*/ 2147483647 h 1670"/>
                <a:gd name="T104" fmla="*/ 2147483647 w 1594"/>
                <a:gd name="T105" fmla="*/ 2147483647 h 1670"/>
                <a:gd name="T106" fmla="*/ 2147483647 w 1594"/>
                <a:gd name="T107" fmla="*/ 2147483647 h 1670"/>
                <a:gd name="T108" fmla="*/ 2147483647 w 1594"/>
                <a:gd name="T109" fmla="*/ 2147483647 h 1670"/>
                <a:gd name="T110" fmla="*/ 2147483647 w 1594"/>
                <a:gd name="T111" fmla="*/ 2147483647 h 1670"/>
                <a:gd name="T112" fmla="*/ 2147483647 w 1594"/>
                <a:gd name="T113" fmla="*/ 2147483647 h 167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594" h="1670">
                  <a:moveTo>
                    <a:pt x="385" y="0"/>
                  </a:moveTo>
                  <a:lnTo>
                    <a:pt x="400" y="16"/>
                  </a:lnTo>
                  <a:lnTo>
                    <a:pt x="415" y="33"/>
                  </a:lnTo>
                  <a:lnTo>
                    <a:pt x="427" y="48"/>
                  </a:lnTo>
                  <a:lnTo>
                    <a:pt x="437" y="63"/>
                  </a:lnTo>
                  <a:lnTo>
                    <a:pt x="448" y="76"/>
                  </a:lnTo>
                  <a:lnTo>
                    <a:pt x="459" y="90"/>
                  </a:lnTo>
                  <a:lnTo>
                    <a:pt x="464" y="96"/>
                  </a:lnTo>
                  <a:lnTo>
                    <a:pt x="471" y="101"/>
                  </a:lnTo>
                  <a:lnTo>
                    <a:pt x="477" y="107"/>
                  </a:lnTo>
                  <a:lnTo>
                    <a:pt x="485" y="111"/>
                  </a:lnTo>
                  <a:lnTo>
                    <a:pt x="492" y="118"/>
                  </a:lnTo>
                  <a:lnTo>
                    <a:pt x="499" y="126"/>
                  </a:lnTo>
                  <a:lnTo>
                    <a:pt x="506" y="134"/>
                  </a:lnTo>
                  <a:lnTo>
                    <a:pt x="512" y="144"/>
                  </a:lnTo>
                  <a:lnTo>
                    <a:pt x="519" y="153"/>
                  </a:lnTo>
                  <a:lnTo>
                    <a:pt x="523" y="163"/>
                  </a:lnTo>
                  <a:lnTo>
                    <a:pt x="528" y="174"/>
                  </a:lnTo>
                  <a:lnTo>
                    <a:pt x="531" y="185"/>
                  </a:lnTo>
                  <a:lnTo>
                    <a:pt x="485" y="185"/>
                  </a:lnTo>
                  <a:lnTo>
                    <a:pt x="485" y="216"/>
                  </a:lnTo>
                  <a:lnTo>
                    <a:pt x="490" y="229"/>
                  </a:lnTo>
                  <a:lnTo>
                    <a:pt x="497" y="240"/>
                  </a:lnTo>
                  <a:lnTo>
                    <a:pt x="505" y="250"/>
                  </a:lnTo>
                  <a:lnTo>
                    <a:pt x="514" y="257"/>
                  </a:lnTo>
                  <a:lnTo>
                    <a:pt x="523" y="264"/>
                  </a:lnTo>
                  <a:lnTo>
                    <a:pt x="534" y="269"/>
                  </a:lnTo>
                  <a:lnTo>
                    <a:pt x="544" y="274"/>
                  </a:lnTo>
                  <a:lnTo>
                    <a:pt x="556" y="278"/>
                  </a:lnTo>
                  <a:lnTo>
                    <a:pt x="578" y="287"/>
                  </a:lnTo>
                  <a:lnTo>
                    <a:pt x="600" y="296"/>
                  </a:lnTo>
                  <a:lnTo>
                    <a:pt x="610" y="302"/>
                  </a:lnTo>
                  <a:lnTo>
                    <a:pt x="620" y="310"/>
                  </a:lnTo>
                  <a:lnTo>
                    <a:pt x="629" y="318"/>
                  </a:lnTo>
                  <a:lnTo>
                    <a:pt x="638" y="327"/>
                  </a:lnTo>
                  <a:lnTo>
                    <a:pt x="631" y="420"/>
                  </a:lnTo>
                  <a:lnTo>
                    <a:pt x="643" y="429"/>
                  </a:lnTo>
                  <a:lnTo>
                    <a:pt x="660" y="440"/>
                  </a:lnTo>
                  <a:lnTo>
                    <a:pt x="679" y="450"/>
                  </a:lnTo>
                  <a:lnTo>
                    <a:pt x="701" y="459"/>
                  </a:lnTo>
                  <a:lnTo>
                    <a:pt x="723" y="468"/>
                  </a:lnTo>
                  <a:lnTo>
                    <a:pt x="744" y="475"/>
                  </a:lnTo>
                  <a:lnTo>
                    <a:pt x="753" y="478"/>
                  </a:lnTo>
                  <a:lnTo>
                    <a:pt x="762" y="480"/>
                  </a:lnTo>
                  <a:lnTo>
                    <a:pt x="770" y="481"/>
                  </a:lnTo>
                  <a:lnTo>
                    <a:pt x="777" y="481"/>
                  </a:lnTo>
                  <a:lnTo>
                    <a:pt x="779" y="488"/>
                  </a:lnTo>
                  <a:lnTo>
                    <a:pt x="784" y="494"/>
                  </a:lnTo>
                  <a:lnTo>
                    <a:pt x="789" y="497"/>
                  </a:lnTo>
                  <a:lnTo>
                    <a:pt x="795" y="499"/>
                  </a:lnTo>
                  <a:lnTo>
                    <a:pt x="800" y="501"/>
                  </a:lnTo>
                  <a:lnTo>
                    <a:pt x="807" y="501"/>
                  </a:lnTo>
                  <a:lnTo>
                    <a:pt x="814" y="500"/>
                  </a:lnTo>
                  <a:lnTo>
                    <a:pt x="822" y="499"/>
                  </a:lnTo>
                  <a:lnTo>
                    <a:pt x="836" y="496"/>
                  </a:lnTo>
                  <a:lnTo>
                    <a:pt x="852" y="492"/>
                  </a:lnTo>
                  <a:lnTo>
                    <a:pt x="858" y="492"/>
                  </a:lnTo>
                  <a:lnTo>
                    <a:pt x="865" y="491"/>
                  </a:lnTo>
                  <a:lnTo>
                    <a:pt x="871" y="492"/>
                  </a:lnTo>
                  <a:lnTo>
                    <a:pt x="877" y="493"/>
                  </a:lnTo>
                  <a:lnTo>
                    <a:pt x="886" y="499"/>
                  </a:lnTo>
                  <a:lnTo>
                    <a:pt x="892" y="504"/>
                  </a:lnTo>
                  <a:lnTo>
                    <a:pt x="898" y="511"/>
                  </a:lnTo>
                  <a:lnTo>
                    <a:pt x="903" y="517"/>
                  </a:lnTo>
                  <a:lnTo>
                    <a:pt x="908" y="523"/>
                  </a:lnTo>
                  <a:lnTo>
                    <a:pt x="914" y="529"/>
                  </a:lnTo>
                  <a:lnTo>
                    <a:pt x="918" y="532"/>
                  </a:lnTo>
                  <a:lnTo>
                    <a:pt x="921" y="534"/>
                  </a:lnTo>
                  <a:lnTo>
                    <a:pt x="925" y="536"/>
                  </a:lnTo>
                  <a:lnTo>
                    <a:pt x="930" y="537"/>
                  </a:lnTo>
                  <a:lnTo>
                    <a:pt x="946" y="540"/>
                  </a:lnTo>
                  <a:lnTo>
                    <a:pt x="968" y="546"/>
                  </a:lnTo>
                  <a:lnTo>
                    <a:pt x="993" y="552"/>
                  </a:lnTo>
                  <a:lnTo>
                    <a:pt x="1021" y="559"/>
                  </a:lnTo>
                  <a:lnTo>
                    <a:pt x="1047" y="564"/>
                  </a:lnTo>
                  <a:lnTo>
                    <a:pt x="1071" y="568"/>
                  </a:lnTo>
                  <a:lnTo>
                    <a:pt x="1082" y="569"/>
                  </a:lnTo>
                  <a:lnTo>
                    <a:pt x="1090" y="570"/>
                  </a:lnTo>
                  <a:lnTo>
                    <a:pt x="1098" y="569"/>
                  </a:lnTo>
                  <a:lnTo>
                    <a:pt x="1102" y="567"/>
                  </a:lnTo>
                  <a:lnTo>
                    <a:pt x="1098" y="560"/>
                  </a:lnTo>
                  <a:lnTo>
                    <a:pt x="1093" y="552"/>
                  </a:lnTo>
                  <a:lnTo>
                    <a:pt x="1090" y="544"/>
                  </a:lnTo>
                  <a:lnTo>
                    <a:pt x="1088" y="535"/>
                  </a:lnTo>
                  <a:lnTo>
                    <a:pt x="1083" y="520"/>
                  </a:lnTo>
                  <a:lnTo>
                    <a:pt x="1082" y="512"/>
                  </a:lnTo>
                  <a:lnTo>
                    <a:pt x="1082" y="481"/>
                  </a:lnTo>
                  <a:lnTo>
                    <a:pt x="1082" y="450"/>
                  </a:lnTo>
                  <a:lnTo>
                    <a:pt x="1115" y="450"/>
                  </a:lnTo>
                  <a:lnTo>
                    <a:pt x="1121" y="461"/>
                  </a:lnTo>
                  <a:lnTo>
                    <a:pt x="1125" y="468"/>
                  </a:lnTo>
                  <a:lnTo>
                    <a:pt x="1131" y="474"/>
                  </a:lnTo>
                  <a:lnTo>
                    <a:pt x="1136" y="481"/>
                  </a:lnTo>
                  <a:lnTo>
                    <a:pt x="1135" y="497"/>
                  </a:lnTo>
                  <a:lnTo>
                    <a:pt x="1132" y="507"/>
                  </a:lnTo>
                  <a:lnTo>
                    <a:pt x="1130" y="515"/>
                  </a:lnTo>
                  <a:lnTo>
                    <a:pt x="1128" y="524"/>
                  </a:lnTo>
                  <a:lnTo>
                    <a:pt x="1149" y="530"/>
                  </a:lnTo>
                  <a:lnTo>
                    <a:pt x="1169" y="536"/>
                  </a:lnTo>
                  <a:lnTo>
                    <a:pt x="1179" y="539"/>
                  </a:lnTo>
                  <a:lnTo>
                    <a:pt x="1189" y="541"/>
                  </a:lnTo>
                  <a:lnTo>
                    <a:pt x="1199" y="542"/>
                  </a:lnTo>
                  <a:lnTo>
                    <a:pt x="1209" y="543"/>
                  </a:lnTo>
                  <a:lnTo>
                    <a:pt x="1210" y="547"/>
                  </a:lnTo>
                  <a:lnTo>
                    <a:pt x="1212" y="551"/>
                  </a:lnTo>
                  <a:lnTo>
                    <a:pt x="1215" y="554"/>
                  </a:lnTo>
                  <a:lnTo>
                    <a:pt x="1220" y="557"/>
                  </a:lnTo>
                  <a:lnTo>
                    <a:pt x="1228" y="560"/>
                  </a:lnTo>
                  <a:lnTo>
                    <a:pt x="1235" y="561"/>
                  </a:lnTo>
                  <a:lnTo>
                    <a:pt x="1243" y="561"/>
                  </a:lnTo>
                  <a:lnTo>
                    <a:pt x="1249" y="559"/>
                  </a:lnTo>
                  <a:lnTo>
                    <a:pt x="1256" y="556"/>
                  </a:lnTo>
                  <a:lnTo>
                    <a:pt x="1261" y="553"/>
                  </a:lnTo>
                  <a:lnTo>
                    <a:pt x="1267" y="549"/>
                  </a:lnTo>
                  <a:lnTo>
                    <a:pt x="1272" y="544"/>
                  </a:lnTo>
                  <a:lnTo>
                    <a:pt x="1277" y="539"/>
                  </a:lnTo>
                  <a:lnTo>
                    <a:pt x="1281" y="534"/>
                  </a:lnTo>
                  <a:lnTo>
                    <a:pt x="1289" y="521"/>
                  </a:lnTo>
                  <a:lnTo>
                    <a:pt x="1294" y="509"/>
                  </a:lnTo>
                  <a:lnTo>
                    <a:pt x="1299" y="498"/>
                  </a:lnTo>
                  <a:lnTo>
                    <a:pt x="1302" y="487"/>
                  </a:lnTo>
                  <a:lnTo>
                    <a:pt x="1312" y="476"/>
                  </a:lnTo>
                  <a:lnTo>
                    <a:pt x="1322" y="465"/>
                  </a:lnTo>
                  <a:lnTo>
                    <a:pt x="1333" y="456"/>
                  </a:lnTo>
                  <a:lnTo>
                    <a:pt x="1344" y="446"/>
                  </a:lnTo>
                  <a:lnTo>
                    <a:pt x="1356" y="438"/>
                  </a:lnTo>
                  <a:lnTo>
                    <a:pt x="1367" y="430"/>
                  </a:lnTo>
                  <a:lnTo>
                    <a:pt x="1379" y="423"/>
                  </a:lnTo>
                  <a:lnTo>
                    <a:pt x="1391" y="416"/>
                  </a:lnTo>
                  <a:lnTo>
                    <a:pt x="1404" y="409"/>
                  </a:lnTo>
                  <a:lnTo>
                    <a:pt x="1417" y="403"/>
                  </a:lnTo>
                  <a:lnTo>
                    <a:pt x="1430" y="398"/>
                  </a:lnTo>
                  <a:lnTo>
                    <a:pt x="1444" y="393"/>
                  </a:lnTo>
                  <a:lnTo>
                    <a:pt x="1472" y="384"/>
                  </a:lnTo>
                  <a:lnTo>
                    <a:pt x="1501" y="377"/>
                  </a:lnTo>
                  <a:lnTo>
                    <a:pt x="1507" y="385"/>
                  </a:lnTo>
                  <a:lnTo>
                    <a:pt x="1515" y="395"/>
                  </a:lnTo>
                  <a:lnTo>
                    <a:pt x="1526" y="406"/>
                  </a:lnTo>
                  <a:lnTo>
                    <a:pt x="1537" y="418"/>
                  </a:lnTo>
                  <a:lnTo>
                    <a:pt x="1549" y="428"/>
                  </a:lnTo>
                  <a:lnTo>
                    <a:pt x="1562" y="436"/>
                  </a:lnTo>
                  <a:lnTo>
                    <a:pt x="1568" y="440"/>
                  </a:lnTo>
                  <a:lnTo>
                    <a:pt x="1574" y="442"/>
                  </a:lnTo>
                  <a:lnTo>
                    <a:pt x="1581" y="444"/>
                  </a:lnTo>
                  <a:lnTo>
                    <a:pt x="1587" y="444"/>
                  </a:lnTo>
                  <a:lnTo>
                    <a:pt x="1594" y="432"/>
                  </a:lnTo>
                  <a:lnTo>
                    <a:pt x="1590" y="453"/>
                  </a:lnTo>
                  <a:lnTo>
                    <a:pt x="1585" y="477"/>
                  </a:lnTo>
                  <a:lnTo>
                    <a:pt x="1583" y="488"/>
                  </a:lnTo>
                  <a:lnTo>
                    <a:pt x="1579" y="498"/>
                  </a:lnTo>
                  <a:lnTo>
                    <a:pt x="1576" y="502"/>
                  </a:lnTo>
                  <a:lnTo>
                    <a:pt x="1574" y="506"/>
                  </a:lnTo>
                  <a:lnTo>
                    <a:pt x="1571" y="509"/>
                  </a:lnTo>
                  <a:lnTo>
                    <a:pt x="1568" y="512"/>
                  </a:lnTo>
                  <a:lnTo>
                    <a:pt x="1554" y="515"/>
                  </a:lnTo>
                  <a:lnTo>
                    <a:pt x="1531" y="523"/>
                  </a:lnTo>
                  <a:lnTo>
                    <a:pt x="1520" y="530"/>
                  </a:lnTo>
                  <a:lnTo>
                    <a:pt x="1511" y="536"/>
                  </a:lnTo>
                  <a:lnTo>
                    <a:pt x="1506" y="539"/>
                  </a:lnTo>
                  <a:lnTo>
                    <a:pt x="1504" y="542"/>
                  </a:lnTo>
                  <a:lnTo>
                    <a:pt x="1502" y="546"/>
                  </a:lnTo>
                  <a:lnTo>
                    <a:pt x="1501" y="549"/>
                  </a:lnTo>
                  <a:lnTo>
                    <a:pt x="1502" y="584"/>
                  </a:lnTo>
                  <a:lnTo>
                    <a:pt x="1501" y="624"/>
                  </a:lnTo>
                  <a:lnTo>
                    <a:pt x="1498" y="634"/>
                  </a:lnTo>
                  <a:lnTo>
                    <a:pt x="1497" y="645"/>
                  </a:lnTo>
                  <a:lnTo>
                    <a:pt x="1495" y="654"/>
                  </a:lnTo>
                  <a:lnTo>
                    <a:pt x="1493" y="663"/>
                  </a:lnTo>
                  <a:lnTo>
                    <a:pt x="1490" y="671"/>
                  </a:lnTo>
                  <a:lnTo>
                    <a:pt x="1485" y="679"/>
                  </a:lnTo>
                  <a:lnTo>
                    <a:pt x="1480" y="685"/>
                  </a:lnTo>
                  <a:lnTo>
                    <a:pt x="1474" y="690"/>
                  </a:lnTo>
                  <a:lnTo>
                    <a:pt x="1471" y="693"/>
                  </a:lnTo>
                  <a:lnTo>
                    <a:pt x="1464" y="694"/>
                  </a:lnTo>
                  <a:lnTo>
                    <a:pt x="1457" y="695"/>
                  </a:lnTo>
                  <a:lnTo>
                    <a:pt x="1449" y="696"/>
                  </a:lnTo>
                  <a:lnTo>
                    <a:pt x="1441" y="697"/>
                  </a:lnTo>
                  <a:lnTo>
                    <a:pt x="1434" y="700"/>
                  </a:lnTo>
                  <a:lnTo>
                    <a:pt x="1431" y="701"/>
                  </a:lnTo>
                  <a:lnTo>
                    <a:pt x="1429" y="704"/>
                  </a:lnTo>
                  <a:lnTo>
                    <a:pt x="1428" y="706"/>
                  </a:lnTo>
                  <a:lnTo>
                    <a:pt x="1428" y="709"/>
                  </a:lnTo>
                  <a:lnTo>
                    <a:pt x="1427" y="721"/>
                  </a:lnTo>
                  <a:lnTo>
                    <a:pt x="1427" y="735"/>
                  </a:lnTo>
                  <a:lnTo>
                    <a:pt x="1425" y="750"/>
                  </a:lnTo>
                  <a:lnTo>
                    <a:pt x="1423" y="764"/>
                  </a:lnTo>
                  <a:lnTo>
                    <a:pt x="1420" y="778"/>
                  </a:lnTo>
                  <a:lnTo>
                    <a:pt x="1417" y="791"/>
                  </a:lnTo>
                  <a:lnTo>
                    <a:pt x="1413" y="803"/>
                  </a:lnTo>
                  <a:lnTo>
                    <a:pt x="1408" y="814"/>
                  </a:lnTo>
                  <a:lnTo>
                    <a:pt x="1361" y="733"/>
                  </a:lnTo>
                  <a:lnTo>
                    <a:pt x="1359" y="737"/>
                  </a:lnTo>
                  <a:lnTo>
                    <a:pt x="1354" y="746"/>
                  </a:lnTo>
                  <a:lnTo>
                    <a:pt x="1349" y="751"/>
                  </a:lnTo>
                  <a:lnTo>
                    <a:pt x="1345" y="755"/>
                  </a:lnTo>
                  <a:lnTo>
                    <a:pt x="1340" y="758"/>
                  </a:lnTo>
                  <a:lnTo>
                    <a:pt x="1335" y="759"/>
                  </a:lnTo>
                  <a:lnTo>
                    <a:pt x="1329" y="758"/>
                  </a:lnTo>
                  <a:lnTo>
                    <a:pt x="1325" y="757"/>
                  </a:lnTo>
                  <a:lnTo>
                    <a:pt x="1321" y="754"/>
                  </a:lnTo>
                  <a:lnTo>
                    <a:pt x="1316" y="751"/>
                  </a:lnTo>
                  <a:lnTo>
                    <a:pt x="1313" y="746"/>
                  </a:lnTo>
                  <a:lnTo>
                    <a:pt x="1311" y="742"/>
                  </a:lnTo>
                  <a:lnTo>
                    <a:pt x="1308" y="738"/>
                  </a:lnTo>
                  <a:lnTo>
                    <a:pt x="1308" y="733"/>
                  </a:lnTo>
                  <a:lnTo>
                    <a:pt x="1308" y="727"/>
                  </a:lnTo>
                  <a:lnTo>
                    <a:pt x="1311" y="721"/>
                  </a:lnTo>
                  <a:lnTo>
                    <a:pt x="1313" y="715"/>
                  </a:lnTo>
                  <a:lnTo>
                    <a:pt x="1315" y="709"/>
                  </a:lnTo>
                  <a:lnTo>
                    <a:pt x="1323" y="698"/>
                  </a:lnTo>
                  <a:lnTo>
                    <a:pt x="1332" y="687"/>
                  </a:lnTo>
                  <a:lnTo>
                    <a:pt x="1340" y="677"/>
                  </a:lnTo>
                  <a:lnTo>
                    <a:pt x="1348" y="666"/>
                  </a:lnTo>
                  <a:lnTo>
                    <a:pt x="1350" y="660"/>
                  </a:lnTo>
                  <a:lnTo>
                    <a:pt x="1352" y="655"/>
                  </a:lnTo>
                  <a:lnTo>
                    <a:pt x="1355" y="648"/>
                  </a:lnTo>
                  <a:lnTo>
                    <a:pt x="1355" y="642"/>
                  </a:lnTo>
                  <a:lnTo>
                    <a:pt x="1235" y="642"/>
                  </a:lnTo>
                  <a:lnTo>
                    <a:pt x="1231" y="641"/>
                  </a:lnTo>
                  <a:lnTo>
                    <a:pt x="1225" y="638"/>
                  </a:lnTo>
                  <a:lnTo>
                    <a:pt x="1221" y="632"/>
                  </a:lnTo>
                  <a:lnTo>
                    <a:pt x="1217" y="626"/>
                  </a:lnTo>
                  <a:lnTo>
                    <a:pt x="1214" y="618"/>
                  </a:lnTo>
                  <a:lnTo>
                    <a:pt x="1211" y="610"/>
                  </a:lnTo>
                  <a:lnTo>
                    <a:pt x="1210" y="601"/>
                  </a:lnTo>
                  <a:lnTo>
                    <a:pt x="1209" y="592"/>
                  </a:lnTo>
                  <a:lnTo>
                    <a:pt x="1203" y="592"/>
                  </a:lnTo>
                  <a:lnTo>
                    <a:pt x="1198" y="591"/>
                  </a:lnTo>
                  <a:lnTo>
                    <a:pt x="1192" y="590"/>
                  </a:lnTo>
                  <a:lnTo>
                    <a:pt x="1187" y="588"/>
                  </a:lnTo>
                  <a:lnTo>
                    <a:pt x="1182" y="585"/>
                  </a:lnTo>
                  <a:lnTo>
                    <a:pt x="1179" y="582"/>
                  </a:lnTo>
                  <a:lnTo>
                    <a:pt x="1177" y="577"/>
                  </a:lnTo>
                  <a:lnTo>
                    <a:pt x="1176" y="573"/>
                  </a:lnTo>
                  <a:lnTo>
                    <a:pt x="1167" y="573"/>
                  </a:lnTo>
                  <a:lnTo>
                    <a:pt x="1159" y="573"/>
                  </a:lnTo>
                  <a:lnTo>
                    <a:pt x="1151" y="573"/>
                  </a:lnTo>
                  <a:lnTo>
                    <a:pt x="1143" y="573"/>
                  </a:lnTo>
                  <a:lnTo>
                    <a:pt x="1136" y="574"/>
                  </a:lnTo>
                  <a:lnTo>
                    <a:pt x="1131" y="575"/>
                  </a:lnTo>
                  <a:lnTo>
                    <a:pt x="1124" y="578"/>
                  </a:lnTo>
                  <a:lnTo>
                    <a:pt x="1117" y="582"/>
                  </a:lnTo>
                  <a:lnTo>
                    <a:pt x="1112" y="587"/>
                  </a:lnTo>
                  <a:lnTo>
                    <a:pt x="1106" y="592"/>
                  </a:lnTo>
                  <a:lnTo>
                    <a:pt x="1103" y="598"/>
                  </a:lnTo>
                  <a:lnTo>
                    <a:pt x="1102" y="604"/>
                  </a:lnTo>
                  <a:lnTo>
                    <a:pt x="1104" y="608"/>
                  </a:lnTo>
                  <a:lnTo>
                    <a:pt x="1110" y="613"/>
                  </a:lnTo>
                  <a:lnTo>
                    <a:pt x="1117" y="619"/>
                  </a:lnTo>
                  <a:lnTo>
                    <a:pt x="1127" y="625"/>
                  </a:lnTo>
                  <a:lnTo>
                    <a:pt x="1137" y="631"/>
                  </a:lnTo>
                  <a:lnTo>
                    <a:pt x="1147" y="636"/>
                  </a:lnTo>
                  <a:lnTo>
                    <a:pt x="1156" y="640"/>
                  </a:lnTo>
                  <a:lnTo>
                    <a:pt x="1162" y="642"/>
                  </a:lnTo>
                  <a:lnTo>
                    <a:pt x="1149" y="652"/>
                  </a:lnTo>
                  <a:lnTo>
                    <a:pt x="1134" y="664"/>
                  </a:lnTo>
                  <a:lnTo>
                    <a:pt x="1127" y="670"/>
                  </a:lnTo>
                  <a:lnTo>
                    <a:pt x="1121" y="677"/>
                  </a:lnTo>
                  <a:lnTo>
                    <a:pt x="1119" y="680"/>
                  </a:lnTo>
                  <a:lnTo>
                    <a:pt x="1117" y="683"/>
                  </a:lnTo>
                  <a:lnTo>
                    <a:pt x="1116" y="687"/>
                  </a:lnTo>
                  <a:lnTo>
                    <a:pt x="1115" y="690"/>
                  </a:lnTo>
                  <a:lnTo>
                    <a:pt x="1116" y="695"/>
                  </a:lnTo>
                  <a:lnTo>
                    <a:pt x="1117" y="698"/>
                  </a:lnTo>
                  <a:lnTo>
                    <a:pt x="1120" y="702"/>
                  </a:lnTo>
                  <a:lnTo>
                    <a:pt x="1122" y="706"/>
                  </a:lnTo>
                  <a:lnTo>
                    <a:pt x="1130" y="714"/>
                  </a:lnTo>
                  <a:lnTo>
                    <a:pt x="1139" y="722"/>
                  </a:lnTo>
                  <a:lnTo>
                    <a:pt x="1149" y="729"/>
                  </a:lnTo>
                  <a:lnTo>
                    <a:pt x="1160" y="735"/>
                  </a:lnTo>
                  <a:lnTo>
                    <a:pt x="1166" y="737"/>
                  </a:lnTo>
                  <a:lnTo>
                    <a:pt x="1171" y="738"/>
                  </a:lnTo>
                  <a:lnTo>
                    <a:pt x="1177" y="739"/>
                  </a:lnTo>
                  <a:lnTo>
                    <a:pt x="1182" y="740"/>
                  </a:lnTo>
                  <a:lnTo>
                    <a:pt x="1209" y="844"/>
                  </a:lnTo>
                  <a:lnTo>
                    <a:pt x="1194" y="844"/>
                  </a:lnTo>
                  <a:lnTo>
                    <a:pt x="1180" y="844"/>
                  </a:lnTo>
                  <a:lnTo>
                    <a:pt x="1167" y="844"/>
                  </a:lnTo>
                  <a:lnTo>
                    <a:pt x="1156" y="844"/>
                  </a:lnTo>
                  <a:lnTo>
                    <a:pt x="1149" y="843"/>
                  </a:lnTo>
                  <a:lnTo>
                    <a:pt x="1142" y="838"/>
                  </a:lnTo>
                  <a:lnTo>
                    <a:pt x="1137" y="836"/>
                  </a:lnTo>
                  <a:lnTo>
                    <a:pt x="1132" y="834"/>
                  </a:lnTo>
                  <a:lnTo>
                    <a:pt x="1127" y="833"/>
                  </a:lnTo>
                  <a:lnTo>
                    <a:pt x="1122" y="832"/>
                  </a:lnTo>
                  <a:lnTo>
                    <a:pt x="1117" y="834"/>
                  </a:lnTo>
                  <a:lnTo>
                    <a:pt x="1109" y="839"/>
                  </a:lnTo>
                  <a:lnTo>
                    <a:pt x="1099" y="846"/>
                  </a:lnTo>
                  <a:lnTo>
                    <a:pt x="1087" y="854"/>
                  </a:lnTo>
                  <a:lnTo>
                    <a:pt x="1075" y="864"/>
                  </a:lnTo>
                  <a:lnTo>
                    <a:pt x="1065" y="872"/>
                  </a:lnTo>
                  <a:lnTo>
                    <a:pt x="1058" y="878"/>
                  </a:lnTo>
                  <a:lnTo>
                    <a:pt x="1056" y="882"/>
                  </a:lnTo>
                  <a:lnTo>
                    <a:pt x="1076" y="894"/>
                  </a:lnTo>
                  <a:lnTo>
                    <a:pt x="1075" y="900"/>
                  </a:lnTo>
                  <a:lnTo>
                    <a:pt x="1072" y="907"/>
                  </a:lnTo>
                  <a:lnTo>
                    <a:pt x="1069" y="912"/>
                  </a:lnTo>
                  <a:lnTo>
                    <a:pt x="1066" y="919"/>
                  </a:lnTo>
                  <a:lnTo>
                    <a:pt x="1058" y="928"/>
                  </a:lnTo>
                  <a:lnTo>
                    <a:pt x="1049" y="937"/>
                  </a:lnTo>
                  <a:lnTo>
                    <a:pt x="1039" y="945"/>
                  </a:lnTo>
                  <a:lnTo>
                    <a:pt x="1027" y="952"/>
                  </a:lnTo>
                  <a:lnTo>
                    <a:pt x="1016" y="958"/>
                  </a:lnTo>
                  <a:lnTo>
                    <a:pt x="1004" y="964"/>
                  </a:lnTo>
                  <a:lnTo>
                    <a:pt x="992" y="972"/>
                  </a:lnTo>
                  <a:lnTo>
                    <a:pt x="981" y="978"/>
                  </a:lnTo>
                  <a:lnTo>
                    <a:pt x="971" y="985"/>
                  </a:lnTo>
                  <a:lnTo>
                    <a:pt x="962" y="993"/>
                  </a:lnTo>
                  <a:lnTo>
                    <a:pt x="957" y="997"/>
                  </a:lnTo>
                  <a:lnTo>
                    <a:pt x="954" y="1001"/>
                  </a:lnTo>
                  <a:lnTo>
                    <a:pt x="951" y="1006"/>
                  </a:lnTo>
                  <a:lnTo>
                    <a:pt x="948" y="1011"/>
                  </a:lnTo>
                  <a:lnTo>
                    <a:pt x="946" y="1017"/>
                  </a:lnTo>
                  <a:lnTo>
                    <a:pt x="944" y="1022"/>
                  </a:lnTo>
                  <a:lnTo>
                    <a:pt x="943" y="1029"/>
                  </a:lnTo>
                  <a:lnTo>
                    <a:pt x="943" y="1036"/>
                  </a:lnTo>
                  <a:lnTo>
                    <a:pt x="934" y="1039"/>
                  </a:lnTo>
                  <a:lnTo>
                    <a:pt x="926" y="1042"/>
                  </a:lnTo>
                  <a:lnTo>
                    <a:pt x="919" y="1046"/>
                  </a:lnTo>
                  <a:lnTo>
                    <a:pt x="912" y="1050"/>
                  </a:lnTo>
                  <a:lnTo>
                    <a:pt x="898" y="1060"/>
                  </a:lnTo>
                  <a:lnTo>
                    <a:pt x="886" y="1072"/>
                  </a:lnTo>
                  <a:lnTo>
                    <a:pt x="864" y="1099"/>
                  </a:lnTo>
                  <a:lnTo>
                    <a:pt x="843" y="1128"/>
                  </a:lnTo>
                  <a:lnTo>
                    <a:pt x="832" y="1143"/>
                  </a:lnTo>
                  <a:lnTo>
                    <a:pt x="821" y="1156"/>
                  </a:lnTo>
                  <a:lnTo>
                    <a:pt x="809" y="1168"/>
                  </a:lnTo>
                  <a:lnTo>
                    <a:pt x="796" y="1179"/>
                  </a:lnTo>
                  <a:lnTo>
                    <a:pt x="788" y="1184"/>
                  </a:lnTo>
                  <a:lnTo>
                    <a:pt x="780" y="1188"/>
                  </a:lnTo>
                  <a:lnTo>
                    <a:pt x="773" y="1192"/>
                  </a:lnTo>
                  <a:lnTo>
                    <a:pt x="764" y="1196"/>
                  </a:lnTo>
                  <a:lnTo>
                    <a:pt x="754" y="1199"/>
                  </a:lnTo>
                  <a:lnTo>
                    <a:pt x="745" y="1201"/>
                  </a:lnTo>
                  <a:lnTo>
                    <a:pt x="734" y="1202"/>
                  </a:lnTo>
                  <a:lnTo>
                    <a:pt x="723" y="1202"/>
                  </a:lnTo>
                  <a:lnTo>
                    <a:pt x="723" y="1211"/>
                  </a:lnTo>
                  <a:lnTo>
                    <a:pt x="723" y="1220"/>
                  </a:lnTo>
                  <a:lnTo>
                    <a:pt x="723" y="1227"/>
                  </a:lnTo>
                  <a:lnTo>
                    <a:pt x="723" y="1233"/>
                  </a:lnTo>
                  <a:lnTo>
                    <a:pt x="723" y="1244"/>
                  </a:lnTo>
                  <a:lnTo>
                    <a:pt x="723" y="1261"/>
                  </a:lnTo>
                  <a:lnTo>
                    <a:pt x="723" y="1279"/>
                  </a:lnTo>
                  <a:lnTo>
                    <a:pt x="725" y="1298"/>
                  </a:lnTo>
                  <a:lnTo>
                    <a:pt x="727" y="1308"/>
                  </a:lnTo>
                  <a:lnTo>
                    <a:pt x="729" y="1317"/>
                  </a:lnTo>
                  <a:lnTo>
                    <a:pt x="731" y="1325"/>
                  </a:lnTo>
                  <a:lnTo>
                    <a:pt x="735" y="1332"/>
                  </a:lnTo>
                  <a:lnTo>
                    <a:pt x="739" y="1339"/>
                  </a:lnTo>
                  <a:lnTo>
                    <a:pt x="744" y="1344"/>
                  </a:lnTo>
                  <a:lnTo>
                    <a:pt x="750" y="1348"/>
                  </a:lnTo>
                  <a:lnTo>
                    <a:pt x="757" y="1350"/>
                  </a:lnTo>
                  <a:lnTo>
                    <a:pt x="751" y="1366"/>
                  </a:lnTo>
                  <a:lnTo>
                    <a:pt x="744" y="1380"/>
                  </a:lnTo>
                  <a:lnTo>
                    <a:pt x="736" y="1393"/>
                  </a:lnTo>
                  <a:lnTo>
                    <a:pt x="729" y="1405"/>
                  </a:lnTo>
                  <a:lnTo>
                    <a:pt x="721" y="1419"/>
                  </a:lnTo>
                  <a:lnTo>
                    <a:pt x="716" y="1432"/>
                  </a:lnTo>
                  <a:lnTo>
                    <a:pt x="713" y="1438"/>
                  </a:lnTo>
                  <a:lnTo>
                    <a:pt x="712" y="1445"/>
                  </a:lnTo>
                  <a:lnTo>
                    <a:pt x="711" y="1453"/>
                  </a:lnTo>
                  <a:lnTo>
                    <a:pt x="710" y="1460"/>
                  </a:lnTo>
                  <a:lnTo>
                    <a:pt x="711" y="1463"/>
                  </a:lnTo>
                  <a:lnTo>
                    <a:pt x="712" y="1465"/>
                  </a:lnTo>
                  <a:lnTo>
                    <a:pt x="714" y="1467"/>
                  </a:lnTo>
                  <a:lnTo>
                    <a:pt x="718" y="1469"/>
                  </a:lnTo>
                  <a:lnTo>
                    <a:pt x="724" y="1473"/>
                  </a:lnTo>
                  <a:lnTo>
                    <a:pt x="730" y="1474"/>
                  </a:lnTo>
                  <a:lnTo>
                    <a:pt x="730" y="1510"/>
                  </a:lnTo>
                  <a:lnTo>
                    <a:pt x="722" y="1524"/>
                  </a:lnTo>
                  <a:lnTo>
                    <a:pt x="716" y="1539"/>
                  </a:lnTo>
                  <a:lnTo>
                    <a:pt x="711" y="1545"/>
                  </a:lnTo>
                  <a:lnTo>
                    <a:pt x="706" y="1549"/>
                  </a:lnTo>
                  <a:lnTo>
                    <a:pt x="702" y="1551"/>
                  </a:lnTo>
                  <a:lnTo>
                    <a:pt x="699" y="1552"/>
                  </a:lnTo>
                  <a:lnTo>
                    <a:pt x="695" y="1553"/>
                  </a:lnTo>
                  <a:lnTo>
                    <a:pt x="690" y="1553"/>
                  </a:lnTo>
                  <a:lnTo>
                    <a:pt x="690" y="1561"/>
                  </a:lnTo>
                  <a:lnTo>
                    <a:pt x="691" y="1571"/>
                  </a:lnTo>
                  <a:lnTo>
                    <a:pt x="693" y="1576"/>
                  </a:lnTo>
                  <a:lnTo>
                    <a:pt x="694" y="1580"/>
                  </a:lnTo>
                  <a:lnTo>
                    <a:pt x="695" y="1583"/>
                  </a:lnTo>
                  <a:lnTo>
                    <a:pt x="697" y="1584"/>
                  </a:lnTo>
                  <a:lnTo>
                    <a:pt x="671" y="1605"/>
                  </a:lnTo>
                  <a:lnTo>
                    <a:pt x="649" y="1622"/>
                  </a:lnTo>
                  <a:lnTo>
                    <a:pt x="639" y="1632"/>
                  </a:lnTo>
                  <a:lnTo>
                    <a:pt x="630" y="1643"/>
                  </a:lnTo>
                  <a:lnTo>
                    <a:pt x="620" y="1656"/>
                  </a:lnTo>
                  <a:lnTo>
                    <a:pt x="611" y="1670"/>
                  </a:lnTo>
                  <a:lnTo>
                    <a:pt x="595" y="1663"/>
                  </a:lnTo>
                  <a:lnTo>
                    <a:pt x="584" y="1656"/>
                  </a:lnTo>
                  <a:lnTo>
                    <a:pt x="575" y="1649"/>
                  </a:lnTo>
                  <a:lnTo>
                    <a:pt x="568" y="1641"/>
                  </a:lnTo>
                  <a:lnTo>
                    <a:pt x="563" y="1631"/>
                  </a:lnTo>
                  <a:lnTo>
                    <a:pt x="560" y="1621"/>
                  </a:lnTo>
                  <a:lnTo>
                    <a:pt x="555" y="1609"/>
                  </a:lnTo>
                  <a:lnTo>
                    <a:pt x="551" y="1597"/>
                  </a:lnTo>
                  <a:lnTo>
                    <a:pt x="542" y="1574"/>
                  </a:lnTo>
                  <a:lnTo>
                    <a:pt x="530" y="1552"/>
                  </a:lnTo>
                  <a:lnTo>
                    <a:pt x="516" y="1529"/>
                  </a:lnTo>
                  <a:lnTo>
                    <a:pt x="501" y="1505"/>
                  </a:lnTo>
                  <a:lnTo>
                    <a:pt x="486" y="1483"/>
                  </a:lnTo>
                  <a:lnTo>
                    <a:pt x="473" y="1461"/>
                  </a:lnTo>
                  <a:lnTo>
                    <a:pt x="461" y="1441"/>
                  </a:lnTo>
                  <a:lnTo>
                    <a:pt x="451" y="1424"/>
                  </a:lnTo>
                  <a:lnTo>
                    <a:pt x="442" y="1405"/>
                  </a:lnTo>
                  <a:lnTo>
                    <a:pt x="436" y="1388"/>
                  </a:lnTo>
                  <a:lnTo>
                    <a:pt x="430" y="1370"/>
                  </a:lnTo>
                  <a:lnTo>
                    <a:pt x="425" y="1352"/>
                  </a:lnTo>
                  <a:lnTo>
                    <a:pt x="419" y="1334"/>
                  </a:lnTo>
                  <a:lnTo>
                    <a:pt x="414" y="1316"/>
                  </a:lnTo>
                  <a:lnTo>
                    <a:pt x="407" y="1296"/>
                  </a:lnTo>
                  <a:lnTo>
                    <a:pt x="398" y="1276"/>
                  </a:lnTo>
                  <a:lnTo>
                    <a:pt x="376" y="1244"/>
                  </a:lnTo>
                  <a:lnTo>
                    <a:pt x="352" y="1214"/>
                  </a:lnTo>
                  <a:lnTo>
                    <a:pt x="341" y="1200"/>
                  </a:lnTo>
                  <a:lnTo>
                    <a:pt x="330" y="1184"/>
                  </a:lnTo>
                  <a:lnTo>
                    <a:pt x="320" y="1169"/>
                  </a:lnTo>
                  <a:lnTo>
                    <a:pt x="312" y="1153"/>
                  </a:lnTo>
                  <a:lnTo>
                    <a:pt x="301" y="1114"/>
                  </a:lnTo>
                  <a:lnTo>
                    <a:pt x="292" y="1078"/>
                  </a:lnTo>
                  <a:lnTo>
                    <a:pt x="284" y="1043"/>
                  </a:lnTo>
                  <a:lnTo>
                    <a:pt x="280" y="1008"/>
                  </a:lnTo>
                  <a:lnTo>
                    <a:pt x="275" y="974"/>
                  </a:lnTo>
                  <a:lnTo>
                    <a:pt x="273" y="938"/>
                  </a:lnTo>
                  <a:lnTo>
                    <a:pt x="272" y="901"/>
                  </a:lnTo>
                  <a:lnTo>
                    <a:pt x="272" y="864"/>
                  </a:lnTo>
                  <a:lnTo>
                    <a:pt x="268" y="863"/>
                  </a:lnTo>
                  <a:lnTo>
                    <a:pt x="263" y="862"/>
                  </a:lnTo>
                  <a:lnTo>
                    <a:pt x="259" y="861"/>
                  </a:lnTo>
                  <a:lnTo>
                    <a:pt x="256" y="857"/>
                  </a:lnTo>
                  <a:lnTo>
                    <a:pt x="252" y="855"/>
                  </a:lnTo>
                  <a:lnTo>
                    <a:pt x="250" y="852"/>
                  </a:lnTo>
                  <a:lnTo>
                    <a:pt x="247" y="848"/>
                  </a:lnTo>
                  <a:lnTo>
                    <a:pt x="246" y="844"/>
                  </a:lnTo>
                  <a:lnTo>
                    <a:pt x="242" y="836"/>
                  </a:lnTo>
                  <a:lnTo>
                    <a:pt x="240" y="827"/>
                  </a:lnTo>
                  <a:lnTo>
                    <a:pt x="239" y="817"/>
                  </a:lnTo>
                  <a:lnTo>
                    <a:pt x="239" y="808"/>
                  </a:lnTo>
                  <a:lnTo>
                    <a:pt x="230" y="814"/>
                  </a:lnTo>
                  <a:lnTo>
                    <a:pt x="224" y="821"/>
                  </a:lnTo>
                  <a:lnTo>
                    <a:pt x="217" y="828"/>
                  </a:lnTo>
                  <a:lnTo>
                    <a:pt x="210" y="836"/>
                  </a:lnTo>
                  <a:lnTo>
                    <a:pt x="201" y="852"/>
                  </a:lnTo>
                  <a:lnTo>
                    <a:pt x="192" y="869"/>
                  </a:lnTo>
                  <a:lnTo>
                    <a:pt x="186" y="876"/>
                  </a:lnTo>
                  <a:lnTo>
                    <a:pt x="182" y="883"/>
                  </a:lnTo>
                  <a:lnTo>
                    <a:pt x="176" y="890"/>
                  </a:lnTo>
                  <a:lnTo>
                    <a:pt x="171" y="895"/>
                  </a:lnTo>
                  <a:lnTo>
                    <a:pt x="164" y="900"/>
                  </a:lnTo>
                  <a:lnTo>
                    <a:pt x="157" y="903"/>
                  </a:lnTo>
                  <a:lnTo>
                    <a:pt x="148" y="905"/>
                  </a:lnTo>
                  <a:lnTo>
                    <a:pt x="139" y="906"/>
                  </a:lnTo>
                  <a:lnTo>
                    <a:pt x="134" y="905"/>
                  </a:lnTo>
                  <a:lnTo>
                    <a:pt x="127" y="903"/>
                  </a:lnTo>
                  <a:lnTo>
                    <a:pt x="120" y="900"/>
                  </a:lnTo>
                  <a:lnTo>
                    <a:pt x="113" y="895"/>
                  </a:lnTo>
                  <a:lnTo>
                    <a:pt x="105" y="889"/>
                  </a:lnTo>
                  <a:lnTo>
                    <a:pt x="97" y="883"/>
                  </a:lnTo>
                  <a:lnTo>
                    <a:pt x="90" y="876"/>
                  </a:lnTo>
                  <a:lnTo>
                    <a:pt x="82" y="868"/>
                  </a:lnTo>
                  <a:lnTo>
                    <a:pt x="75" y="860"/>
                  </a:lnTo>
                  <a:lnTo>
                    <a:pt x="69" y="851"/>
                  </a:lnTo>
                  <a:lnTo>
                    <a:pt x="62" y="842"/>
                  </a:lnTo>
                  <a:lnTo>
                    <a:pt x="57" y="833"/>
                  </a:lnTo>
                  <a:lnTo>
                    <a:pt x="52" y="825"/>
                  </a:lnTo>
                  <a:lnTo>
                    <a:pt x="49" y="817"/>
                  </a:lnTo>
                  <a:lnTo>
                    <a:pt x="47" y="809"/>
                  </a:lnTo>
                  <a:lnTo>
                    <a:pt x="46" y="801"/>
                  </a:lnTo>
                  <a:lnTo>
                    <a:pt x="51" y="798"/>
                  </a:lnTo>
                  <a:lnTo>
                    <a:pt x="63" y="792"/>
                  </a:lnTo>
                  <a:lnTo>
                    <a:pt x="77" y="786"/>
                  </a:lnTo>
                  <a:lnTo>
                    <a:pt x="85" y="783"/>
                  </a:lnTo>
                  <a:lnTo>
                    <a:pt x="77" y="783"/>
                  </a:lnTo>
                  <a:lnTo>
                    <a:pt x="67" y="782"/>
                  </a:lnTo>
                  <a:lnTo>
                    <a:pt x="59" y="780"/>
                  </a:lnTo>
                  <a:lnTo>
                    <a:pt x="51" y="779"/>
                  </a:lnTo>
                  <a:lnTo>
                    <a:pt x="44" y="776"/>
                  </a:lnTo>
                  <a:lnTo>
                    <a:pt x="37" y="774"/>
                  </a:lnTo>
                  <a:lnTo>
                    <a:pt x="30" y="771"/>
                  </a:lnTo>
                  <a:lnTo>
                    <a:pt x="25" y="767"/>
                  </a:lnTo>
                  <a:lnTo>
                    <a:pt x="21" y="763"/>
                  </a:lnTo>
                  <a:lnTo>
                    <a:pt x="16" y="759"/>
                  </a:lnTo>
                  <a:lnTo>
                    <a:pt x="12" y="754"/>
                  </a:lnTo>
                  <a:lnTo>
                    <a:pt x="8" y="750"/>
                  </a:lnTo>
                  <a:lnTo>
                    <a:pt x="3" y="738"/>
                  </a:lnTo>
                  <a:lnTo>
                    <a:pt x="0" y="727"/>
                  </a:lnTo>
                  <a:lnTo>
                    <a:pt x="10" y="719"/>
                  </a:lnTo>
                  <a:lnTo>
                    <a:pt x="21" y="713"/>
                  </a:lnTo>
                  <a:lnTo>
                    <a:pt x="32" y="708"/>
                  </a:lnTo>
                  <a:lnTo>
                    <a:pt x="44" y="704"/>
                  </a:lnTo>
                  <a:lnTo>
                    <a:pt x="67" y="699"/>
                  </a:lnTo>
                  <a:lnTo>
                    <a:pt x="90" y="695"/>
                  </a:lnTo>
                  <a:lnTo>
                    <a:pt x="102" y="693"/>
                  </a:lnTo>
                  <a:lnTo>
                    <a:pt x="113" y="689"/>
                  </a:lnTo>
                  <a:lnTo>
                    <a:pt x="123" y="686"/>
                  </a:lnTo>
                  <a:lnTo>
                    <a:pt x="133" y="681"/>
                  </a:lnTo>
                  <a:lnTo>
                    <a:pt x="142" y="676"/>
                  </a:lnTo>
                  <a:lnTo>
                    <a:pt x="151" y="668"/>
                  </a:lnTo>
                  <a:lnTo>
                    <a:pt x="159" y="659"/>
                  </a:lnTo>
                  <a:lnTo>
                    <a:pt x="165" y="648"/>
                  </a:lnTo>
                  <a:lnTo>
                    <a:pt x="161" y="646"/>
                  </a:lnTo>
                  <a:lnTo>
                    <a:pt x="157" y="643"/>
                  </a:lnTo>
                  <a:lnTo>
                    <a:pt x="151" y="639"/>
                  </a:lnTo>
                  <a:lnTo>
                    <a:pt x="145" y="633"/>
                  </a:lnTo>
                  <a:lnTo>
                    <a:pt x="131" y="621"/>
                  </a:lnTo>
                  <a:lnTo>
                    <a:pt x="118" y="607"/>
                  </a:lnTo>
                  <a:lnTo>
                    <a:pt x="106" y="592"/>
                  </a:lnTo>
                  <a:lnTo>
                    <a:pt x="95" y="576"/>
                  </a:lnTo>
                  <a:lnTo>
                    <a:pt x="92" y="569"/>
                  </a:lnTo>
                  <a:lnTo>
                    <a:pt x="89" y="562"/>
                  </a:lnTo>
                  <a:lnTo>
                    <a:pt x="86" y="555"/>
                  </a:lnTo>
                  <a:lnTo>
                    <a:pt x="85" y="549"/>
                  </a:lnTo>
                  <a:lnTo>
                    <a:pt x="81" y="548"/>
                  </a:lnTo>
                  <a:lnTo>
                    <a:pt x="77" y="547"/>
                  </a:lnTo>
                  <a:lnTo>
                    <a:pt x="73" y="545"/>
                  </a:lnTo>
                  <a:lnTo>
                    <a:pt x="70" y="541"/>
                  </a:lnTo>
                  <a:lnTo>
                    <a:pt x="64" y="534"/>
                  </a:lnTo>
                  <a:lnTo>
                    <a:pt x="59" y="524"/>
                  </a:lnTo>
                  <a:lnTo>
                    <a:pt x="59" y="500"/>
                  </a:lnTo>
                  <a:lnTo>
                    <a:pt x="73" y="499"/>
                  </a:lnTo>
                  <a:lnTo>
                    <a:pt x="86" y="498"/>
                  </a:lnTo>
                  <a:lnTo>
                    <a:pt x="98" y="496"/>
                  </a:lnTo>
                  <a:lnTo>
                    <a:pt x="109" y="492"/>
                  </a:lnTo>
                  <a:lnTo>
                    <a:pt x="119" y="489"/>
                  </a:lnTo>
                  <a:lnTo>
                    <a:pt x="129" y="484"/>
                  </a:lnTo>
                  <a:lnTo>
                    <a:pt x="138" y="479"/>
                  </a:lnTo>
                  <a:lnTo>
                    <a:pt x="147" y="473"/>
                  </a:lnTo>
                  <a:lnTo>
                    <a:pt x="154" y="466"/>
                  </a:lnTo>
                  <a:lnTo>
                    <a:pt x="162" y="459"/>
                  </a:lnTo>
                  <a:lnTo>
                    <a:pt x="169" y="452"/>
                  </a:lnTo>
                  <a:lnTo>
                    <a:pt x="175" y="444"/>
                  </a:lnTo>
                  <a:lnTo>
                    <a:pt x="186" y="428"/>
                  </a:lnTo>
                  <a:lnTo>
                    <a:pt x="197" y="410"/>
                  </a:lnTo>
                  <a:lnTo>
                    <a:pt x="216" y="374"/>
                  </a:lnTo>
                  <a:lnTo>
                    <a:pt x="235" y="338"/>
                  </a:lnTo>
                  <a:lnTo>
                    <a:pt x="246" y="322"/>
                  </a:lnTo>
                  <a:lnTo>
                    <a:pt x="257" y="308"/>
                  </a:lnTo>
                  <a:lnTo>
                    <a:pt x="263" y="300"/>
                  </a:lnTo>
                  <a:lnTo>
                    <a:pt x="270" y="294"/>
                  </a:lnTo>
                  <a:lnTo>
                    <a:pt x="277" y="289"/>
                  </a:lnTo>
                  <a:lnTo>
                    <a:pt x="285" y="284"/>
                  </a:lnTo>
                  <a:lnTo>
                    <a:pt x="279" y="272"/>
                  </a:lnTo>
                  <a:lnTo>
                    <a:pt x="274" y="261"/>
                  </a:lnTo>
                  <a:lnTo>
                    <a:pt x="273" y="256"/>
                  </a:lnTo>
                  <a:lnTo>
                    <a:pt x="272" y="251"/>
                  </a:lnTo>
                  <a:lnTo>
                    <a:pt x="272" y="245"/>
                  </a:lnTo>
                  <a:lnTo>
                    <a:pt x="272" y="240"/>
                  </a:lnTo>
                  <a:lnTo>
                    <a:pt x="273" y="235"/>
                  </a:lnTo>
                  <a:lnTo>
                    <a:pt x="274" y="230"/>
                  </a:lnTo>
                  <a:lnTo>
                    <a:pt x="276" y="226"/>
                  </a:lnTo>
                  <a:lnTo>
                    <a:pt x="280" y="222"/>
                  </a:lnTo>
                  <a:lnTo>
                    <a:pt x="283" y="219"/>
                  </a:lnTo>
                  <a:lnTo>
                    <a:pt x="287" y="216"/>
                  </a:lnTo>
                  <a:lnTo>
                    <a:pt x="293" y="213"/>
                  </a:lnTo>
                  <a:lnTo>
                    <a:pt x="298" y="210"/>
                  </a:lnTo>
                  <a:lnTo>
                    <a:pt x="269" y="183"/>
                  </a:lnTo>
                  <a:lnTo>
                    <a:pt x="247" y="163"/>
                  </a:lnTo>
                  <a:lnTo>
                    <a:pt x="237" y="153"/>
                  </a:lnTo>
                  <a:lnTo>
                    <a:pt x="227" y="142"/>
                  </a:lnTo>
                  <a:lnTo>
                    <a:pt x="217" y="128"/>
                  </a:lnTo>
                  <a:lnTo>
                    <a:pt x="205" y="111"/>
                  </a:lnTo>
                  <a:lnTo>
                    <a:pt x="205" y="68"/>
                  </a:lnTo>
                  <a:lnTo>
                    <a:pt x="229" y="68"/>
                  </a:lnTo>
                  <a:lnTo>
                    <a:pt x="256" y="66"/>
                  </a:lnTo>
                  <a:lnTo>
                    <a:pt x="270" y="65"/>
                  </a:lnTo>
                  <a:lnTo>
                    <a:pt x="283" y="63"/>
                  </a:lnTo>
                  <a:lnTo>
                    <a:pt x="297" y="60"/>
                  </a:lnTo>
                  <a:lnTo>
                    <a:pt x="310" y="57"/>
                  </a:lnTo>
                  <a:lnTo>
                    <a:pt x="322" y="54"/>
                  </a:lnTo>
                  <a:lnTo>
                    <a:pt x="335" y="49"/>
                  </a:lnTo>
                  <a:lnTo>
                    <a:pt x="347" y="44"/>
                  </a:lnTo>
                  <a:lnTo>
                    <a:pt x="357" y="37"/>
                  </a:lnTo>
                  <a:lnTo>
                    <a:pt x="366" y="30"/>
                  </a:lnTo>
                  <a:lnTo>
                    <a:pt x="374" y="21"/>
                  </a:lnTo>
                  <a:lnTo>
                    <a:pt x="381" y="11"/>
                  </a:lnTo>
                  <a:lnTo>
                    <a:pt x="385" y="0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18" name="Freeform 465"/>
            <p:cNvSpPr>
              <a:spLocks/>
            </p:cNvSpPr>
            <p:nvPr>
              <p:custDataLst>
                <p:tags r:id="rId303"/>
              </p:custDataLst>
            </p:nvPr>
          </p:nvSpPr>
          <p:spPr bwMode="auto">
            <a:xfrm>
              <a:off x="5915657" y="3996177"/>
              <a:ext cx="158750" cy="206375"/>
            </a:xfrm>
            <a:custGeom>
              <a:avLst/>
              <a:gdLst>
                <a:gd name="T0" fmla="*/ 2147483647 w 359"/>
                <a:gd name="T1" fmla="*/ 2147483647 h 394"/>
                <a:gd name="T2" fmla="*/ 2147483647 w 359"/>
                <a:gd name="T3" fmla="*/ 2147483647 h 394"/>
                <a:gd name="T4" fmla="*/ 2147483647 w 359"/>
                <a:gd name="T5" fmla="*/ 2147483647 h 394"/>
                <a:gd name="T6" fmla="*/ 2147483647 w 359"/>
                <a:gd name="T7" fmla="*/ 2147483647 h 394"/>
                <a:gd name="T8" fmla="*/ 2147483647 w 359"/>
                <a:gd name="T9" fmla="*/ 2147483647 h 394"/>
                <a:gd name="T10" fmla="*/ 2147483647 w 359"/>
                <a:gd name="T11" fmla="*/ 2147483647 h 394"/>
                <a:gd name="T12" fmla="*/ 2147483647 w 359"/>
                <a:gd name="T13" fmla="*/ 2147483647 h 394"/>
                <a:gd name="T14" fmla="*/ 0 w 359"/>
                <a:gd name="T15" fmla="*/ 2147483647 h 394"/>
                <a:gd name="T16" fmla="*/ 2147483647 w 359"/>
                <a:gd name="T17" fmla="*/ 2147483647 h 394"/>
                <a:gd name="T18" fmla="*/ 2147483647 w 359"/>
                <a:gd name="T19" fmla="*/ 2147483647 h 394"/>
                <a:gd name="T20" fmla="*/ 2147483647 w 359"/>
                <a:gd name="T21" fmla="*/ 2147483647 h 394"/>
                <a:gd name="T22" fmla="*/ 2147483647 w 359"/>
                <a:gd name="T23" fmla="*/ 2147483647 h 394"/>
                <a:gd name="T24" fmla="*/ 2147483647 w 359"/>
                <a:gd name="T25" fmla="*/ 2147483647 h 394"/>
                <a:gd name="T26" fmla="*/ 2147483647 w 359"/>
                <a:gd name="T27" fmla="*/ 2147483647 h 394"/>
                <a:gd name="T28" fmla="*/ 2147483647 w 359"/>
                <a:gd name="T29" fmla="*/ 2147483647 h 394"/>
                <a:gd name="T30" fmla="*/ 2147483647 w 359"/>
                <a:gd name="T31" fmla="*/ 2147483647 h 394"/>
                <a:gd name="T32" fmla="*/ 2147483647 w 359"/>
                <a:gd name="T33" fmla="*/ 2147483647 h 394"/>
                <a:gd name="T34" fmla="*/ 2147483647 w 359"/>
                <a:gd name="T35" fmla="*/ 2147483647 h 394"/>
                <a:gd name="T36" fmla="*/ 2147483647 w 359"/>
                <a:gd name="T37" fmla="*/ 0 h 394"/>
                <a:gd name="T38" fmla="*/ 2147483647 w 359"/>
                <a:gd name="T39" fmla="*/ 2147483647 h 394"/>
                <a:gd name="T40" fmla="*/ 2147483647 w 359"/>
                <a:gd name="T41" fmla="*/ 2147483647 h 394"/>
                <a:gd name="T42" fmla="*/ 2147483647 w 359"/>
                <a:gd name="T43" fmla="*/ 2147483647 h 394"/>
                <a:gd name="T44" fmla="*/ 2147483647 w 359"/>
                <a:gd name="T45" fmla="*/ 2147483647 h 394"/>
                <a:gd name="T46" fmla="*/ 2147483647 w 359"/>
                <a:gd name="T47" fmla="*/ 2147483647 h 394"/>
                <a:gd name="T48" fmla="*/ 2147483647 w 359"/>
                <a:gd name="T49" fmla="*/ 2147483647 h 394"/>
                <a:gd name="T50" fmla="*/ 2147483647 w 359"/>
                <a:gd name="T51" fmla="*/ 2147483647 h 394"/>
                <a:gd name="T52" fmla="*/ 2147483647 w 359"/>
                <a:gd name="T53" fmla="*/ 2147483647 h 394"/>
                <a:gd name="T54" fmla="*/ 2147483647 w 359"/>
                <a:gd name="T55" fmla="*/ 2147483647 h 394"/>
                <a:gd name="T56" fmla="*/ 2147483647 w 359"/>
                <a:gd name="T57" fmla="*/ 2147483647 h 394"/>
                <a:gd name="T58" fmla="*/ 2147483647 w 359"/>
                <a:gd name="T59" fmla="*/ 2147483647 h 394"/>
                <a:gd name="T60" fmla="*/ 2147483647 w 359"/>
                <a:gd name="T61" fmla="*/ 2147483647 h 394"/>
                <a:gd name="T62" fmla="*/ 2147483647 w 359"/>
                <a:gd name="T63" fmla="*/ 2147483647 h 394"/>
                <a:gd name="T64" fmla="*/ 2147483647 w 359"/>
                <a:gd name="T65" fmla="*/ 2147483647 h 394"/>
                <a:gd name="T66" fmla="*/ 2147483647 w 359"/>
                <a:gd name="T67" fmla="*/ 2147483647 h 394"/>
                <a:gd name="T68" fmla="*/ 2147483647 w 359"/>
                <a:gd name="T69" fmla="*/ 2147483647 h 394"/>
                <a:gd name="T70" fmla="*/ 2147483647 w 359"/>
                <a:gd name="T71" fmla="*/ 2147483647 h 394"/>
                <a:gd name="T72" fmla="*/ 2147483647 w 359"/>
                <a:gd name="T73" fmla="*/ 2147483647 h 394"/>
                <a:gd name="T74" fmla="*/ 2147483647 w 359"/>
                <a:gd name="T75" fmla="*/ 2147483647 h 394"/>
                <a:gd name="T76" fmla="*/ 2147483647 w 359"/>
                <a:gd name="T77" fmla="*/ 2147483647 h 394"/>
                <a:gd name="T78" fmla="*/ 2147483647 w 359"/>
                <a:gd name="T79" fmla="*/ 2147483647 h 394"/>
                <a:gd name="T80" fmla="*/ 2147483647 w 359"/>
                <a:gd name="T81" fmla="*/ 2147483647 h 394"/>
                <a:gd name="T82" fmla="*/ 2147483647 w 359"/>
                <a:gd name="T83" fmla="*/ 2147483647 h 394"/>
                <a:gd name="T84" fmla="*/ 2147483647 w 359"/>
                <a:gd name="T85" fmla="*/ 2147483647 h 394"/>
                <a:gd name="T86" fmla="*/ 2147483647 w 359"/>
                <a:gd name="T87" fmla="*/ 2147483647 h 394"/>
                <a:gd name="T88" fmla="*/ 2147483647 w 359"/>
                <a:gd name="T89" fmla="*/ 2147483647 h 394"/>
                <a:gd name="T90" fmla="*/ 2147483647 w 359"/>
                <a:gd name="T91" fmla="*/ 2147483647 h 394"/>
                <a:gd name="T92" fmla="*/ 2147483647 w 359"/>
                <a:gd name="T93" fmla="*/ 2147483647 h 394"/>
                <a:gd name="T94" fmla="*/ 2147483647 w 359"/>
                <a:gd name="T95" fmla="*/ 2147483647 h 394"/>
                <a:gd name="T96" fmla="*/ 2147483647 w 359"/>
                <a:gd name="T97" fmla="*/ 2147483647 h 394"/>
                <a:gd name="T98" fmla="*/ 2147483647 w 359"/>
                <a:gd name="T99" fmla="*/ 2147483647 h 394"/>
                <a:gd name="T100" fmla="*/ 2147483647 w 359"/>
                <a:gd name="T101" fmla="*/ 2147483647 h 394"/>
                <a:gd name="T102" fmla="*/ 2147483647 w 359"/>
                <a:gd name="T103" fmla="*/ 2147483647 h 394"/>
                <a:gd name="T104" fmla="*/ 2147483647 w 359"/>
                <a:gd name="T105" fmla="*/ 2147483647 h 394"/>
                <a:gd name="T106" fmla="*/ 2147483647 w 359"/>
                <a:gd name="T107" fmla="*/ 2147483647 h 394"/>
                <a:gd name="T108" fmla="*/ 2147483647 w 359"/>
                <a:gd name="T109" fmla="*/ 2147483647 h 394"/>
                <a:gd name="T110" fmla="*/ 2147483647 w 359"/>
                <a:gd name="T111" fmla="*/ 2147483647 h 394"/>
                <a:gd name="T112" fmla="*/ 2147483647 w 359"/>
                <a:gd name="T113" fmla="*/ 2147483647 h 394"/>
                <a:gd name="T114" fmla="*/ 2147483647 w 359"/>
                <a:gd name="T115" fmla="*/ 2147483647 h 39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59" h="394">
                  <a:moveTo>
                    <a:pt x="53" y="394"/>
                  </a:moveTo>
                  <a:lnTo>
                    <a:pt x="53" y="382"/>
                  </a:lnTo>
                  <a:lnTo>
                    <a:pt x="53" y="370"/>
                  </a:lnTo>
                  <a:lnTo>
                    <a:pt x="53" y="358"/>
                  </a:lnTo>
                  <a:lnTo>
                    <a:pt x="53" y="346"/>
                  </a:lnTo>
                  <a:lnTo>
                    <a:pt x="53" y="333"/>
                  </a:lnTo>
                  <a:lnTo>
                    <a:pt x="52" y="322"/>
                  </a:lnTo>
                  <a:lnTo>
                    <a:pt x="50" y="312"/>
                  </a:lnTo>
                  <a:lnTo>
                    <a:pt x="46" y="302"/>
                  </a:lnTo>
                  <a:lnTo>
                    <a:pt x="43" y="293"/>
                  </a:lnTo>
                  <a:lnTo>
                    <a:pt x="40" y="284"/>
                  </a:lnTo>
                  <a:lnTo>
                    <a:pt x="35" y="277"/>
                  </a:lnTo>
                  <a:lnTo>
                    <a:pt x="32" y="270"/>
                  </a:lnTo>
                  <a:lnTo>
                    <a:pt x="13" y="245"/>
                  </a:lnTo>
                  <a:lnTo>
                    <a:pt x="0" y="222"/>
                  </a:lnTo>
                  <a:lnTo>
                    <a:pt x="0" y="185"/>
                  </a:lnTo>
                  <a:lnTo>
                    <a:pt x="27" y="185"/>
                  </a:lnTo>
                  <a:lnTo>
                    <a:pt x="33" y="181"/>
                  </a:lnTo>
                  <a:lnTo>
                    <a:pt x="38" y="174"/>
                  </a:lnTo>
                  <a:lnTo>
                    <a:pt x="40" y="169"/>
                  </a:lnTo>
                  <a:lnTo>
                    <a:pt x="41" y="163"/>
                  </a:lnTo>
                  <a:lnTo>
                    <a:pt x="41" y="150"/>
                  </a:lnTo>
                  <a:lnTo>
                    <a:pt x="40" y="136"/>
                  </a:lnTo>
                  <a:lnTo>
                    <a:pt x="38" y="107"/>
                  </a:lnTo>
                  <a:lnTo>
                    <a:pt x="32" y="79"/>
                  </a:lnTo>
                  <a:lnTo>
                    <a:pt x="31" y="65"/>
                  </a:lnTo>
                  <a:lnTo>
                    <a:pt x="31" y="52"/>
                  </a:lnTo>
                  <a:lnTo>
                    <a:pt x="32" y="47"/>
                  </a:lnTo>
                  <a:lnTo>
                    <a:pt x="34" y="41"/>
                  </a:lnTo>
                  <a:lnTo>
                    <a:pt x="36" y="36"/>
                  </a:lnTo>
                  <a:lnTo>
                    <a:pt x="40" y="31"/>
                  </a:lnTo>
                  <a:lnTo>
                    <a:pt x="120" y="31"/>
                  </a:lnTo>
                  <a:lnTo>
                    <a:pt x="120" y="27"/>
                  </a:lnTo>
                  <a:lnTo>
                    <a:pt x="122" y="22"/>
                  </a:lnTo>
                  <a:lnTo>
                    <a:pt x="124" y="18"/>
                  </a:lnTo>
                  <a:lnTo>
                    <a:pt x="128" y="14"/>
                  </a:lnTo>
                  <a:lnTo>
                    <a:pt x="133" y="6"/>
                  </a:lnTo>
                  <a:lnTo>
                    <a:pt x="140" y="0"/>
                  </a:lnTo>
                  <a:lnTo>
                    <a:pt x="141" y="9"/>
                  </a:lnTo>
                  <a:lnTo>
                    <a:pt x="142" y="18"/>
                  </a:lnTo>
                  <a:lnTo>
                    <a:pt x="143" y="22"/>
                  </a:lnTo>
                  <a:lnTo>
                    <a:pt x="142" y="26"/>
                  </a:lnTo>
                  <a:lnTo>
                    <a:pt x="142" y="29"/>
                  </a:lnTo>
                  <a:lnTo>
                    <a:pt x="140" y="31"/>
                  </a:lnTo>
                  <a:lnTo>
                    <a:pt x="153" y="31"/>
                  </a:lnTo>
                  <a:lnTo>
                    <a:pt x="168" y="31"/>
                  </a:lnTo>
                  <a:lnTo>
                    <a:pt x="180" y="31"/>
                  </a:lnTo>
                  <a:lnTo>
                    <a:pt x="186" y="31"/>
                  </a:lnTo>
                  <a:lnTo>
                    <a:pt x="202" y="34"/>
                  </a:lnTo>
                  <a:lnTo>
                    <a:pt x="214" y="38"/>
                  </a:lnTo>
                  <a:lnTo>
                    <a:pt x="224" y="43"/>
                  </a:lnTo>
                  <a:lnTo>
                    <a:pt x="233" y="49"/>
                  </a:lnTo>
                  <a:lnTo>
                    <a:pt x="240" y="53"/>
                  </a:lnTo>
                  <a:lnTo>
                    <a:pt x="246" y="58"/>
                  </a:lnTo>
                  <a:lnTo>
                    <a:pt x="252" y="60"/>
                  </a:lnTo>
                  <a:lnTo>
                    <a:pt x="259" y="61"/>
                  </a:lnTo>
                  <a:lnTo>
                    <a:pt x="264" y="61"/>
                  </a:lnTo>
                  <a:lnTo>
                    <a:pt x="268" y="59"/>
                  </a:lnTo>
                  <a:lnTo>
                    <a:pt x="271" y="57"/>
                  </a:lnTo>
                  <a:lnTo>
                    <a:pt x="275" y="54"/>
                  </a:lnTo>
                  <a:lnTo>
                    <a:pt x="280" y="46"/>
                  </a:lnTo>
                  <a:lnTo>
                    <a:pt x="286" y="37"/>
                  </a:lnTo>
                  <a:lnTo>
                    <a:pt x="300" y="44"/>
                  </a:lnTo>
                  <a:lnTo>
                    <a:pt x="312" y="52"/>
                  </a:lnTo>
                  <a:lnTo>
                    <a:pt x="319" y="55"/>
                  </a:lnTo>
                  <a:lnTo>
                    <a:pt x="325" y="59"/>
                  </a:lnTo>
                  <a:lnTo>
                    <a:pt x="332" y="61"/>
                  </a:lnTo>
                  <a:lnTo>
                    <a:pt x="338" y="61"/>
                  </a:lnTo>
                  <a:lnTo>
                    <a:pt x="359" y="148"/>
                  </a:lnTo>
                  <a:lnTo>
                    <a:pt x="353" y="161"/>
                  </a:lnTo>
                  <a:lnTo>
                    <a:pt x="346" y="173"/>
                  </a:lnTo>
                  <a:lnTo>
                    <a:pt x="338" y="185"/>
                  </a:lnTo>
                  <a:lnTo>
                    <a:pt x="331" y="195"/>
                  </a:lnTo>
                  <a:lnTo>
                    <a:pt x="323" y="206"/>
                  </a:lnTo>
                  <a:lnTo>
                    <a:pt x="318" y="218"/>
                  </a:lnTo>
                  <a:lnTo>
                    <a:pt x="315" y="224"/>
                  </a:lnTo>
                  <a:lnTo>
                    <a:pt x="314" y="231"/>
                  </a:lnTo>
                  <a:lnTo>
                    <a:pt x="313" y="239"/>
                  </a:lnTo>
                  <a:lnTo>
                    <a:pt x="312" y="247"/>
                  </a:lnTo>
                  <a:lnTo>
                    <a:pt x="313" y="255"/>
                  </a:lnTo>
                  <a:lnTo>
                    <a:pt x="316" y="263"/>
                  </a:lnTo>
                  <a:lnTo>
                    <a:pt x="321" y="273"/>
                  </a:lnTo>
                  <a:lnTo>
                    <a:pt x="325" y="283"/>
                  </a:lnTo>
                  <a:lnTo>
                    <a:pt x="331" y="293"/>
                  </a:lnTo>
                  <a:lnTo>
                    <a:pt x="335" y="302"/>
                  </a:lnTo>
                  <a:lnTo>
                    <a:pt x="337" y="309"/>
                  </a:lnTo>
                  <a:lnTo>
                    <a:pt x="338" y="315"/>
                  </a:lnTo>
                  <a:lnTo>
                    <a:pt x="337" y="321"/>
                  </a:lnTo>
                  <a:lnTo>
                    <a:pt x="332" y="331"/>
                  </a:lnTo>
                  <a:lnTo>
                    <a:pt x="330" y="337"/>
                  </a:lnTo>
                  <a:lnTo>
                    <a:pt x="327" y="343"/>
                  </a:lnTo>
                  <a:lnTo>
                    <a:pt x="326" y="351"/>
                  </a:lnTo>
                  <a:lnTo>
                    <a:pt x="325" y="358"/>
                  </a:lnTo>
                  <a:lnTo>
                    <a:pt x="319" y="358"/>
                  </a:lnTo>
                  <a:lnTo>
                    <a:pt x="313" y="357"/>
                  </a:lnTo>
                  <a:lnTo>
                    <a:pt x="308" y="356"/>
                  </a:lnTo>
                  <a:lnTo>
                    <a:pt x="304" y="354"/>
                  </a:lnTo>
                  <a:lnTo>
                    <a:pt x="298" y="350"/>
                  </a:lnTo>
                  <a:lnTo>
                    <a:pt x="292" y="346"/>
                  </a:lnTo>
                  <a:lnTo>
                    <a:pt x="287" y="340"/>
                  </a:lnTo>
                  <a:lnTo>
                    <a:pt x="280" y="336"/>
                  </a:lnTo>
                  <a:lnTo>
                    <a:pt x="277" y="335"/>
                  </a:lnTo>
                  <a:lnTo>
                    <a:pt x="271" y="334"/>
                  </a:lnTo>
                  <a:lnTo>
                    <a:pt x="266" y="333"/>
                  </a:lnTo>
                  <a:lnTo>
                    <a:pt x="259" y="333"/>
                  </a:lnTo>
                  <a:lnTo>
                    <a:pt x="246" y="333"/>
                  </a:lnTo>
                  <a:lnTo>
                    <a:pt x="234" y="334"/>
                  </a:lnTo>
                  <a:lnTo>
                    <a:pt x="221" y="336"/>
                  </a:lnTo>
                  <a:lnTo>
                    <a:pt x="208" y="338"/>
                  </a:lnTo>
                  <a:lnTo>
                    <a:pt x="181" y="343"/>
                  </a:lnTo>
                  <a:lnTo>
                    <a:pt x="155" y="351"/>
                  </a:lnTo>
                  <a:lnTo>
                    <a:pt x="131" y="359"/>
                  </a:lnTo>
                  <a:lnTo>
                    <a:pt x="107" y="367"/>
                  </a:lnTo>
                  <a:lnTo>
                    <a:pt x="86" y="375"/>
                  </a:lnTo>
                  <a:lnTo>
                    <a:pt x="66" y="382"/>
                  </a:lnTo>
                  <a:lnTo>
                    <a:pt x="53" y="39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19" name="Freeform 466"/>
            <p:cNvSpPr>
              <a:spLocks/>
            </p:cNvSpPr>
            <p:nvPr>
              <p:custDataLst>
                <p:tags r:id="rId304"/>
              </p:custDataLst>
            </p:nvPr>
          </p:nvSpPr>
          <p:spPr bwMode="auto">
            <a:xfrm>
              <a:off x="6984044" y="4191439"/>
              <a:ext cx="192088" cy="271463"/>
            </a:xfrm>
            <a:custGeom>
              <a:avLst/>
              <a:gdLst>
                <a:gd name="T0" fmla="*/ 2147483647 w 449"/>
                <a:gd name="T1" fmla="*/ 2147483647 h 523"/>
                <a:gd name="T2" fmla="*/ 2147483647 w 449"/>
                <a:gd name="T3" fmla="*/ 2147483647 h 523"/>
                <a:gd name="T4" fmla="*/ 2147483647 w 449"/>
                <a:gd name="T5" fmla="*/ 2147483647 h 523"/>
                <a:gd name="T6" fmla="*/ 2147483647 w 449"/>
                <a:gd name="T7" fmla="*/ 2147483647 h 523"/>
                <a:gd name="T8" fmla="*/ 2147483647 w 449"/>
                <a:gd name="T9" fmla="*/ 2147483647 h 523"/>
                <a:gd name="T10" fmla="*/ 2147483647 w 449"/>
                <a:gd name="T11" fmla="*/ 2147483647 h 523"/>
                <a:gd name="T12" fmla="*/ 2147483647 w 449"/>
                <a:gd name="T13" fmla="*/ 2147483647 h 523"/>
                <a:gd name="T14" fmla="*/ 2147483647 w 449"/>
                <a:gd name="T15" fmla="*/ 2147483647 h 523"/>
                <a:gd name="T16" fmla="*/ 2147483647 w 449"/>
                <a:gd name="T17" fmla="*/ 2147483647 h 523"/>
                <a:gd name="T18" fmla="*/ 2147483647 w 449"/>
                <a:gd name="T19" fmla="*/ 2147483647 h 523"/>
                <a:gd name="T20" fmla="*/ 2147483647 w 449"/>
                <a:gd name="T21" fmla="*/ 2147483647 h 523"/>
                <a:gd name="T22" fmla="*/ 2147483647 w 449"/>
                <a:gd name="T23" fmla="*/ 2147483647 h 523"/>
                <a:gd name="T24" fmla="*/ 2147483647 w 449"/>
                <a:gd name="T25" fmla="*/ 2147483647 h 523"/>
                <a:gd name="T26" fmla="*/ 2147483647 w 449"/>
                <a:gd name="T27" fmla="*/ 2147483647 h 523"/>
                <a:gd name="T28" fmla="*/ 2147483647 w 449"/>
                <a:gd name="T29" fmla="*/ 2147483647 h 523"/>
                <a:gd name="T30" fmla="*/ 2147483647 w 449"/>
                <a:gd name="T31" fmla="*/ 2147483647 h 523"/>
                <a:gd name="T32" fmla="*/ 2147483647 w 449"/>
                <a:gd name="T33" fmla="*/ 2147483647 h 523"/>
                <a:gd name="T34" fmla="*/ 2147483647 w 449"/>
                <a:gd name="T35" fmla="*/ 2147483647 h 523"/>
                <a:gd name="T36" fmla="*/ 2147483647 w 449"/>
                <a:gd name="T37" fmla="*/ 2147483647 h 523"/>
                <a:gd name="T38" fmla="*/ 2147483647 w 449"/>
                <a:gd name="T39" fmla="*/ 2147483647 h 523"/>
                <a:gd name="T40" fmla="*/ 2147483647 w 449"/>
                <a:gd name="T41" fmla="*/ 2147483647 h 523"/>
                <a:gd name="T42" fmla="*/ 2147483647 w 449"/>
                <a:gd name="T43" fmla="*/ 2147483647 h 523"/>
                <a:gd name="T44" fmla="*/ 2147483647 w 449"/>
                <a:gd name="T45" fmla="*/ 2147483647 h 523"/>
                <a:gd name="T46" fmla="*/ 2147483647 w 449"/>
                <a:gd name="T47" fmla="*/ 2147483647 h 523"/>
                <a:gd name="T48" fmla="*/ 2147483647 w 449"/>
                <a:gd name="T49" fmla="*/ 2147483647 h 523"/>
                <a:gd name="T50" fmla="*/ 2147483647 w 449"/>
                <a:gd name="T51" fmla="*/ 0 h 523"/>
                <a:gd name="T52" fmla="*/ 2147483647 w 449"/>
                <a:gd name="T53" fmla="*/ 0 h 523"/>
                <a:gd name="T54" fmla="*/ 2147483647 w 449"/>
                <a:gd name="T55" fmla="*/ 0 h 523"/>
                <a:gd name="T56" fmla="*/ 2147483647 w 449"/>
                <a:gd name="T57" fmla="*/ 2147483647 h 523"/>
                <a:gd name="T58" fmla="*/ 2147483647 w 449"/>
                <a:gd name="T59" fmla="*/ 2147483647 h 523"/>
                <a:gd name="T60" fmla="*/ 2147483647 w 449"/>
                <a:gd name="T61" fmla="*/ 2147483647 h 523"/>
                <a:gd name="T62" fmla="*/ 2147483647 w 449"/>
                <a:gd name="T63" fmla="*/ 2147483647 h 523"/>
                <a:gd name="T64" fmla="*/ 2147483647 w 449"/>
                <a:gd name="T65" fmla="*/ 2147483647 h 523"/>
                <a:gd name="T66" fmla="*/ 2147483647 w 449"/>
                <a:gd name="T67" fmla="*/ 2147483647 h 523"/>
                <a:gd name="T68" fmla="*/ 2147483647 w 449"/>
                <a:gd name="T69" fmla="*/ 2147483647 h 523"/>
                <a:gd name="T70" fmla="*/ 2147483647 w 449"/>
                <a:gd name="T71" fmla="*/ 2147483647 h 523"/>
                <a:gd name="T72" fmla="*/ 2147483647 w 449"/>
                <a:gd name="T73" fmla="*/ 2147483647 h 523"/>
                <a:gd name="T74" fmla="*/ 2147483647 w 449"/>
                <a:gd name="T75" fmla="*/ 2147483647 h 523"/>
                <a:gd name="T76" fmla="*/ 2147483647 w 449"/>
                <a:gd name="T77" fmla="*/ 2147483647 h 523"/>
                <a:gd name="T78" fmla="*/ 2147483647 w 449"/>
                <a:gd name="T79" fmla="*/ 2147483647 h 523"/>
                <a:gd name="T80" fmla="*/ 2147483647 w 449"/>
                <a:gd name="T81" fmla="*/ 2147483647 h 523"/>
                <a:gd name="T82" fmla="*/ 2147483647 w 449"/>
                <a:gd name="T83" fmla="*/ 2147483647 h 523"/>
                <a:gd name="T84" fmla="*/ 2147483647 w 449"/>
                <a:gd name="T85" fmla="*/ 2147483647 h 523"/>
                <a:gd name="T86" fmla="*/ 2147483647 w 449"/>
                <a:gd name="T87" fmla="*/ 2147483647 h 523"/>
                <a:gd name="T88" fmla="*/ 2147483647 w 449"/>
                <a:gd name="T89" fmla="*/ 2147483647 h 523"/>
                <a:gd name="T90" fmla="*/ 2147483647 w 449"/>
                <a:gd name="T91" fmla="*/ 2147483647 h 523"/>
                <a:gd name="T92" fmla="*/ 2147483647 w 449"/>
                <a:gd name="T93" fmla="*/ 2147483647 h 523"/>
                <a:gd name="T94" fmla="*/ 2147483647 w 449"/>
                <a:gd name="T95" fmla="*/ 2147483647 h 523"/>
                <a:gd name="T96" fmla="*/ 2147483647 w 449"/>
                <a:gd name="T97" fmla="*/ 2147483647 h 523"/>
                <a:gd name="T98" fmla="*/ 2147483647 w 449"/>
                <a:gd name="T99" fmla="*/ 2147483647 h 523"/>
                <a:gd name="T100" fmla="*/ 2147483647 w 449"/>
                <a:gd name="T101" fmla="*/ 2147483647 h 523"/>
                <a:gd name="T102" fmla="*/ 2147483647 w 449"/>
                <a:gd name="T103" fmla="*/ 2147483647 h 523"/>
                <a:gd name="T104" fmla="*/ 2147483647 w 449"/>
                <a:gd name="T105" fmla="*/ 2147483647 h 523"/>
                <a:gd name="T106" fmla="*/ 2147483647 w 449"/>
                <a:gd name="T107" fmla="*/ 2147483647 h 523"/>
                <a:gd name="T108" fmla="*/ 2147483647 w 449"/>
                <a:gd name="T109" fmla="*/ 2147483647 h 52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49" h="523">
                  <a:moveTo>
                    <a:pt x="410" y="370"/>
                  </a:moveTo>
                  <a:lnTo>
                    <a:pt x="410" y="105"/>
                  </a:lnTo>
                  <a:lnTo>
                    <a:pt x="407" y="102"/>
                  </a:lnTo>
                  <a:lnTo>
                    <a:pt x="405" y="98"/>
                  </a:lnTo>
                  <a:lnTo>
                    <a:pt x="405" y="95"/>
                  </a:lnTo>
                  <a:lnTo>
                    <a:pt x="408" y="92"/>
                  </a:lnTo>
                  <a:lnTo>
                    <a:pt x="413" y="84"/>
                  </a:lnTo>
                  <a:lnTo>
                    <a:pt x="422" y="77"/>
                  </a:lnTo>
                  <a:lnTo>
                    <a:pt x="432" y="70"/>
                  </a:lnTo>
                  <a:lnTo>
                    <a:pt x="441" y="60"/>
                  </a:lnTo>
                  <a:lnTo>
                    <a:pt x="444" y="55"/>
                  </a:lnTo>
                  <a:lnTo>
                    <a:pt x="447" y="50"/>
                  </a:lnTo>
                  <a:lnTo>
                    <a:pt x="448" y="44"/>
                  </a:lnTo>
                  <a:lnTo>
                    <a:pt x="449" y="37"/>
                  </a:lnTo>
                  <a:lnTo>
                    <a:pt x="438" y="37"/>
                  </a:lnTo>
                  <a:lnTo>
                    <a:pt x="432" y="34"/>
                  </a:lnTo>
                  <a:lnTo>
                    <a:pt x="426" y="32"/>
                  </a:lnTo>
                  <a:lnTo>
                    <a:pt x="422" y="27"/>
                  </a:lnTo>
                  <a:lnTo>
                    <a:pt x="418" y="24"/>
                  </a:lnTo>
                  <a:lnTo>
                    <a:pt x="411" y="21"/>
                  </a:lnTo>
                  <a:lnTo>
                    <a:pt x="402" y="19"/>
                  </a:lnTo>
                  <a:lnTo>
                    <a:pt x="390" y="18"/>
                  </a:lnTo>
                  <a:lnTo>
                    <a:pt x="382" y="19"/>
                  </a:lnTo>
                  <a:lnTo>
                    <a:pt x="377" y="20"/>
                  </a:lnTo>
                  <a:lnTo>
                    <a:pt x="371" y="22"/>
                  </a:lnTo>
                  <a:lnTo>
                    <a:pt x="368" y="24"/>
                  </a:lnTo>
                  <a:lnTo>
                    <a:pt x="360" y="31"/>
                  </a:lnTo>
                  <a:lnTo>
                    <a:pt x="355" y="37"/>
                  </a:lnTo>
                  <a:lnTo>
                    <a:pt x="348" y="44"/>
                  </a:lnTo>
                  <a:lnTo>
                    <a:pt x="340" y="50"/>
                  </a:lnTo>
                  <a:lnTo>
                    <a:pt x="333" y="52"/>
                  </a:lnTo>
                  <a:lnTo>
                    <a:pt x="326" y="54"/>
                  </a:lnTo>
                  <a:lnTo>
                    <a:pt x="319" y="55"/>
                  </a:lnTo>
                  <a:lnTo>
                    <a:pt x="310" y="55"/>
                  </a:lnTo>
                  <a:lnTo>
                    <a:pt x="298" y="55"/>
                  </a:lnTo>
                  <a:lnTo>
                    <a:pt x="287" y="54"/>
                  </a:lnTo>
                  <a:lnTo>
                    <a:pt x="277" y="52"/>
                  </a:lnTo>
                  <a:lnTo>
                    <a:pt x="267" y="50"/>
                  </a:lnTo>
                  <a:lnTo>
                    <a:pt x="251" y="43"/>
                  </a:lnTo>
                  <a:lnTo>
                    <a:pt x="235" y="36"/>
                  </a:lnTo>
                  <a:lnTo>
                    <a:pt x="220" y="27"/>
                  </a:lnTo>
                  <a:lnTo>
                    <a:pt x="206" y="19"/>
                  </a:lnTo>
                  <a:lnTo>
                    <a:pt x="197" y="15"/>
                  </a:lnTo>
                  <a:lnTo>
                    <a:pt x="189" y="12"/>
                  </a:lnTo>
                  <a:lnTo>
                    <a:pt x="180" y="9"/>
                  </a:lnTo>
                  <a:lnTo>
                    <a:pt x="170" y="6"/>
                  </a:lnTo>
                  <a:lnTo>
                    <a:pt x="152" y="7"/>
                  </a:lnTo>
                  <a:lnTo>
                    <a:pt x="134" y="8"/>
                  </a:lnTo>
                  <a:lnTo>
                    <a:pt x="127" y="7"/>
                  </a:lnTo>
                  <a:lnTo>
                    <a:pt x="119" y="6"/>
                  </a:lnTo>
                  <a:lnTo>
                    <a:pt x="111" y="4"/>
                  </a:lnTo>
                  <a:lnTo>
                    <a:pt x="103" y="0"/>
                  </a:lnTo>
                  <a:lnTo>
                    <a:pt x="80" y="0"/>
                  </a:lnTo>
                  <a:lnTo>
                    <a:pt x="52" y="0"/>
                  </a:lnTo>
                  <a:lnTo>
                    <a:pt x="24" y="0"/>
                  </a:lnTo>
                  <a:lnTo>
                    <a:pt x="5" y="0"/>
                  </a:lnTo>
                  <a:lnTo>
                    <a:pt x="5" y="7"/>
                  </a:lnTo>
                  <a:lnTo>
                    <a:pt x="5" y="18"/>
                  </a:lnTo>
                  <a:lnTo>
                    <a:pt x="5" y="29"/>
                  </a:lnTo>
                  <a:lnTo>
                    <a:pt x="5" y="37"/>
                  </a:lnTo>
                  <a:lnTo>
                    <a:pt x="9" y="47"/>
                  </a:lnTo>
                  <a:lnTo>
                    <a:pt x="15" y="60"/>
                  </a:lnTo>
                  <a:lnTo>
                    <a:pt x="19" y="74"/>
                  </a:lnTo>
                  <a:lnTo>
                    <a:pt x="23" y="91"/>
                  </a:lnTo>
                  <a:lnTo>
                    <a:pt x="28" y="109"/>
                  </a:lnTo>
                  <a:lnTo>
                    <a:pt x="31" y="128"/>
                  </a:lnTo>
                  <a:lnTo>
                    <a:pt x="34" y="150"/>
                  </a:lnTo>
                  <a:lnTo>
                    <a:pt x="38" y="172"/>
                  </a:lnTo>
                  <a:lnTo>
                    <a:pt x="38" y="190"/>
                  </a:lnTo>
                  <a:lnTo>
                    <a:pt x="37" y="206"/>
                  </a:lnTo>
                  <a:lnTo>
                    <a:pt x="33" y="219"/>
                  </a:lnTo>
                  <a:lnTo>
                    <a:pt x="29" y="230"/>
                  </a:lnTo>
                  <a:lnTo>
                    <a:pt x="18" y="249"/>
                  </a:lnTo>
                  <a:lnTo>
                    <a:pt x="7" y="269"/>
                  </a:lnTo>
                  <a:lnTo>
                    <a:pt x="17" y="284"/>
                  </a:lnTo>
                  <a:lnTo>
                    <a:pt x="10" y="321"/>
                  </a:lnTo>
                  <a:lnTo>
                    <a:pt x="0" y="328"/>
                  </a:lnTo>
                  <a:lnTo>
                    <a:pt x="28" y="339"/>
                  </a:lnTo>
                  <a:lnTo>
                    <a:pt x="55" y="352"/>
                  </a:lnTo>
                  <a:lnTo>
                    <a:pt x="84" y="367"/>
                  </a:lnTo>
                  <a:lnTo>
                    <a:pt x="111" y="381"/>
                  </a:lnTo>
                  <a:lnTo>
                    <a:pt x="136" y="396"/>
                  </a:lnTo>
                  <a:lnTo>
                    <a:pt x="159" y="411"/>
                  </a:lnTo>
                  <a:lnTo>
                    <a:pt x="170" y="420"/>
                  </a:lnTo>
                  <a:lnTo>
                    <a:pt x="180" y="428"/>
                  </a:lnTo>
                  <a:lnTo>
                    <a:pt x="189" y="436"/>
                  </a:lnTo>
                  <a:lnTo>
                    <a:pt x="197" y="444"/>
                  </a:lnTo>
                  <a:lnTo>
                    <a:pt x="198" y="451"/>
                  </a:lnTo>
                  <a:lnTo>
                    <a:pt x="199" y="457"/>
                  </a:lnTo>
                  <a:lnTo>
                    <a:pt x="201" y="464"/>
                  </a:lnTo>
                  <a:lnTo>
                    <a:pt x="205" y="471"/>
                  </a:lnTo>
                  <a:lnTo>
                    <a:pt x="209" y="479"/>
                  </a:lnTo>
                  <a:lnTo>
                    <a:pt x="214" y="486"/>
                  </a:lnTo>
                  <a:lnTo>
                    <a:pt x="220" y="492"/>
                  </a:lnTo>
                  <a:lnTo>
                    <a:pt x="226" y="498"/>
                  </a:lnTo>
                  <a:lnTo>
                    <a:pt x="233" y="503"/>
                  </a:lnTo>
                  <a:lnTo>
                    <a:pt x="240" y="508"/>
                  </a:lnTo>
                  <a:lnTo>
                    <a:pt x="247" y="512"/>
                  </a:lnTo>
                  <a:lnTo>
                    <a:pt x="256" y="516"/>
                  </a:lnTo>
                  <a:lnTo>
                    <a:pt x="264" y="519"/>
                  </a:lnTo>
                  <a:lnTo>
                    <a:pt x="273" y="521"/>
                  </a:lnTo>
                  <a:lnTo>
                    <a:pt x="281" y="523"/>
                  </a:lnTo>
                  <a:lnTo>
                    <a:pt x="290" y="523"/>
                  </a:lnTo>
                  <a:lnTo>
                    <a:pt x="304" y="502"/>
                  </a:lnTo>
                  <a:lnTo>
                    <a:pt x="320" y="482"/>
                  </a:lnTo>
                  <a:lnTo>
                    <a:pt x="335" y="462"/>
                  </a:lnTo>
                  <a:lnTo>
                    <a:pt x="349" y="444"/>
                  </a:lnTo>
                  <a:lnTo>
                    <a:pt x="365" y="427"/>
                  </a:lnTo>
                  <a:lnTo>
                    <a:pt x="379" y="408"/>
                  </a:lnTo>
                  <a:lnTo>
                    <a:pt x="394" y="390"/>
                  </a:lnTo>
                  <a:lnTo>
                    <a:pt x="410" y="37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20" name="Freeform 467"/>
            <p:cNvSpPr>
              <a:spLocks/>
            </p:cNvSpPr>
            <p:nvPr>
              <p:custDataLst>
                <p:tags r:id="rId305"/>
              </p:custDataLst>
            </p:nvPr>
          </p:nvSpPr>
          <p:spPr bwMode="auto">
            <a:xfrm>
              <a:off x="6966582" y="3277039"/>
              <a:ext cx="101600" cy="130175"/>
            </a:xfrm>
            <a:custGeom>
              <a:avLst/>
              <a:gdLst>
                <a:gd name="T0" fmla="*/ 2147483647 w 226"/>
                <a:gd name="T1" fmla="*/ 2147483647 h 246"/>
                <a:gd name="T2" fmla="*/ 2147483647 w 226"/>
                <a:gd name="T3" fmla="*/ 2147483647 h 246"/>
                <a:gd name="T4" fmla="*/ 2147483647 w 226"/>
                <a:gd name="T5" fmla="*/ 2147483647 h 246"/>
                <a:gd name="T6" fmla="*/ 2147483647 w 226"/>
                <a:gd name="T7" fmla="*/ 2147483647 h 246"/>
                <a:gd name="T8" fmla="*/ 2147483647 w 226"/>
                <a:gd name="T9" fmla="*/ 2147483647 h 246"/>
                <a:gd name="T10" fmla="*/ 2147483647 w 226"/>
                <a:gd name="T11" fmla="*/ 2147483647 h 246"/>
                <a:gd name="T12" fmla="*/ 2147483647 w 226"/>
                <a:gd name="T13" fmla="*/ 2147483647 h 246"/>
                <a:gd name="T14" fmla="*/ 2147483647 w 226"/>
                <a:gd name="T15" fmla="*/ 2147483647 h 246"/>
                <a:gd name="T16" fmla="*/ 2147483647 w 226"/>
                <a:gd name="T17" fmla="*/ 2147483647 h 246"/>
                <a:gd name="T18" fmla="*/ 2147483647 w 226"/>
                <a:gd name="T19" fmla="*/ 2147483647 h 246"/>
                <a:gd name="T20" fmla="*/ 2147483647 w 226"/>
                <a:gd name="T21" fmla="*/ 2147483647 h 246"/>
                <a:gd name="T22" fmla="*/ 2147483647 w 226"/>
                <a:gd name="T23" fmla="*/ 2147483647 h 246"/>
                <a:gd name="T24" fmla="*/ 2147483647 w 226"/>
                <a:gd name="T25" fmla="*/ 2147483647 h 246"/>
                <a:gd name="T26" fmla="*/ 2147483647 w 226"/>
                <a:gd name="T27" fmla="*/ 2147483647 h 246"/>
                <a:gd name="T28" fmla="*/ 2147483647 w 226"/>
                <a:gd name="T29" fmla="*/ 2147483647 h 246"/>
                <a:gd name="T30" fmla="*/ 2147483647 w 226"/>
                <a:gd name="T31" fmla="*/ 2147483647 h 246"/>
                <a:gd name="T32" fmla="*/ 2147483647 w 226"/>
                <a:gd name="T33" fmla="*/ 2147483647 h 246"/>
                <a:gd name="T34" fmla="*/ 2147483647 w 226"/>
                <a:gd name="T35" fmla="*/ 2147483647 h 246"/>
                <a:gd name="T36" fmla="*/ 2147483647 w 226"/>
                <a:gd name="T37" fmla="*/ 2147483647 h 246"/>
                <a:gd name="T38" fmla="*/ 2147483647 w 226"/>
                <a:gd name="T39" fmla="*/ 2147483647 h 246"/>
                <a:gd name="T40" fmla="*/ 2147483647 w 226"/>
                <a:gd name="T41" fmla="*/ 2147483647 h 246"/>
                <a:gd name="T42" fmla="*/ 2147483647 w 226"/>
                <a:gd name="T43" fmla="*/ 2147483647 h 246"/>
                <a:gd name="T44" fmla="*/ 2147483647 w 226"/>
                <a:gd name="T45" fmla="*/ 2147483647 h 246"/>
                <a:gd name="T46" fmla="*/ 2147483647 w 226"/>
                <a:gd name="T47" fmla="*/ 2147483647 h 246"/>
                <a:gd name="T48" fmla="*/ 2147483647 w 226"/>
                <a:gd name="T49" fmla="*/ 2147483647 h 246"/>
                <a:gd name="T50" fmla="*/ 2147483647 w 226"/>
                <a:gd name="T51" fmla="*/ 2147483647 h 246"/>
                <a:gd name="T52" fmla="*/ 2147483647 w 226"/>
                <a:gd name="T53" fmla="*/ 2147483647 h 246"/>
                <a:gd name="T54" fmla="*/ 2147483647 w 226"/>
                <a:gd name="T55" fmla="*/ 2147483647 h 246"/>
                <a:gd name="T56" fmla="*/ 2147483647 w 226"/>
                <a:gd name="T57" fmla="*/ 2147483647 h 246"/>
                <a:gd name="T58" fmla="*/ 2147483647 w 226"/>
                <a:gd name="T59" fmla="*/ 2147483647 h 246"/>
                <a:gd name="T60" fmla="*/ 2147483647 w 226"/>
                <a:gd name="T61" fmla="*/ 2147483647 h 246"/>
                <a:gd name="T62" fmla="*/ 2147483647 w 226"/>
                <a:gd name="T63" fmla="*/ 2147483647 h 246"/>
                <a:gd name="T64" fmla="*/ 2147483647 w 226"/>
                <a:gd name="T65" fmla="*/ 2147483647 h 246"/>
                <a:gd name="T66" fmla="*/ 2147483647 w 226"/>
                <a:gd name="T67" fmla="*/ 2147483647 h 24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6" h="246">
                  <a:moveTo>
                    <a:pt x="0" y="221"/>
                  </a:moveTo>
                  <a:lnTo>
                    <a:pt x="12" y="228"/>
                  </a:lnTo>
                  <a:lnTo>
                    <a:pt x="27" y="236"/>
                  </a:lnTo>
                  <a:lnTo>
                    <a:pt x="36" y="240"/>
                  </a:lnTo>
                  <a:lnTo>
                    <a:pt x="44" y="243"/>
                  </a:lnTo>
                  <a:lnTo>
                    <a:pt x="53" y="245"/>
                  </a:lnTo>
                  <a:lnTo>
                    <a:pt x="60" y="246"/>
                  </a:lnTo>
                  <a:lnTo>
                    <a:pt x="68" y="245"/>
                  </a:lnTo>
                  <a:lnTo>
                    <a:pt x="76" y="243"/>
                  </a:lnTo>
                  <a:lnTo>
                    <a:pt x="85" y="241"/>
                  </a:lnTo>
                  <a:lnTo>
                    <a:pt x="92" y="237"/>
                  </a:lnTo>
                  <a:lnTo>
                    <a:pt x="110" y="228"/>
                  </a:lnTo>
                  <a:lnTo>
                    <a:pt x="126" y="217"/>
                  </a:lnTo>
                  <a:lnTo>
                    <a:pt x="141" y="205"/>
                  </a:lnTo>
                  <a:lnTo>
                    <a:pt x="153" y="194"/>
                  </a:lnTo>
                  <a:lnTo>
                    <a:pt x="161" y="184"/>
                  </a:lnTo>
                  <a:lnTo>
                    <a:pt x="167" y="178"/>
                  </a:lnTo>
                  <a:lnTo>
                    <a:pt x="159" y="173"/>
                  </a:lnTo>
                  <a:lnTo>
                    <a:pt x="154" y="167"/>
                  </a:lnTo>
                  <a:lnTo>
                    <a:pt x="149" y="160"/>
                  </a:lnTo>
                  <a:lnTo>
                    <a:pt x="146" y="152"/>
                  </a:lnTo>
                  <a:lnTo>
                    <a:pt x="143" y="145"/>
                  </a:lnTo>
                  <a:lnTo>
                    <a:pt x="142" y="137"/>
                  </a:lnTo>
                  <a:lnTo>
                    <a:pt x="141" y="130"/>
                  </a:lnTo>
                  <a:lnTo>
                    <a:pt x="139" y="123"/>
                  </a:lnTo>
                  <a:lnTo>
                    <a:pt x="141" y="116"/>
                  </a:lnTo>
                  <a:lnTo>
                    <a:pt x="143" y="110"/>
                  </a:lnTo>
                  <a:lnTo>
                    <a:pt x="146" y="105"/>
                  </a:lnTo>
                  <a:lnTo>
                    <a:pt x="150" y="100"/>
                  </a:lnTo>
                  <a:lnTo>
                    <a:pt x="156" y="94"/>
                  </a:lnTo>
                  <a:lnTo>
                    <a:pt x="161" y="90"/>
                  </a:lnTo>
                  <a:lnTo>
                    <a:pt x="168" y="86"/>
                  </a:lnTo>
                  <a:lnTo>
                    <a:pt x="176" y="82"/>
                  </a:lnTo>
                  <a:lnTo>
                    <a:pt x="204" y="71"/>
                  </a:lnTo>
                  <a:lnTo>
                    <a:pt x="226" y="61"/>
                  </a:lnTo>
                  <a:lnTo>
                    <a:pt x="225" y="49"/>
                  </a:lnTo>
                  <a:lnTo>
                    <a:pt x="223" y="38"/>
                  </a:lnTo>
                  <a:lnTo>
                    <a:pt x="221" y="30"/>
                  </a:lnTo>
                  <a:lnTo>
                    <a:pt x="217" y="23"/>
                  </a:lnTo>
                  <a:lnTo>
                    <a:pt x="214" y="17"/>
                  </a:lnTo>
                  <a:lnTo>
                    <a:pt x="212" y="12"/>
                  </a:lnTo>
                  <a:lnTo>
                    <a:pt x="212" y="6"/>
                  </a:lnTo>
                  <a:lnTo>
                    <a:pt x="213" y="0"/>
                  </a:lnTo>
                  <a:lnTo>
                    <a:pt x="202" y="1"/>
                  </a:lnTo>
                  <a:lnTo>
                    <a:pt x="191" y="4"/>
                  </a:lnTo>
                  <a:lnTo>
                    <a:pt x="181" y="7"/>
                  </a:lnTo>
                  <a:lnTo>
                    <a:pt x="171" y="11"/>
                  </a:lnTo>
                  <a:lnTo>
                    <a:pt x="154" y="20"/>
                  </a:lnTo>
                  <a:lnTo>
                    <a:pt x="136" y="29"/>
                  </a:lnTo>
                  <a:lnTo>
                    <a:pt x="121" y="38"/>
                  </a:lnTo>
                  <a:lnTo>
                    <a:pt x="107" y="47"/>
                  </a:lnTo>
                  <a:lnTo>
                    <a:pt x="100" y="51"/>
                  </a:lnTo>
                  <a:lnTo>
                    <a:pt x="93" y="53"/>
                  </a:lnTo>
                  <a:lnTo>
                    <a:pt x="87" y="55"/>
                  </a:lnTo>
                  <a:lnTo>
                    <a:pt x="80" y="55"/>
                  </a:lnTo>
                  <a:lnTo>
                    <a:pt x="75" y="54"/>
                  </a:lnTo>
                  <a:lnTo>
                    <a:pt x="67" y="51"/>
                  </a:lnTo>
                  <a:lnTo>
                    <a:pt x="59" y="47"/>
                  </a:lnTo>
                  <a:lnTo>
                    <a:pt x="51" y="41"/>
                  </a:lnTo>
                  <a:lnTo>
                    <a:pt x="36" y="31"/>
                  </a:lnTo>
                  <a:lnTo>
                    <a:pt x="27" y="24"/>
                  </a:lnTo>
                  <a:lnTo>
                    <a:pt x="24" y="39"/>
                  </a:lnTo>
                  <a:lnTo>
                    <a:pt x="21" y="64"/>
                  </a:lnTo>
                  <a:lnTo>
                    <a:pt x="18" y="95"/>
                  </a:lnTo>
                  <a:lnTo>
                    <a:pt x="13" y="129"/>
                  </a:lnTo>
                  <a:lnTo>
                    <a:pt x="10" y="163"/>
                  </a:lnTo>
                  <a:lnTo>
                    <a:pt x="7" y="191"/>
                  </a:lnTo>
                  <a:lnTo>
                    <a:pt x="3" y="212"/>
                  </a:lnTo>
                  <a:lnTo>
                    <a:pt x="0" y="22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21" name="Freeform 468"/>
            <p:cNvSpPr>
              <a:spLocks/>
            </p:cNvSpPr>
            <p:nvPr>
              <p:custDataLst>
                <p:tags r:id="rId306"/>
              </p:custDataLst>
            </p:nvPr>
          </p:nvSpPr>
          <p:spPr bwMode="auto">
            <a:xfrm>
              <a:off x="7265032" y="3380227"/>
              <a:ext cx="22225" cy="55562"/>
            </a:xfrm>
            <a:custGeom>
              <a:avLst/>
              <a:gdLst>
                <a:gd name="T0" fmla="*/ 2147483647 w 60"/>
                <a:gd name="T1" fmla="*/ 0 h 81"/>
                <a:gd name="T2" fmla="*/ 2147483647 w 60"/>
                <a:gd name="T3" fmla="*/ 2147483647 h 81"/>
                <a:gd name="T4" fmla="*/ 2147483647 w 60"/>
                <a:gd name="T5" fmla="*/ 2147483647 h 81"/>
                <a:gd name="T6" fmla="*/ 2147483647 w 60"/>
                <a:gd name="T7" fmla="*/ 2147483647 h 81"/>
                <a:gd name="T8" fmla="*/ 2147483647 w 60"/>
                <a:gd name="T9" fmla="*/ 2147483647 h 81"/>
                <a:gd name="T10" fmla="*/ 2147483647 w 60"/>
                <a:gd name="T11" fmla="*/ 2147483647 h 81"/>
                <a:gd name="T12" fmla="*/ 2147483647 w 60"/>
                <a:gd name="T13" fmla="*/ 0 h 81"/>
                <a:gd name="T14" fmla="*/ 2147483647 w 60"/>
                <a:gd name="T15" fmla="*/ 2147483647 h 81"/>
                <a:gd name="T16" fmla="*/ 2147483647 w 60"/>
                <a:gd name="T17" fmla="*/ 2147483647 h 81"/>
                <a:gd name="T18" fmla="*/ 2147483647 w 60"/>
                <a:gd name="T19" fmla="*/ 2147483647 h 81"/>
                <a:gd name="T20" fmla="*/ 2147483647 w 60"/>
                <a:gd name="T21" fmla="*/ 2147483647 h 81"/>
                <a:gd name="T22" fmla="*/ 2147483647 w 60"/>
                <a:gd name="T23" fmla="*/ 2147483647 h 81"/>
                <a:gd name="T24" fmla="*/ 2147483647 w 60"/>
                <a:gd name="T25" fmla="*/ 2147483647 h 81"/>
                <a:gd name="T26" fmla="*/ 2147483647 w 60"/>
                <a:gd name="T27" fmla="*/ 2147483647 h 81"/>
                <a:gd name="T28" fmla="*/ 2147483647 w 60"/>
                <a:gd name="T29" fmla="*/ 2147483647 h 81"/>
                <a:gd name="T30" fmla="*/ 2147483647 w 60"/>
                <a:gd name="T31" fmla="*/ 2147483647 h 81"/>
                <a:gd name="T32" fmla="*/ 2147483647 w 60"/>
                <a:gd name="T33" fmla="*/ 2147483647 h 81"/>
                <a:gd name="T34" fmla="*/ 2147483647 w 60"/>
                <a:gd name="T35" fmla="*/ 2147483647 h 81"/>
                <a:gd name="T36" fmla="*/ 2147483647 w 60"/>
                <a:gd name="T37" fmla="*/ 2147483647 h 81"/>
                <a:gd name="T38" fmla="*/ 0 w 60"/>
                <a:gd name="T39" fmla="*/ 2147483647 h 81"/>
                <a:gd name="T40" fmla="*/ 2147483647 w 60"/>
                <a:gd name="T41" fmla="*/ 2147483647 h 81"/>
                <a:gd name="T42" fmla="*/ 2147483647 w 60"/>
                <a:gd name="T43" fmla="*/ 2147483647 h 81"/>
                <a:gd name="T44" fmla="*/ 2147483647 w 60"/>
                <a:gd name="T45" fmla="*/ 0 h 81"/>
                <a:gd name="T46" fmla="*/ 2147483647 w 60"/>
                <a:gd name="T47" fmla="*/ 0 h 8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0" t="0" r="r" b="b"/>
              <a:pathLst>
                <a:path w="60" h="81">
                  <a:moveTo>
                    <a:pt x="27" y="0"/>
                  </a:moveTo>
                  <a:lnTo>
                    <a:pt x="29" y="2"/>
                  </a:lnTo>
                  <a:lnTo>
                    <a:pt x="32" y="3"/>
                  </a:lnTo>
                  <a:lnTo>
                    <a:pt x="36" y="3"/>
                  </a:lnTo>
                  <a:lnTo>
                    <a:pt x="40" y="2"/>
                  </a:lnTo>
                  <a:lnTo>
                    <a:pt x="47" y="1"/>
                  </a:lnTo>
                  <a:lnTo>
                    <a:pt x="53" y="0"/>
                  </a:lnTo>
                  <a:lnTo>
                    <a:pt x="53" y="26"/>
                  </a:lnTo>
                  <a:lnTo>
                    <a:pt x="54" y="47"/>
                  </a:lnTo>
                  <a:lnTo>
                    <a:pt x="54" y="57"/>
                  </a:lnTo>
                  <a:lnTo>
                    <a:pt x="56" y="65"/>
                  </a:lnTo>
                  <a:lnTo>
                    <a:pt x="58" y="73"/>
                  </a:lnTo>
                  <a:lnTo>
                    <a:pt x="60" y="81"/>
                  </a:lnTo>
                  <a:lnTo>
                    <a:pt x="20" y="81"/>
                  </a:lnTo>
                  <a:lnTo>
                    <a:pt x="14" y="80"/>
                  </a:lnTo>
                  <a:lnTo>
                    <a:pt x="7" y="77"/>
                  </a:lnTo>
                  <a:lnTo>
                    <a:pt x="5" y="74"/>
                  </a:lnTo>
                  <a:lnTo>
                    <a:pt x="2" y="72"/>
                  </a:lnTo>
                  <a:lnTo>
                    <a:pt x="1" y="70"/>
                  </a:lnTo>
                  <a:lnTo>
                    <a:pt x="0" y="68"/>
                  </a:lnTo>
                  <a:lnTo>
                    <a:pt x="7" y="12"/>
                  </a:lnTo>
                  <a:lnTo>
                    <a:pt x="20" y="6"/>
                  </a:lnTo>
                  <a:lnTo>
                    <a:pt x="34" y="0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81" name="Freeform 469"/>
            <p:cNvSpPr>
              <a:spLocks/>
            </p:cNvSpPr>
            <p:nvPr>
              <p:custDataLst>
                <p:tags r:id="rId307"/>
              </p:custDataLst>
            </p:nvPr>
          </p:nvSpPr>
          <p:spPr bwMode="auto">
            <a:xfrm>
              <a:off x="6551484" y="2515069"/>
              <a:ext cx="162786" cy="67472"/>
            </a:xfrm>
            <a:custGeom>
              <a:avLst/>
              <a:gdLst>
                <a:gd name="T0" fmla="*/ 250 w 370"/>
                <a:gd name="T1" fmla="*/ 117 h 129"/>
                <a:gd name="T2" fmla="*/ 258 w 370"/>
                <a:gd name="T3" fmla="*/ 119 h 129"/>
                <a:gd name="T4" fmla="*/ 277 w 370"/>
                <a:gd name="T5" fmla="*/ 123 h 129"/>
                <a:gd name="T6" fmla="*/ 295 w 370"/>
                <a:gd name="T7" fmla="*/ 127 h 129"/>
                <a:gd name="T8" fmla="*/ 303 w 370"/>
                <a:gd name="T9" fmla="*/ 129 h 129"/>
                <a:gd name="T10" fmla="*/ 370 w 370"/>
                <a:gd name="T11" fmla="*/ 97 h 129"/>
                <a:gd name="T12" fmla="*/ 358 w 370"/>
                <a:gd name="T13" fmla="*/ 75 h 129"/>
                <a:gd name="T14" fmla="*/ 345 w 370"/>
                <a:gd name="T15" fmla="*/ 48 h 129"/>
                <a:gd name="T16" fmla="*/ 335 w 370"/>
                <a:gd name="T17" fmla="*/ 27 h 129"/>
                <a:gd name="T18" fmla="*/ 330 w 370"/>
                <a:gd name="T19" fmla="*/ 18 h 129"/>
                <a:gd name="T20" fmla="*/ 300 w 370"/>
                <a:gd name="T21" fmla="*/ 15 h 129"/>
                <a:gd name="T22" fmla="*/ 257 w 370"/>
                <a:gd name="T23" fmla="*/ 9 h 129"/>
                <a:gd name="T24" fmla="*/ 214 w 370"/>
                <a:gd name="T25" fmla="*/ 2 h 129"/>
                <a:gd name="T26" fmla="*/ 183 w 370"/>
                <a:gd name="T27" fmla="*/ 0 h 129"/>
                <a:gd name="T28" fmla="*/ 179 w 370"/>
                <a:gd name="T29" fmla="*/ 0 h 129"/>
                <a:gd name="T30" fmla="*/ 176 w 370"/>
                <a:gd name="T31" fmla="*/ 1 h 129"/>
                <a:gd name="T32" fmla="*/ 172 w 370"/>
                <a:gd name="T33" fmla="*/ 2 h 129"/>
                <a:gd name="T34" fmla="*/ 170 w 370"/>
                <a:gd name="T35" fmla="*/ 3 h 129"/>
                <a:gd name="T36" fmla="*/ 162 w 370"/>
                <a:gd name="T37" fmla="*/ 7 h 129"/>
                <a:gd name="T38" fmla="*/ 150 w 370"/>
                <a:gd name="T39" fmla="*/ 12 h 129"/>
                <a:gd name="T40" fmla="*/ 147 w 370"/>
                <a:gd name="T41" fmla="*/ 21 h 129"/>
                <a:gd name="T42" fmla="*/ 140 w 370"/>
                <a:gd name="T43" fmla="*/ 35 h 129"/>
                <a:gd name="T44" fmla="*/ 134 w 370"/>
                <a:gd name="T45" fmla="*/ 48 h 129"/>
                <a:gd name="T46" fmla="*/ 131 w 370"/>
                <a:gd name="T47" fmla="*/ 55 h 129"/>
                <a:gd name="T48" fmla="*/ 122 w 370"/>
                <a:gd name="T49" fmla="*/ 54 h 129"/>
                <a:gd name="T50" fmla="*/ 111 w 370"/>
                <a:gd name="T51" fmla="*/ 49 h 129"/>
                <a:gd name="T52" fmla="*/ 98 w 370"/>
                <a:gd name="T53" fmla="*/ 44 h 129"/>
                <a:gd name="T54" fmla="*/ 84 w 370"/>
                <a:gd name="T55" fmla="*/ 38 h 129"/>
                <a:gd name="T56" fmla="*/ 60 w 370"/>
                <a:gd name="T57" fmla="*/ 26 h 129"/>
                <a:gd name="T58" fmla="*/ 44 w 370"/>
                <a:gd name="T59" fmla="*/ 18 h 129"/>
                <a:gd name="T60" fmla="*/ 32 w 370"/>
                <a:gd name="T61" fmla="*/ 25 h 129"/>
                <a:gd name="T62" fmla="*/ 21 w 370"/>
                <a:gd name="T63" fmla="*/ 33 h 129"/>
                <a:gd name="T64" fmla="*/ 16 w 370"/>
                <a:gd name="T65" fmla="*/ 37 h 129"/>
                <a:gd name="T66" fmla="*/ 12 w 370"/>
                <a:gd name="T67" fmla="*/ 41 h 129"/>
                <a:gd name="T68" fmla="*/ 9 w 370"/>
                <a:gd name="T69" fmla="*/ 46 h 129"/>
                <a:gd name="T70" fmla="*/ 5 w 370"/>
                <a:gd name="T71" fmla="*/ 52 h 129"/>
                <a:gd name="T72" fmla="*/ 3 w 370"/>
                <a:gd name="T73" fmla="*/ 57 h 129"/>
                <a:gd name="T74" fmla="*/ 1 w 370"/>
                <a:gd name="T75" fmla="*/ 63 h 129"/>
                <a:gd name="T76" fmla="*/ 0 w 370"/>
                <a:gd name="T77" fmla="*/ 69 h 129"/>
                <a:gd name="T78" fmla="*/ 0 w 370"/>
                <a:gd name="T79" fmla="*/ 75 h 129"/>
                <a:gd name="T80" fmla="*/ 1 w 370"/>
                <a:gd name="T81" fmla="*/ 82 h 129"/>
                <a:gd name="T82" fmla="*/ 3 w 370"/>
                <a:gd name="T83" fmla="*/ 88 h 129"/>
                <a:gd name="T84" fmla="*/ 6 w 370"/>
                <a:gd name="T85" fmla="*/ 96 h 129"/>
                <a:gd name="T86" fmla="*/ 11 w 370"/>
                <a:gd name="T87" fmla="*/ 103 h 129"/>
                <a:gd name="T88" fmla="*/ 20 w 370"/>
                <a:gd name="T89" fmla="*/ 101 h 129"/>
                <a:gd name="T90" fmla="*/ 33 w 370"/>
                <a:gd name="T91" fmla="*/ 99 h 129"/>
                <a:gd name="T92" fmla="*/ 50 w 370"/>
                <a:gd name="T93" fmla="*/ 97 h 129"/>
                <a:gd name="T94" fmla="*/ 69 w 370"/>
                <a:gd name="T95" fmla="*/ 95 h 129"/>
                <a:gd name="T96" fmla="*/ 102 w 370"/>
                <a:gd name="T97" fmla="*/ 92 h 129"/>
                <a:gd name="T98" fmla="*/ 117 w 370"/>
                <a:gd name="T99" fmla="*/ 91 h 129"/>
                <a:gd name="T100" fmla="*/ 137 w 370"/>
                <a:gd name="T101" fmla="*/ 92 h 129"/>
                <a:gd name="T102" fmla="*/ 152 w 370"/>
                <a:gd name="T103" fmla="*/ 94 h 129"/>
                <a:gd name="T104" fmla="*/ 166 w 370"/>
                <a:gd name="T105" fmla="*/ 97 h 129"/>
                <a:gd name="T106" fmla="*/ 177 w 370"/>
                <a:gd name="T107" fmla="*/ 100 h 129"/>
                <a:gd name="T108" fmla="*/ 189 w 370"/>
                <a:gd name="T109" fmla="*/ 104 h 129"/>
                <a:gd name="T110" fmla="*/ 201 w 370"/>
                <a:gd name="T111" fmla="*/ 108 h 129"/>
                <a:gd name="T112" fmla="*/ 217 w 370"/>
                <a:gd name="T113" fmla="*/ 110 h 129"/>
                <a:gd name="T114" fmla="*/ 237 w 370"/>
                <a:gd name="T115" fmla="*/ 111 h 129"/>
                <a:gd name="T116" fmla="*/ 237 w 370"/>
                <a:gd name="T117" fmla="*/ 117 h 129"/>
                <a:gd name="T118" fmla="*/ 250 w 370"/>
                <a:gd name="T119" fmla="*/ 117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" h="129">
                  <a:moveTo>
                    <a:pt x="250" y="117"/>
                  </a:moveTo>
                  <a:lnTo>
                    <a:pt x="258" y="119"/>
                  </a:lnTo>
                  <a:lnTo>
                    <a:pt x="277" y="123"/>
                  </a:lnTo>
                  <a:lnTo>
                    <a:pt x="295" y="127"/>
                  </a:lnTo>
                  <a:lnTo>
                    <a:pt x="303" y="129"/>
                  </a:lnTo>
                  <a:lnTo>
                    <a:pt x="370" y="97"/>
                  </a:lnTo>
                  <a:lnTo>
                    <a:pt x="358" y="75"/>
                  </a:lnTo>
                  <a:lnTo>
                    <a:pt x="345" y="48"/>
                  </a:lnTo>
                  <a:lnTo>
                    <a:pt x="335" y="27"/>
                  </a:lnTo>
                  <a:lnTo>
                    <a:pt x="330" y="18"/>
                  </a:lnTo>
                  <a:lnTo>
                    <a:pt x="300" y="15"/>
                  </a:lnTo>
                  <a:lnTo>
                    <a:pt x="257" y="9"/>
                  </a:lnTo>
                  <a:lnTo>
                    <a:pt x="214" y="2"/>
                  </a:lnTo>
                  <a:lnTo>
                    <a:pt x="183" y="0"/>
                  </a:lnTo>
                  <a:lnTo>
                    <a:pt x="179" y="0"/>
                  </a:lnTo>
                  <a:lnTo>
                    <a:pt x="176" y="1"/>
                  </a:lnTo>
                  <a:lnTo>
                    <a:pt x="172" y="2"/>
                  </a:lnTo>
                  <a:lnTo>
                    <a:pt x="170" y="3"/>
                  </a:lnTo>
                  <a:lnTo>
                    <a:pt x="162" y="7"/>
                  </a:lnTo>
                  <a:lnTo>
                    <a:pt x="150" y="12"/>
                  </a:lnTo>
                  <a:lnTo>
                    <a:pt x="147" y="21"/>
                  </a:lnTo>
                  <a:lnTo>
                    <a:pt x="140" y="35"/>
                  </a:lnTo>
                  <a:lnTo>
                    <a:pt x="134" y="48"/>
                  </a:lnTo>
                  <a:lnTo>
                    <a:pt x="131" y="55"/>
                  </a:lnTo>
                  <a:lnTo>
                    <a:pt x="122" y="54"/>
                  </a:lnTo>
                  <a:lnTo>
                    <a:pt x="111" y="49"/>
                  </a:lnTo>
                  <a:lnTo>
                    <a:pt x="98" y="44"/>
                  </a:lnTo>
                  <a:lnTo>
                    <a:pt x="84" y="38"/>
                  </a:lnTo>
                  <a:lnTo>
                    <a:pt x="60" y="26"/>
                  </a:lnTo>
                  <a:lnTo>
                    <a:pt x="44" y="18"/>
                  </a:lnTo>
                  <a:lnTo>
                    <a:pt x="32" y="25"/>
                  </a:lnTo>
                  <a:lnTo>
                    <a:pt x="21" y="33"/>
                  </a:lnTo>
                  <a:lnTo>
                    <a:pt x="16" y="37"/>
                  </a:lnTo>
                  <a:lnTo>
                    <a:pt x="12" y="41"/>
                  </a:lnTo>
                  <a:lnTo>
                    <a:pt x="9" y="46"/>
                  </a:lnTo>
                  <a:lnTo>
                    <a:pt x="5" y="52"/>
                  </a:lnTo>
                  <a:lnTo>
                    <a:pt x="3" y="57"/>
                  </a:lnTo>
                  <a:lnTo>
                    <a:pt x="1" y="63"/>
                  </a:lnTo>
                  <a:lnTo>
                    <a:pt x="0" y="69"/>
                  </a:lnTo>
                  <a:lnTo>
                    <a:pt x="0" y="75"/>
                  </a:lnTo>
                  <a:lnTo>
                    <a:pt x="1" y="82"/>
                  </a:lnTo>
                  <a:lnTo>
                    <a:pt x="3" y="88"/>
                  </a:lnTo>
                  <a:lnTo>
                    <a:pt x="6" y="96"/>
                  </a:lnTo>
                  <a:lnTo>
                    <a:pt x="11" y="103"/>
                  </a:lnTo>
                  <a:lnTo>
                    <a:pt x="20" y="101"/>
                  </a:lnTo>
                  <a:lnTo>
                    <a:pt x="33" y="99"/>
                  </a:lnTo>
                  <a:lnTo>
                    <a:pt x="50" y="97"/>
                  </a:lnTo>
                  <a:lnTo>
                    <a:pt x="69" y="95"/>
                  </a:lnTo>
                  <a:lnTo>
                    <a:pt x="102" y="92"/>
                  </a:lnTo>
                  <a:lnTo>
                    <a:pt x="117" y="91"/>
                  </a:lnTo>
                  <a:lnTo>
                    <a:pt x="137" y="92"/>
                  </a:lnTo>
                  <a:lnTo>
                    <a:pt x="152" y="94"/>
                  </a:lnTo>
                  <a:lnTo>
                    <a:pt x="166" y="97"/>
                  </a:lnTo>
                  <a:lnTo>
                    <a:pt x="177" y="100"/>
                  </a:lnTo>
                  <a:lnTo>
                    <a:pt x="189" y="104"/>
                  </a:lnTo>
                  <a:lnTo>
                    <a:pt x="201" y="108"/>
                  </a:lnTo>
                  <a:lnTo>
                    <a:pt x="217" y="110"/>
                  </a:lnTo>
                  <a:lnTo>
                    <a:pt x="237" y="111"/>
                  </a:lnTo>
                  <a:lnTo>
                    <a:pt x="237" y="117"/>
                  </a:lnTo>
                  <a:lnTo>
                    <a:pt x="250" y="11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23" name="Freeform 470"/>
            <p:cNvSpPr>
              <a:spLocks/>
            </p:cNvSpPr>
            <p:nvPr>
              <p:custDataLst>
                <p:tags r:id="rId308"/>
              </p:custDataLst>
            </p:nvPr>
          </p:nvSpPr>
          <p:spPr bwMode="auto">
            <a:xfrm>
              <a:off x="6963407" y="3235764"/>
              <a:ext cx="30162" cy="57150"/>
            </a:xfrm>
            <a:custGeom>
              <a:avLst/>
              <a:gdLst>
                <a:gd name="T0" fmla="*/ 2147483647 w 80"/>
                <a:gd name="T1" fmla="*/ 2147483647 h 94"/>
                <a:gd name="T2" fmla="*/ 2147483647 w 80"/>
                <a:gd name="T3" fmla="*/ 0 h 94"/>
                <a:gd name="T4" fmla="*/ 2147483647 w 80"/>
                <a:gd name="T5" fmla="*/ 0 h 94"/>
                <a:gd name="T6" fmla="*/ 2147483647 w 80"/>
                <a:gd name="T7" fmla="*/ 2147483647 h 94"/>
                <a:gd name="T8" fmla="*/ 2147483647 w 80"/>
                <a:gd name="T9" fmla="*/ 2147483647 h 94"/>
                <a:gd name="T10" fmla="*/ 2147483647 w 80"/>
                <a:gd name="T11" fmla="*/ 2147483647 h 94"/>
                <a:gd name="T12" fmla="*/ 2147483647 w 80"/>
                <a:gd name="T13" fmla="*/ 2147483647 h 94"/>
                <a:gd name="T14" fmla="*/ 2147483647 w 80"/>
                <a:gd name="T15" fmla="*/ 2147483647 h 94"/>
                <a:gd name="T16" fmla="*/ 2147483647 w 80"/>
                <a:gd name="T17" fmla="*/ 2147483647 h 94"/>
                <a:gd name="T18" fmla="*/ 2147483647 w 80"/>
                <a:gd name="T19" fmla="*/ 2147483647 h 94"/>
                <a:gd name="T20" fmla="*/ 2147483647 w 80"/>
                <a:gd name="T21" fmla="*/ 2147483647 h 94"/>
                <a:gd name="T22" fmla="*/ 2147483647 w 80"/>
                <a:gd name="T23" fmla="*/ 2147483647 h 94"/>
                <a:gd name="T24" fmla="*/ 2147483647 w 80"/>
                <a:gd name="T25" fmla="*/ 2147483647 h 94"/>
                <a:gd name="T26" fmla="*/ 2147483647 w 80"/>
                <a:gd name="T27" fmla="*/ 2147483647 h 94"/>
                <a:gd name="T28" fmla="*/ 2147483647 w 80"/>
                <a:gd name="T29" fmla="*/ 2147483647 h 94"/>
                <a:gd name="T30" fmla="*/ 2147483647 w 80"/>
                <a:gd name="T31" fmla="*/ 2147483647 h 94"/>
                <a:gd name="T32" fmla="*/ 2147483647 w 80"/>
                <a:gd name="T33" fmla="*/ 2147483647 h 94"/>
                <a:gd name="T34" fmla="*/ 2147483647 w 80"/>
                <a:gd name="T35" fmla="*/ 2147483647 h 94"/>
                <a:gd name="T36" fmla="*/ 2147483647 w 80"/>
                <a:gd name="T37" fmla="*/ 2147483647 h 94"/>
                <a:gd name="T38" fmla="*/ 2147483647 w 80"/>
                <a:gd name="T39" fmla="*/ 2147483647 h 94"/>
                <a:gd name="T40" fmla="*/ 2147483647 w 80"/>
                <a:gd name="T41" fmla="*/ 2147483647 h 94"/>
                <a:gd name="T42" fmla="*/ 2147483647 w 80"/>
                <a:gd name="T43" fmla="*/ 2147483647 h 94"/>
                <a:gd name="T44" fmla="*/ 2147483647 w 80"/>
                <a:gd name="T45" fmla="*/ 2147483647 h 94"/>
                <a:gd name="T46" fmla="*/ 2147483647 w 80"/>
                <a:gd name="T47" fmla="*/ 2147483647 h 94"/>
                <a:gd name="T48" fmla="*/ 2147483647 w 80"/>
                <a:gd name="T49" fmla="*/ 2147483647 h 94"/>
                <a:gd name="T50" fmla="*/ 0 w 80"/>
                <a:gd name="T51" fmla="*/ 2147483647 h 94"/>
                <a:gd name="T52" fmla="*/ 2147483647 w 80"/>
                <a:gd name="T53" fmla="*/ 2147483647 h 94"/>
                <a:gd name="T54" fmla="*/ 2147483647 w 80"/>
                <a:gd name="T55" fmla="*/ 2147483647 h 94"/>
                <a:gd name="T56" fmla="*/ 2147483647 w 80"/>
                <a:gd name="T57" fmla="*/ 2147483647 h 94"/>
                <a:gd name="T58" fmla="*/ 2147483647 w 80"/>
                <a:gd name="T59" fmla="*/ 2147483647 h 9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80" h="94">
                  <a:moveTo>
                    <a:pt x="27" y="1"/>
                  </a:moveTo>
                  <a:lnTo>
                    <a:pt x="34" y="0"/>
                  </a:lnTo>
                  <a:lnTo>
                    <a:pt x="41" y="0"/>
                  </a:lnTo>
                  <a:lnTo>
                    <a:pt x="47" y="2"/>
                  </a:lnTo>
                  <a:lnTo>
                    <a:pt x="54" y="4"/>
                  </a:lnTo>
                  <a:lnTo>
                    <a:pt x="60" y="6"/>
                  </a:lnTo>
                  <a:lnTo>
                    <a:pt x="66" y="8"/>
                  </a:lnTo>
                  <a:lnTo>
                    <a:pt x="73" y="8"/>
                  </a:lnTo>
                  <a:lnTo>
                    <a:pt x="80" y="7"/>
                  </a:lnTo>
                  <a:lnTo>
                    <a:pt x="80" y="38"/>
                  </a:lnTo>
                  <a:lnTo>
                    <a:pt x="75" y="44"/>
                  </a:lnTo>
                  <a:lnTo>
                    <a:pt x="69" y="51"/>
                  </a:lnTo>
                  <a:lnTo>
                    <a:pt x="64" y="59"/>
                  </a:lnTo>
                  <a:lnTo>
                    <a:pt x="58" y="68"/>
                  </a:lnTo>
                  <a:lnTo>
                    <a:pt x="51" y="84"/>
                  </a:lnTo>
                  <a:lnTo>
                    <a:pt x="47" y="94"/>
                  </a:lnTo>
                  <a:lnTo>
                    <a:pt x="43" y="93"/>
                  </a:lnTo>
                  <a:lnTo>
                    <a:pt x="40" y="92"/>
                  </a:lnTo>
                  <a:lnTo>
                    <a:pt x="37" y="91"/>
                  </a:lnTo>
                  <a:lnTo>
                    <a:pt x="34" y="89"/>
                  </a:lnTo>
                  <a:lnTo>
                    <a:pt x="29" y="84"/>
                  </a:lnTo>
                  <a:lnTo>
                    <a:pt x="23" y="78"/>
                  </a:lnTo>
                  <a:lnTo>
                    <a:pt x="19" y="72"/>
                  </a:lnTo>
                  <a:lnTo>
                    <a:pt x="13" y="65"/>
                  </a:lnTo>
                  <a:lnTo>
                    <a:pt x="7" y="60"/>
                  </a:lnTo>
                  <a:lnTo>
                    <a:pt x="0" y="56"/>
                  </a:lnTo>
                  <a:lnTo>
                    <a:pt x="8" y="41"/>
                  </a:lnTo>
                  <a:lnTo>
                    <a:pt x="13" y="29"/>
                  </a:lnTo>
                  <a:lnTo>
                    <a:pt x="19" y="17"/>
                  </a:lnTo>
                  <a:lnTo>
                    <a:pt x="27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24" name="Freeform 471"/>
            <p:cNvSpPr>
              <a:spLocks/>
            </p:cNvSpPr>
            <p:nvPr>
              <p:custDataLst>
                <p:tags r:id="rId309"/>
              </p:custDataLst>
            </p:nvPr>
          </p:nvSpPr>
          <p:spPr bwMode="auto">
            <a:xfrm>
              <a:off x="6779257" y="5247127"/>
              <a:ext cx="61912" cy="57150"/>
            </a:xfrm>
            <a:custGeom>
              <a:avLst/>
              <a:gdLst>
                <a:gd name="T0" fmla="*/ 2147483647 w 135"/>
                <a:gd name="T1" fmla="*/ 2147483647 h 98"/>
                <a:gd name="T2" fmla="*/ 2147483647 w 135"/>
                <a:gd name="T3" fmla="*/ 2147483647 h 98"/>
                <a:gd name="T4" fmla="*/ 2147483647 w 135"/>
                <a:gd name="T5" fmla="*/ 2147483647 h 98"/>
                <a:gd name="T6" fmla="*/ 2147483647 w 135"/>
                <a:gd name="T7" fmla="*/ 2147483647 h 98"/>
                <a:gd name="T8" fmla="*/ 2147483647 w 135"/>
                <a:gd name="T9" fmla="*/ 2147483647 h 98"/>
                <a:gd name="T10" fmla="*/ 2147483647 w 135"/>
                <a:gd name="T11" fmla="*/ 2147483647 h 98"/>
                <a:gd name="T12" fmla="*/ 2147483647 w 135"/>
                <a:gd name="T13" fmla="*/ 2147483647 h 98"/>
                <a:gd name="T14" fmla="*/ 2147483647 w 135"/>
                <a:gd name="T15" fmla="*/ 2147483647 h 98"/>
                <a:gd name="T16" fmla="*/ 2147483647 w 135"/>
                <a:gd name="T17" fmla="*/ 2147483647 h 98"/>
                <a:gd name="T18" fmla="*/ 2147483647 w 135"/>
                <a:gd name="T19" fmla="*/ 2147483647 h 98"/>
                <a:gd name="T20" fmla="*/ 2147483647 w 135"/>
                <a:gd name="T21" fmla="*/ 2147483647 h 98"/>
                <a:gd name="T22" fmla="*/ 2147483647 w 135"/>
                <a:gd name="T23" fmla="*/ 0 h 98"/>
                <a:gd name="T24" fmla="*/ 2147483647 w 135"/>
                <a:gd name="T25" fmla="*/ 0 h 98"/>
                <a:gd name="T26" fmla="*/ 2147483647 w 135"/>
                <a:gd name="T27" fmla="*/ 0 h 98"/>
                <a:gd name="T28" fmla="*/ 2147483647 w 135"/>
                <a:gd name="T29" fmla="*/ 2147483647 h 98"/>
                <a:gd name="T30" fmla="*/ 2147483647 w 135"/>
                <a:gd name="T31" fmla="*/ 2147483647 h 98"/>
                <a:gd name="T32" fmla="*/ 2147483647 w 135"/>
                <a:gd name="T33" fmla="*/ 2147483647 h 98"/>
                <a:gd name="T34" fmla="*/ 2147483647 w 135"/>
                <a:gd name="T35" fmla="*/ 2147483647 h 98"/>
                <a:gd name="T36" fmla="*/ 2147483647 w 135"/>
                <a:gd name="T37" fmla="*/ 2147483647 h 98"/>
                <a:gd name="T38" fmla="*/ 2147483647 w 135"/>
                <a:gd name="T39" fmla="*/ 2147483647 h 98"/>
                <a:gd name="T40" fmla="*/ 2147483647 w 135"/>
                <a:gd name="T41" fmla="*/ 2147483647 h 98"/>
                <a:gd name="T42" fmla="*/ 2147483647 w 135"/>
                <a:gd name="T43" fmla="*/ 2147483647 h 98"/>
                <a:gd name="T44" fmla="*/ 2147483647 w 135"/>
                <a:gd name="T45" fmla="*/ 2147483647 h 98"/>
                <a:gd name="T46" fmla="*/ 2147483647 w 135"/>
                <a:gd name="T47" fmla="*/ 2147483647 h 98"/>
                <a:gd name="T48" fmla="*/ 2147483647 w 135"/>
                <a:gd name="T49" fmla="*/ 2147483647 h 98"/>
                <a:gd name="T50" fmla="*/ 2147483647 w 135"/>
                <a:gd name="T51" fmla="*/ 2147483647 h 98"/>
                <a:gd name="T52" fmla="*/ 2147483647 w 135"/>
                <a:gd name="T53" fmla="*/ 2147483647 h 98"/>
                <a:gd name="T54" fmla="*/ 2147483647 w 135"/>
                <a:gd name="T55" fmla="*/ 2147483647 h 98"/>
                <a:gd name="T56" fmla="*/ 2147483647 w 135"/>
                <a:gd name="T57" fmla="*/ 2147483647 h 98"/>
                <a:gd name="T58" fmla="*/ 2147483647 w 135"/>
                <a:gd name="T59" fmla="*/ 2147483647 h 98"/>
                <a:gd name="T60" fmla="*/ 2147483647 w 135"/>
                <a:gd name="T61" fmla="*/ 2147483647 h 98"/>
                <a:gd name="T62" fmla="*/ 2147483647 w 135"/>
                <a:gd name="T63" fmla="*/ 2147483647 h 98"/>
                <a:gd name="T64" fmla="*/ 2147483647 w 135"/>
                <a:gd name="T65" fmla="*/ 2147483647 h 98"/>
                <a:gd name="T66" fmla="*/ 2147483647 w 135"/>
                <a:gd name="T67" fmla="*/ 2147483647 h 98"/>
                <a:gd name="T68" fmla="*/ 2147483647 w 135"/>
                <a:gd name="T69" fmla="*/ 2147483647 h 98"/>
                <a:gd name="T70" fmla="*/ 2147483647 w 135"/>
                <a:gd name="T71" fmla="*/ 2147483647 h 98"/>
                <a:gd name="T72" fmla="*/ 2147483647 w 135"/>
                <a:gd name="T73" fmla="*/ 2147483647 h 98"/>
                <a:gd name="T74" fmla="*/ 2147483647 w 135"/>
                <a:gd name="T75" fmla="*/ 2147483647 h 98"/>
                <a:gd name="T76" fmla="*/ 0 w 135"/>
                <a:gd name="T77" fmla="*/ 2147483647 h 98"/>
                <a:gd name="T78" fmla="*/ 0 w 135"/>
                <a:gd name="T79" fmla="*/ 2147483647 h 98"/>
                <a:gd name="T80" fmla="*/ 2147483647 w 135"/>
                <a:gd name="T81" fmla="*/ 2147483647 h 9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0" t="0" r="r" b="b"/>
              <a:pathLst>
                <a:path w="135" h="98">
                  <a:moveTo>
                    <a:pt x="3" y="55"/>
                  </a:moveTo>
                  <a:lnTo>
                    <a:pt x="11" y="54"/>
                  </a:lnTo>
                  <a:lnTo>
                    <a:pt x="18" y="53"/>
                  </a:lnTo>
                  <a:lnTo>
                    <a:pt x="24" y="50"/>
                  </a:lnTo>
                  <a:lnTo>
                    <a:pt x="31" y="47"/>
                  </a:lnTo>
                  <a:lnTo>
                    <a:pt x="42" y="38"/>
                  </a:lnTo>
                  <a:lnTo>
                    <a:pt x="52" y="28"/>
                  </a:lnTo>
                  <a:lnTo>
                    <a:pt x="61" y="18"/>
                  </a:lnTo>
                  <a:lnTo>
                    <a:pt x="71" y="8"/>
                  </a:lnTo>
                  <a:lnTo>
                    <a:pt x="76" y="5"/>
                  </a:lnTo>
                  <a:lnTo>
                    <a:pt x="82" y="2"/>
                  </a:lnTo>
                  <a:lnTo>
                    <a:pt x="88" y="0"/>
                  </a:lnTo>
                  <a:lnTo>
                    <a:pt x="96" y="0"/>
                  </a:lnTo>
                  <a:lnTo>
                    <a:pt x="102" y="0"/>
                  </a:lnTo>
                  <a:lnTo>
                    <a:pt x="110" y="3"/>
                  </a:lnTo>
                  <a:lnTo>
                    <a:pt x="117" y="6"/>
                  </a:lnTo>
                  <a:lnTo>
                    <a:pt x="123" y="11"/>
                  </a:lnTo>
                  <a:lnTo>
                    <a:pt x="128" y="16"/>
                  </a:lnTo>
                  <a:lnTo>
                    <a:pt x="132" y="24"/>
                  </a:lnTo>
                  <a:lnTo>
                    <a:pt x="134" y="30"/>
                  </a:lnTo>
                  <a:lnTo>
                    <a:pt x="135" y="37"/>
                  </a:lnTo>
                  <a:lnTo>
                    <a:pt x="134" y="40"/>
                  </a:lnTo>
                  <a:lnTo>
                    <a:pt x="132" y="43"/>
                  </a:lnTo>
                  <a:lnTo>
                    <a:pt x="129" y="47"/>
                  </a:lnTo>
                  <a:lnTo>
                    <a:pt x="124" y="51"/>
                  </a:lnTo>
                  <a:lnTo>
                    <a:pt x="113" y="61"/>
                  </a:lnTo>
                  <a:lnTo>
                    <a:pt x="100" y="72"/>
                  </a:lnTo>
                  <a:lnTo>
                    <a:pt x="87" y="82"/>
                  </a:lnTo>
                  <a:lnTo>
                    <a:pt x="74" y="91"/>
                  </a:lnTo>
                  <a:lnTo>
                    <a:pt x="63" y="96"/>
                  </a:lnTo>
                  <a:lnTo>
                    <a:pt x="55" y="98"/>
                  </a:lnTo>
                  <a:lnTo>
                    <a:pt x="51" y="97"/>
                  </a:lnTo>
                  <a:lnTo>
                    <a:pt x="43" y="92"/>
                  </a:lnTo>
                  <a:lnTo>
                    <a:pt x="32" y="85"/>
                  </a:lnTo>
                  <a:lnTo>
                    <a:pt x="21" y="77"/>
                  </a:lnTo>
                  <a:lnTo>
                    <a:pt x="11" y="68"/>
                  </a:lnTo>
                  <a:lnTo>
                    <a:pt x="5" y="62"/>
                  </a:lnTo>
                  <a:lnTo>
                    <a:pt x="1" y="59"/>
                  </a:lnTo>
                  <a:lnTo>
                    <a:pt x="0" y="57"/>
                  </a:lnTo>
                  <a:lnTo>
                    <a:pt x="0" y="56"/>
                  </a:lnTo>
                  <a:lnTo>
                    <a:pt x="3" y="5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384" name="Freeform 472"/>
            <p:cNvSpPr>
              <a:spLocks/>
            </p:cNvSpPr>
            <p:nvPr>
              <p:custDataLst>
                <p:tags r:id="rId310"/>
              </p:custDataLst>
            </p:nvPr>
          </p:nvSpPr>
          <p:spPr bwMode="auto">
            <a:xfrm>
              <a:off x="6549889" y="2562299"/>
              <a:ext cx="132463" cy="84340"/>
            </a:xfrm>
            <a:custGeom>
              <a:avLst/>
              <a:gdLst>
                <a:gd name="T0" fmla="*/ 192 w 312"/>
                <a:gd name="T1" fmla="*/ 155 h 155"/>
                <a:gd name="T2" fmla="*/ 194 w 312"/>
                <a:gd name="T3" fmla="*/ 151 h 155"/>
                <a:gd name="T4" fmla="*/ 197 w 312"/>
                <a:gd name="T5" fmla="*/ 148 h 155"/>
                <a:gd name="T6" fmla="*/ 200 w 312"/>
                <a:gd name="T7" fmla="*/ 145 h 155"/>
                <a:gd name="T8" fmla="*/ 203 w 312"/>
                <a:gd name="T9" fmla="*/ 142 h 155"/>
                <a:gd name="T10" fmla="*/ 211 w 312"/>
                <a:gd name="T11" fmla="*/ 137 h 155"/>
                <a:gd name="T12" fmla="*/ 220 w 312"/>
                <a:gd name="T13" fmla="*/ 132 h 155"/>
                <a:gd name="T14" fmla="*/ 238 w 312"/>
                <a:gd name="T15" fmla="*/ 123 h 155"/>
                <a:gd name="T16" fmla="*/ 253 w 312"/>
                <a:gd name="T17" fmla="*/ 117 h 155"/>
                <a:gd name="T18" fmla="*/ 255 w 312"/>
                <a:gd name="T19" fmla="*/ 109 h 155"/>
                <a:gd name="T20" fmla="*/ 260 w 312"/>
                <a:gd name="T21" fmla="*/ 97 h 155"/>
                <a:gd name="T22" fmla="*/ 264 w 312"/>
                <a:gd name="T23" fmla="*/ 91 h 155"/>
                <a:gd name="T24" fmla="*/ 267 w 312"/>
                <a:gd name="T25" fmla="*/ 86 h 155"/>
                <a:gd name="T26" fmla="*/ 269 w 312"/>
                <a:gd name="T27" fmla="*/ 82 h 155"/>
                <a:gd name="T28" fmla="*/ 272 w 312"/>
                <a:gd name="T29" fmla="*/ 81 h 155"/>
                <a:gd name="T30" fmla="*/ 312 w 312"/>
                <a:gd name="T31" fmla="*/ 44 h 155"/>
                <a:gd name="T32" fmla="*/ 312 w 312"/>
                <a:gd name="T33" fmla="*/ 39 h 155"/>
                <a:gd name="T34" fmla="*/ 310 w 312"/>
                <a:gd name="T35" fmla="*/ 35 h 155"/>
                <a:gd name="T36" fmla="*/ 306 w 312"/>
                <a:gd name="T37" fmla="*/ 32 h 155"/>
                <a:gd name="T38" fmla="*/ 302 w 312"/>
                <a:gd name="T39" fmla="*/ 30 h 155"/>
                <a:gd name="T40" fmla="*/ 291 w 312"/>
                <a:gd name="T41" fmla="*/ 28 h 155"/>
                <a:gd name="T42" fmla="*/ 280 w 312"/>
                <a:gd name="T43" fmla="*/ 27 h 155"/>
                <a:gd name="T44" fmla="*/ 268 w 312"/>
                <a:gd name="T45" fmla="*/ 27 h 155"/>
                <a:gd name="T46" fmla="*/ 259 w 312"/>
                <a:gd name="T47" fmla="*/ 27 h 155"/>
                <a:gd name="T48" fmla="*/ 256 w 312"/>
                <a:gd name="T49" fmla="*/ 26 h 155"/>
                <a:gd name="T50" fmla="*/ 253 w 312"/>
                <a:gd name="T51" fmla="*/ 25 h 155"/>
                <a:gd name="T52" fmla="*/ 252 w 312"/>
                <a:gd name="T53" fmla="*/ 23 h 155"/>
                <a:gd name="T54" fmla="*/ 253 w 312"/>
                <a:gd name="T55" fmla="*/ 20 h 155"/>
                <a:gd name="T56" fmla="*/ 232 w 312"/>
                <a:gd name="T57" fmla="*/ 19 h 155"/>
                <a:gd name="T58" fmla="*/ 216 w 312"/>
                <a:gd name="T59" fmla="*/ 17 h 155"/>
                <a:gd name="T60" fmla="*/ 202 w 312"/>
                <a:gd name="T61" fmla="*/ 13 h 155"/>
                <a:gd name="T62" fmla="*/ 189 w 312"/>
                <a:gd name="T63" fmla="*/ 9 h 155"/>
                <a:gd name="T64" fmla="*/ 177 w 312"/>
                <a:gd name="T65" fmla="*/ 6 h 155"/>
                <a:gd name="T66" fmla="*/ 163 w 312"/>
                <a:gd name="T67" fmla="*/ 3 h 155"/>
                <a:gd name="T68" fmla="*/ 146 w 312"/>
                <a:gd name="T69" fmla="*/ 1 h 155"/>
                <a:gd name="T70" fmla="*/ 126 w 312"/>
                <a:gd name="T71" fmla="*/ 0 h 155"/>
                <a:gd name="T72" fmla="*/ 110 w 312"/>
                <a:gd name="T73" fmla="*/ 1 h 155"/>
                <a:gd name="T74" fmla="*/ 74 w 312"/>
                <a:gd name="T75" fmla="*/ 4 h 155"/>
                <a:gd name="T76" fmla="*/ 53 w 312"/>
                <a:gd name="T77" fmla="*/ 6 h 155"/>
                <a:gd name="T78" fmla="*/ 34 w 312"/>
                <a:gd name="T79" fmla="*/ 8 h 155"/>
                <a:gd name="T80" fmla="*/ 18 w 312"/>
                <a:gd name="T81" fmla="*/ 10 h 155"/>
                <a:gd name="T82" fmla="*/ 7 w 312"/>
                <a:gd name="T83" fmla="*/ 12 h 155"/>
                <a:gd name="T84" fmla="*/ 9 w 312"/>
                <a:gd name="T85" fmla="*/ 17 h 155"/>
                <a:gd name="T86" fmla="*/ 11 w 312"/>
                <a:gd name="T87" fmla="*/ 19 h 155"/>
                <a:gd name="T88" fmla="*/ 13 w 312"/>
                <a:gd name="T89" fmla="*/ 19 h 155"/>
                <a:gd name="T90" fmla="*/ 15 w 312"/>
                <a:gd name="T91" fmla="*/ 20 h 155"/>
                <a:gd name="T92" fmla="*/ 18 w 312"/>
                <a:gd name="T93" fmla="*/ 20 h 155"/>
                <a:gd name="T94" fmla="*/ 19 w 312"/>
                <a:gd name="T95" fmla="*/ 20 h 155"/>
                <a:gd name="T96" fmla="*/ 20 w 312"/>
                <a:gd name="T97" fmla="*/ 22 h 155"/>
                <a:gd name="T98" fmla="*/ 20 w 312"/>
                <a:gd name="T99" fmla="*/ 26 h 155"/>
                <a:gd name="T100" fmla="*/ 20 w 312"/>
                <a:gd name="T101" fmla="*/ 30 h 155"/>
                <a:gd name="T102" fmla="*/ 19 w 312"/>
                <a:gd name="T103" fmla="*/ 35 h 155"/>
                <a:gd name="T104" fmla="*/ 18 w 312"/>
                <a:gd name="T105" fmla="*/ 39 h 155"/>
                <a:gd name="T106" fmla="*/ 15 w 312"/>
                <a:gd name="T107" fmla="*/ 42 h 155"/>
                <a:gd name="T108" fmla="*/ 12 w 312"/>
                <a:gd name="T109" fmla="*/ 45 h 155"/>
                <a:gd name="T110" fmla="*/ 9 w 312"/>
                <a:gd name="T111" fmla="*/ 48 h 155"/>
                <a:gd name="T112" fmla="*/ 4 w 312"/>
                <a:gd name="T113" fmla="*/ 49 h 155"/>
                <a:gd name="T114" fmla="*/ 0 w 312"/>
                <a:gd name="T115" fmla="*/ 50 h 155"/>
                <a:gd name="T116" fmla="*/ 74 w 312"/>
                <a:gd name="T117" fmla="*/ 68 h 155"/>
                <a:gd name="T118" fmla="*/ 87 w 312"/>
                <a:gd name="T119" fmla="*/ 111 h 155"/>
                <a:gd name="T120" fmla="*/ 166 w 312"/>
                <a:gd name="T121" fmla="*/ 123 h 155"/>
                <a:gd name="T122" fmla="*/ 192 w 312"/>
                <a:gd name="T123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2" h="155">
                  <a:moveTo>
                    <a:pt x="192" y="155"/>
                  </a:moveTo>
                  <a:lnTo>
                    <a:pt x="194" y="151"/>
                  </a:lnTo>
                  <a:lnTo>
                    <a:pt x="197" y="148"/>
                  </a:lnTo>
                  <a:lnTo>
                    <a:pt x="200" y="145"/>
                  </a:lnTo>
                  <a:lnTo>
                    <a:pt x="203" y="142"/>
                  </a:lnTo>
                  <a:lnTo>
                    <a:pt x="211" y="137"/>
                  </a:lnTo>
                  <a:lnTo>
                    <a:pt x="220" y="132"/>
                  </a:lnTo>
                  <a:lnTo>
                    <a:pt x="238" y="123"/>
                  </a:lnTo>
                  <a:lnTo>
                    <a:pt x="253" y="117"/>
                  </a:lnTo>
                  <a:lnTo>
                    <a:pt x="255" y="109"/>
                  </a:lnTo>
                  <a:lnTo>
                    <a:pt x="260" y="97"/>
                  </a:lnTo>
                  <a:lnTo>
                    <a:pt x="264" y="91"/>
                  </a:lnTo>
                  <a:lnTo>
                    <a:pt x="267" y="86"/>
                  </a:lnTo>
                  <a:lnTo>
                    <a:pt x="269" y="82"/>
                  </a:lnTo>
                  <a:lnTo>
                    <a:pt x="272" y="81"/>
                  </a:lnTo>
                  <a:lnTo>
                    <a:pt x="312" y="44"/>
                  </a:lnTo>
                  <a:lnTo>
                    <a:pt x="312" y="39"/>
                  </a:lnTo>
                  <a:lnTo>
                    <a:pt x="310" y="35"/>
                  </a:lnTo>
                  <a:lnTo>
                    <a:pt x="306" y="32"/>
                  </a:lnTo>
                  <a:lnTo>
                    <a:pt x="302" y="30"/>
                  </a:lnTo>
                  <a:lnTo>
                    <a:pt x="291" y="28"/>
                  </a:lnTo>
                  <a:lnTo>
                    <a:pt x="280" y="27"/>
                  </a:lnTo>
                  <a:lnTo>
                    <a:pt x="268" y="27"/>
                  </a:lnTo>
                  <a:lnTo>
                    <a:pt x="259" y="27"/>
                  </a:lnTo>
                  <a:lnTo>
                    <a:pt x="256" y="26"/>
                  </a:lnTo>
                  <a:lnTo>
                    <a:pt x="253" y="25"/>
                  </a:lnTo>
                  <a:lnTo>
                    <a:pt x="252" y="23"/>
                  </a:lnTo>
                  <a:lnTo>
                    <a:pt x="253" y="20"/>
                  </a:lnTo>
                  <a:lnTo>
                    <a:pt x="232" y="19"/>
                  </a:lnTo>
                  <a:lnTo>
                    <a:pt x="216" y="17"/>
                  </a:lnTo>
                  <a:lnTo>
                    <a:pt x="202" y="13"/>
                  </a:lnTo>
                  <a:lnTo>
                    <a:pt x="189" y="9"/>
                  </a:lnTo>
                  <a:lnTo>
                    <a:pt x="177" y="6"/>
                  </a:lnTo>
                  <a:lnTo>
                    <a:pt x="163" y="3"/>
                  </a:lnTo>
                  <a:lnTo>
                    <a:pt x="146" y="1"/>
                  </a:lnTo>
                  <a:lnTo>
                    <a:pt x="126" y="0"/>
                  </a:lnTo>
                  <a:lnTo>
                    <a:pt x="110" y="1"/>
                  </a:lnTo>
                  <a:lnTo>
                    <a:pt x="74" y="4"/>
                  </a:lnTo>
                  <a:lnTo>
                    <a:pt x="53" y="6"/>
                  </a:lnTo>
                  <a:lnTo>
                    <a:pt x="34" y="8"/>
                  </a:lnTo>
                  <a:lnTo>
                    <a:pt x="18" y="10"/>
                  </a:lnTo>
                  <a:lnTo>
                    <a:pt x="7" y="12"/>
                  </a:lnTo>
                  <a:lnTo>
                    <a:pt x="9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5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20" y="22"/>
                  </a:lnTo>
                  <a:lnTo>
                    <a:pt x="20" y="26"/>
                  </a:lnTo>
                  <a:lnTo>
                    <a:pt x="20" y="30"/>
                  </a:lnTo>
                  <a:lnTo>
                    <a:pt x="19" y="35"/>
                  </a:lnTo>
                  <a:lnTo>
                    <a:pt x="18" y="39"/>
                  </a:lnTo>
                  <a:lnTo>
                    <a:pt x="15" y="42"/>
                  </a:lnTo>
                  <a:lnTo>
                    <a:pt x="12" y="45"/>
                  </a:lnTo>
                  <a:lnTo>
                    <a:pt x="9" y="48"/>
                  </a:lnTo>
                  <a:lnTo>
                    <a:pt x="4" y="49"/>
                  </a:lnTo>
                  <a:lnTo>
                    <a:pt x="0" y="50"/>
                  </a:lnTo>
                  <a:lnTo>
                    <a:pt x="74" y="68"/>
                  </a:lnTo>
                  <a:lnTo>
                    <a:pt x="87" y="111"/>
                  </a:lnTo>
                  <a:lnTo>
                    <a:pt x="166" y="123"/>
                  </a:lnTo>
                  <a:lnTo>
                    <a:pt x="192" y="15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385" name="Freeform 473"/>
            <p:cNvSpPr>
              <a:spLocks/>
            </p:cNvSpPr>
            <p:nvPr>
              <p:custDataLst>
                <p:tags r:id="rId311"/>
              </p:custDataLst>
            </p:nvPr>
          </p:nvSpPr>
          <p:spPr bwMode="auto">
            <a:xfrm>
              <a:off x="6256235" y="2747847"/>
              <a:ext cx="19151" cy="60725"/>
            </a:xfrm>
            <a:custGeom>
              <a:avLst/>
              <a:gdLst>
                <a:gd name="T0" fmla="*/ 0 w 46"/>
                <a:gd name="T1" fmla="*/ 25 h 50"/>
                <a:gd name="T2" fmla="*/ 2 w 46"/>
                <a:gd name="T3" fmla="*/ 18 h 50"/>
                <a:gd name="T4" fmla="*/ 1 w 46"/>
                <a:gd name="T5" fmla="*/ 14 h 50"/>
                <a:gd name="T6" fmla="*/ 2 w 46"/>
                <a:gd name="T7" fmla="*/ 13 h 50"/>
                <a:gd name="T8" fmla="*/ 3 w 46"/>
                <a:gd name="T9" fmla="*/ 13 h 50"/>
                <a:gd name="T10" fmla="*/ 6 w 46"/>
                <a:gd name="T11" fmla="*/ 12 h 50"/>
                <a:gd name="T12" fmla="*/ 13 w 46"/>
                <a:gd name="T13" fmla="*/ 12 h 50"/>
                <a:gd name="T14" fmla="*/ 46 w 46"/>
                <a:gd name="T15" fmla="*/ 0 h 50"/>
                <a:gd name="T16" fmla="*/ 46 w 46"/>
                <a:gd name="T17" fmla="*/ 50 h 50"/>
                <a:gd name="T18" fmla="*/ 40 w 46"/>
                <a:gd name="T19" fmla="*/ 49 h 50"/>
                <a:gd name="T20" fmla="*/ 33 w 46"/>
                <a:gd name="T21" fmla="*/ 45 h 50"/>
                <a:gd name="T22" fmla="*/ 25 w 46"/>
                <a:gd name="T23" fmla="*/ 41 h 50"/>
                <a:gd name="T24" fmla="*/ 17 w 46"/>
                <a:gd name="T25" fmla="*/ 37 h 50"/>
                <a:gd name="T26" fmla="*/ 5 w 46"/>
                <a:gd name="T27" fmla="*/ 28 h 50"/>
                <a:gd name="T28" fmla="*/ 0 w 46"/>
                <a:gd name="T29" fmla="*/ 2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6" h="50">
                  <a:moveTo>
                    <a:pt x="0" y="25"/>
                  </a:moveTo>
                  <a:lnTo>
                    <a:pt x="2" y="18"/>
                  </a:lnTo>
                  <a:lnTo>
                    <a:pt x="1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6" y="12"/>
                  </a:lnTo>
                  <a:lnTo>
                    <a:pt x="13" y="12"/>
                  </a:lnTo>
                  <a:lnTo>
                    <a:pt x="46" y="0"/>
                  </a:lnTo>
                  <a:lnTo>
                    <a:pt x="46" y="50"/>
                  </a:lnTo>
                  <a:lnTo>
                    <a:pt x="40" y="49"/>
                  </a:lnTo>
                  <a:lnTo>
                    <a:pt x="33" y="45"/>
                  </a:lnTo>
                  <a:lnTo>
                    <a:pt x="25" y="41"/>
                  </a:lnTo>
                  <a:lnTo>
                    <a:pt x="17" y="37"/>
                  </a:lnTo>
                  <a:lnTo>
                    <a:pt x="5" y="28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27" name="Freeform 474"/>
            <p:cNvSpPr>
              <a:spLocks/>
            </p:cNvSpPr>
            <p:nvPr>
              <p:custDataLst>
                <p:tags r:id="rId312"/>
              </p:custDataLst>
            </p:nvPr>
          </p:nvSpPr>
          <p:spPr bwMode="auto">
            <a:xfrm>
              <a:off x="6953882" y="4632764"/>
              <a:ext cx="69850" cy="241300"/>
            </a:xfrm>
            <a:custGeom>
              <a:avLst/>
              <a:gdLst>
                <a:gd name="T0" fmla="*/ 2147483647 w 166"/>
                <a:gd name="T1" fmla="*/ 2147483647 h 456"/>
                <a:gd name="T2" fmla="*/ 2147483647 w 166"/>
                <a:gd name="T3" fmla="*/ 2147483647 h 456"/>
                <a:gd name="T4" fmla="*/ 2147483647 w 166"/>
                <a:gd name="T5" fmla="*/ 2147483647 h 456"/>
                <a:gd name="T6" fmla="*/ 2147483647 w 166"/>
                <a:gd name="T7" fmla="*/ 2147483647 h 456"/>
                <a:gd name="T8" fmla="*/ 2147483647 w 166"/>
                <a:gd name="T9" fmla="*/ 2147483647 h 456"/>
                <a:gd name="T10" fmla="*/ 2147483647 w 166"/>
                <a:gd name="T11" fmla="*/ 2147483647 h 456"/>
                <a:gd name="T12" fmla="*/ 2147483647 w 166"/>
                <a:gd name="T13" fmla="*/ 2147483647 h 456"/>
                <a:gd name="T14" fmla="*/ 2147483647 w 166"/>
                <a:gd name="T15" fmla="*/ 2147483647 h 456"/>
                <a:gd name="T16" fmla="*/ 2147483647 w 166"/>
                <a:gd name="T17" fmla="*/ 2147483647 h 456"/>
                <a:gd name="T18" fmla="*/ 2147483647 w 166"/>
                <a:gd name="T19" fmla="*/ 2147483647 h 456"/>
                <a:gd name="T20" fmla="*/ 2147483647 w 166"/>
                <a:gd name="T21" fmla="*/ 2147483647 h 456"/>
                <a:gd name="T22" fmla="*/ 2147483647 w 166"/>
                <a:gd name="T23" fmla="*/ 2147483647 h 456"/>
                <a:gd name="T24" fmla="*/ 2147483647 w 166"/>
                <a:gd name="T25" fmla="*/ 2147483647 h 456"/>
                <a:gd name="T26" fmla="*/ 2147483647 w 166"/>
                <a:gd name="T27" fmla="*/ 2147483647 h 456"/>
                <a:gd name="T28" fmla="*/ 2147483647 w 166"/>
                <a:gd name="T29" fmla="*/ 2147483647 h 456"/>
                <a:gd name="T30" fmla="*/ 2147483647 w 166"/>
                <a:gd name="T31" fmla="*/ 2147483647 h 456"/>
                <a:gd name="T32" fmla="*/ 2147483647 w 166"/>
                <a:gd name="T33" fmla="*/ 2147483647 h 456"/>
                <a:gd name="T34" fmla="*/ 2147483647 w 166"/>
                <a:gd name="T35" fmla="*/ 2147483647 h 456"/>
                <a:gd name="T36" fmla="*/ 2147483647 w 166"/>
                <a:gd name="T37" fmla="*/ 2147483647 h 456"/>
                <a:gd name="T38" fmla="*/ 2147483647 w 166"/>
                <a:gd name="T39" fmla="*/ 2147483647 h 456"/>
                <a:gd name="T40" fmla="*/ 2147483647 w 166"/>
                <a:gd name="T41" fmla="*/ 2147483647 h 456"/>
                <a:gd name="T42" fmla="*/ 2147483647 w 166"/>
                <a:gd name="T43" fmla="*/ 2147483647 h 456"/>
                <a:gd name="T44" fmla="*/ 2147483647 w 166"/>
                <a:gd name="T45" fmla="*/ 2147483647 h 456"/>
                <a:gd name="T46" fmla="*/ 2147483647 w 166"/>
                <a:gd name="T47" fmla="*/ 2147483647 h 456"/>
                <a:gd name="T48" fmla="*/ 2147483647 w 166"/>
                <a:gd name="T49" fmla="*/ 2147483647 h 456"/>
                <a:gd name="T50" fmla="*/ 2147483647 w 166"/>
                <a:gd name="T51" fmla="*/ 2147483647 h 456"/>
                <a:gd name="T52" fmla="*/ 2147483647 w 166"/>
                <a:gd name="T53" fmla="*/ 2147483647 h 456"/>
                <a:gd name="T54" fmla="*/ 2147483647 w 166"/>
                <a:gd name="T55" fmla="*/ 2147483647 h 456"/>
                <a:gd name="T56" fmla="*/ 2147483647 w 166"/>
                <a:gd name="T57" fmla="*/ 2147483647 h 456"/>
                <a:gd name="T58" fmla="*/ 2147483647 w 166"/>
                <a:gd name="T59" fmla="*/ 2147483647 h 456"/>
                <a:gd name="T60" fmla="*/ 2147483647 w 166"/>
                <a:gd name="T61" fmla="*/ 2147483647 h 456"/>
                <a:gd name="T62" fmla="*/ 2147483647 w 166"/>
                <a:gd name="T63" fmla="*/ 2147483647 h 456"/>
                <a:gd name="T64" fmla="*/ 2147483647 w 166"/>
                <a:gd name="T65" fmla="*/ 2147483647 h 456"/>
                <a:gd name="T66" fmla="*/ 2147483647 w 166"/>
                <a:gd name="T67" fmla="*/ 2147483647 h 456"/>
                <a:gd name="T68" fmla="*/ 2147483647 w 166"/>
                <a:gd name="T69" fmla="*/ 2147483647 h 456"/>
                <a:gd name="T70" fmla="*/ 2147483647 w 166"/>
                <a:gd name="T71" fmla="*/ 2147483647 h 456"/>
                <a:gd name="T72" fmla="*/ 2147483647 w 166"/>
                <a:gd name="T73" fmla="*/ 2147483647 h 456"/>
                <a:gd name="T74" fmla="*/ 2147483647 w 166"/>
                <a:gd name="T75" fmla="*/ 2147483647 h 456"/>
                <a:gd name="T76" fmla="*/ 2147483647 w 166"/>
                <a:gd name="T77" fmla="*/ 2147483647 h 456"/>
                <a:gd name="T78" fmla="*/ 2147483647 w 166"/>
                <a:gd name="T79" fmla="*/ 2147483647 h 456"/>
                <a:gd name="T80" fmla="*/ 2147483647 w 166"/>
                <a:gd name="T81" fmla="*/ 2147483647 h 456"/>
                <a:gd name="T82" fmla="*/ 2147483647 w 166"/>
                <a:gd name="T83" fmla="*/ 2147483647 h 456"/>
                <a:gd name="T84" fmla="*/ 2147483647 w 166"/>
                <a:gd name="T85" fmla="*/ 2147483647 h 456"/>
                <a:gd name="T86" fmla="*/ 2147483647 w 166"/>
                <a:gd name="T87" fmla="*/ 2147483647 h 456"/>
                <a:gd name="T88" fmla="*/ 2147483647 w 166"/>
                <a:gd name="T89" fmla="*/ 2147483647 h 456"/>
                <a:gd name="T90" fmla="*/ 2147483647 w 166"/>
                <a:gd name="T91" fmla="*/ 2147483647 h 456"/>
                <a:gd name="T92" fmla="*/ 2147483647 w 166"/>
                <a:gd name="T93" fmla="*/ 2147483647 h 456"/>
                <a:gd name="T94" fmla="*/ 2147483647 w 166"/>
                <a:gd name="T95" fmla="*/ 2147483647 h 456"/>
                <a:gd name="T96" fmla="*/ 2147483647 w 166"/>
                <a:gd name="T97" fmla="*/ 2147483647 h 456"/>
                <a:gd name="T98" fmla="*/ 2147483647 w 166"/>
                <a:gd name="T99" fmla="*/ 2147483647 h 456"/>
                <a:gd name="T100" fmla="*/ 2147483647 w 166"/>
                <a:gd name="T101" fmla="*/ 2147483647 h 45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166" h="456">
                  <a:moveTo>
                    <a:pt x="7" y="277"/>
                  </a:moveTo>
                  <a:lnTo>
                    <a:pt x="10" y="282"/>
                  </a:lnTo>
                  <a:lnTo>
                    <a:pt x="14" y="287"/>
                  </a:lnTo>
                  <a:lnTo>
                    <a:pt x="19" y="290"/>
                  </a:lnTo>
                  <a:lnTo>
                    <a:pt x="25" y="294"/>
                  </a:lnTo>
                  <a:lnTo>
                    <a:pt x="37" y="300"/>
                  </a:lnTo>
                  <a:lnTo>
                    <a:pt x="52" y="304"/>
                  </a:lnTo>
                  <a:lnTo>
                    <a:pt x="58" y="306"/>
                  </a:lnTo>
                  <a:lnTo>
                    <a:pt x="65" y="309"/>
                  </a:lnTo>
                  <a:lnTo>
                    <a:pt x="70" y="312"/>
                  </a:lnTo>
                  <a:lnTo>
                    <a:pt x="76" y="316"/>
                  </a:lnTo>
                  <a:lnTo>
                    <a:pt x="80" y="320"/>
                  </a:lnTo>
                  <a:lnTo>
                    <a:pt x="84" y="325"/>
                  </a:lnTo>
                  <a:lnTo>
                    <a:pt x="86" y="331"/>
                  </a:lnTo>
                  <a:lnTo>
                    <a:pt x="87" y="339"/>
                  </a:lnTo>
                  <a:lnTo>
                    <a:pt x="86" y="347"/>
                  </a:lnTo>
                  <a:lnTo>
                    <a:pt x="82" y="356"/>
                  </a:lnTo>
                  <a:lnTo>
                    <a:pt x="78" y="363"/>
                  </a:lnTo>
                  <a:lnTo>
                    <a:pt x="74" y="369"/>
                  </a:lnTo>
                  <a:lnTo>
                    <a:pt x="68" y="375"/>
                  </a:lnTo>
                  <a:lnTo>
                    <a:pt x="64" y="381"/>
                  </a:lnTo>
                  <a:lnTo>
                    <a:pt x="62" y="388"/>
                  </a:lnTo>
                  <a:lnTo>
                    <a:pt x="60" y="394"/>
                  </a:lnTo>
                  <a:lnTo>
                    <a:pt x="60" y="400"/>
                  </a:lnTo>
                  <a:lnTo>
                    <a:pt x="62" y="405"/>
                  </a:lnTo>
                  <a:lnTo>
                    <a:pt x="64" y="411"/>
                  </a:lnTo>
                  <a:lnTo>
                    <a:pt x="67" y="416"/>
                  </a:lnTo>
                  <a:lnTo>
                    <a:pt x="76" y="424"/>
                  </a:lnTo>
                  <a:lnTo>
                    <a:pt x="85" y="432"/>
                  </a:lnTo>
                  <a:lnTo>
                    <a:pt x="104" y="445"/>
                  </a:lnTo>
                  <a:lnTo>
                    <a:pt x="120" y="456"/>
                  </a:lnTo>
                  <a:lnTo>
                    <a:pt x="120" y="443"/>
                  </a:lnTo>
                  <a:lnTo>
                    <a:pt x="120" y="432"/>
                  </a:lnTo>
                  <a:lnTo>
                    <a:pt x="120" y="423"/>
                  </a:lnTo>
                  <a:lnTo>
                    <a:pt x="120" y="413"/>
                  </a:lnTo>
                  <a:lnTo>
                    <a:pt x="131" y="413"/>
                  </a:lnTo>
                  <a:lnTo>
                    <a:pt x="141" y="410"/>
                  </a:lnTo>
                  <a:lnTo>
                    <a:pt x="145" y="407"/>
                  </a:lnTo>
                  <a:lnTo>
                    <a:pt x="149" y="405"/>
                  </a:lnTo>
                  <a:lnTo>
                    <a:pt x="153" y="402"/>
                  </a:lnTo>
                  <a:lnTo>
                    <a:pt x="155" y="399"/>
                  </a:lnTo>
                  <a:lnTo>
                    <a:pt x="160" y="393"/>
                  </a:lnTo>
                  <a:lnTo>
                    <a:pt x="164" y="384"/>
                  </a:lnTo>
                  <a:lnTo>
                    <a:pt x="166" y="375"/>
                  </a:lnTo>
                  <a:lnTo>
                    <a:pt x="166" y="364"/>
                  </a:lnTo>
                  <a:lnTo>
                    <a:pt x="165" y="350"/>
                  </a:lnTo>
                  <a:lnTo>
                    <a:pt x="163" y="339"/>
                  </a:lnTo>
                  <a:lnTo>
                    <a:pt x="158" y="328"/>
                  </a:lnTo>
                  <a:lnTo>
                    <a:pt x="153" y="318"/>
                  </a:lnTo>
                  <a:lnTo>
                    <a:pt x="148" y="307"/>
                  </a:lnTo>
                  <a:lnTo>
                    <a:pt x="144" y="296"/>
                  </a:lnTo>
                  <a:lnTo>
                    <a:pt x="141" y="284"/>
                  </a:lnTo>
                  <a:lnTo>
                    <a:pt x="140" y="271"/>
                  </a:lnTo>
                  <a:lnTo>
                    <a:pt x="135" y="269"/>
                  </a:lnTo>
                  <a:lnTo>
                    <a:pt x="127" y="261"/>
                  </a:lnTo>
                  <a:lnTo>
                    <a:pt x="118" y="251"/>
                  </a:lnTo>
                  <a:lnTo>
                    <a:pt x="108" y="238"/>
                  </a:lnTo>
                  <a:lnTo>
                    <a:pt x="97" y="224"/>
                  </a:lnTo>
                  <a:lnTo>
                    <a:pt x="88" y="211"/>
                  </a:lnTo>
                  <a:lnTo>
                    <a:pt x="85" y="206"/>
                  </a:lnTo>
                  <a:lnTo>
                    <a:pt x="82" y="200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81" y="177"/>
                  </a:lnTo>
                  <a:lnTo>
                    <a:pt x="85" y="157"/>
                  </a:lnTo>
                  <a:lnTo>
                    <a:pt x="88" y="147"/>
                  </a:lnTo>
                  <a:lnTo>
                    <a:pt x="91" y="138"/>
                  </a:lnTo>
                  <a:lnTo>
                    <a:pt x="96" y="129"/>
                  </a:lnTo>
                  <a:lnTo>
                    <a:pt x="100" y="123"/>
                  </a:lnTo>
                  <a:lnTo>
                    <a:pt x="98" y="113"/>
                  </a:lnTo>
                  <a:lnTo>
                    <a:pt x="96" y="99"/>
                  </a:lnTo>
                  <a:lnTo>
                    <a:pt x="95" y="82"/>
                  </a:lnTo>
                  <a:lnTo>
                    <a:pt x="93" y="63"/>
                  </a:lnTo>
                  <a:lnTo>
                    <a:pt x="92" y="45"/>
                  </a:lnTo>
                  <a:lnTo>
                    <a:pt x="90" y="30"/>
                  </a:lnTo>
                  <a:lnTo>
                    <a:pt x="89" y="18"/>
                  </a:lnTo>
                  <a:lnTo>
                    <a:pt x="87" y="12"/>
                  </a:lnTo>
                  <a:lnTo>
                    <a:pt x="71" y="8"/>
                  </a:lnTo>
                  <a:lnTo>
                    <a:pt x="54" y="6"/>
                  </a:lnTo>
                  <a:lnTo>
                    <a:pt x="33" y="4"/>
                  </a:lnTo>
                  <a:lnTo>
                    <a:pt x="7" y="0"/>
                  </a:lnTo>
                  <a:lnTo>
                    <a:pt x="12" y="10"/>
                  </a:lnTo>
                  <a:lnTo>
                    <a:pt x="19" y="21"/>
                  </a:lnTo>
                  <a:lnTo>
                    <a:pt x="22" y="25"/>
                  </a:lnTo>
                  <a:lnTo>
                    <a:pt x="28" y="28"/>
                  </a:lnTo>
                  <a:lnTo>
                    <a:pt x="33" y="30"/>
                  </a:lnTo>
                  <a:lnTo>
                    <a:pt x="40" y="31"/>
                  </a:lnTo>
                  <a:lnTo>
                    <a:pt x="40" y="44"/>
                  </a:lnTo>
                  <a:lnTo>
                    <a:pt x="40" y="55"/>
                  </a:lnTo>
                  <a:lnTo>
                    <a:pt x="40" y="6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39" y="81"/>
                  </a:lnTo>
                  <a:lnTo>
                    <a:pt x="36" y="85"/>
                  </a:lnTo>
                  <a:lnTo>
                    <a:pt x="35" y="88"/>
                  </a:lnTo>
                  <a:lnTo>
                    <a:pt x="29" y="95"/>
                  </a:lnTo>
                  <a:lnTo>
                    <a:pt x="22" y="102"/>
                  </a:lnTo>
                  <a:lnTo>
                    <a:pt x="15" y="109"/>
                  </a:lnTo>
                  <a:lnTo>
                    <a:pt x="9" y="115"/>
                  </a:lnTo>
                  <a:lnTo>
                    <a:pt x="3" y="122"/>
                  </a:lnTo>
                  <a:lnTo>
                    <a:pt x="0" y="129"/>
                  </a:lnTo>
                  <a:lnTo>
                    <a:pt x="7" y="277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28" name="Freeform 475"/>
            <p:cNvSpPr>
              <a:spLocks/>
            </p:cNvSpPr>
            <p:nvPr>
              <p:custDataLst>
                <p:tags r:id="rId313"/>
              </p:custDataLst>
            </p:nvPr>
          </p:nvSpPr>
          <p:spPr bwMode="auto">
            <a:xfrm>
              <a:off x="6445882" y="3204014"/>
              <a:ext cx="14287" cy="57150"/>
            </a:xfrm>
            <a:custGeom>
              <a:avLst/>
              <a:gdLst>
                <a:gd name="T0" fmla="*/ 2147483647 w 27"/>
                <a:gd name="T1" fmla="*/ 0 h 19"/>
                <a:gd name="T2" fmla="*/ 2147483647 w 27"/>
                <a:gd name="T3" fmla="*/ 2147483647 h 19"/>
                <a:gd name="T4" fmla="*/ 2147483647 w 27"/>
                <a:gd name="T5" fmla="*/ 2147483647 h 19"/>
                <a:gd name="T6" fmla="*/ 2147483647 w 27"/>
                <a:gd name="T7" fmla="*/ 2147483647 h 19"/>
                <a:gd name="T8" fmla="*/ 0 w 27"/>
                <a:gd name="T9" fmla="*/ 2147483647 h 19"/>
                <a:gd name="T10" fmla="*/ 2147483647 w 27"/>
                <a:gd name="T11" fmla="*/ 2147483647 h 19"/>
                <a:gd name="T12" fmla="*/ 2147483647 w 27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27" h="19">
                  <a:moveTo>
                    <a:pt x="27" y="0"/>
                  </a:moveTo>
                  <a:lnTo>
                    <a:pt x="27" y="12"/>
                  </a:lnTo>
                  <a:lnTo>
                    <a:pt x="27" y="19"/>
                  </a:lnTo>
                  <a:lnTo>
                    <a:pt x="9" y="19"/>
                  </a:lnTo>
                  <a:lnTo>
                    <a:pt x="0" y="19"/>
                  </a:lnTo>
                  <a:lnTo>
                    <a:pt x="9" y="12"/>
                  </a:lnTo>
                  <a:lnTo>
                    <a:pt x="2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29" name="Freeform 476"/>
            <p:cNvSpPr>
              <a:spLocks/>
            </p:cNvSpPr>
            <p:nvPr>
              <p:custDataLst>
                <p:tags r:id="rId314"/>
              </p:custDataLst>
            </p:nvPr>
          </p:nvSpPr>
          <p:spPr bwMode="auto">
            <a:xfrm>
              <a:off x="6764969" y="4824852"/>
              <a:ext cx="188913" cy="217487"/>
            </a:xfrm>
            <a:custGeom>
              <a:avLst/>
              <a:gdLst>
                <a:gd name="T0" fmla="*/ 2147483647 w 438"/>
                <a:gd name="T1" fmla="*/ 2147483647 h 406"/>
                <a:gd name="T2" fmla="*/ 2147483647 w 438"/>
                <a:gd name="T3" fmla="*/ 2147483647 h 406"/>
                <a:gd name="T4" fmla="*/ 2147483647 w 438"/>
                <a:gd name="T5" fmla="*/ 2147483647 h 406"/>
                <a:gd name="T6" fmla="*/ 2147483647 w 438"/>
                <a:gd name="T7" fmla="*/ 2147483647 h 406"/>
                <a:gd name="T8" fmla="*/ 2147483647 w 438"/>
                <a:gd name="T9" fmla="*/ 2147483647 h 406"/>
                <a:gd name="T10" fmla="*/ 2147483647 w 438"/>
                <a:gd name="T11" fmla="*/ 2147483647 h 406"/>
                <a:gd name="T12" fmla="*/ 2147483647 w 438"/>
                <a:gd name="T13" fmla="*/ 2147483647 h 406"/>
                <a:gd name="T14" fmla="*/ 2147483647 w 438"/>
                <a:gd name="T15" fmla="*/ 2147483647 h 406"/>
                <a:gd name="T16" fmla="*/ 2147483647 w 438"/>
                <a:gd name="T17" fmla="*/ 2147483647 h 406"/>
                <a:gd name="T18" fmla="*/ 2147483647 w 438"/>
                <a:gd name="T19" fmla="*/ 2147483647 h 406"/>
                <a:gd name="T20" fmla="*/ 2147483647 w 438"/>
                <a:gd name="T21" fmla="*/ 2147483647 h 406"/>
                <a:gd name="T22" fmla="*/ 2147483647 w 438"/>
                <a:gd name="T23" fmla="*/ 2147483647 h 406"/>
                <a:gd name="T24" fmla="*/ 2147483647 w 438"/>
                <a:gd name="T25" fmla="*/ 2147483647 h 406"/>
                <a:gd name="T26" fmla="*/ 2147483647 w 438"/>
                <a:gd name="T27" fmla="*/ 2147483647 h 406"/>
                <a:gd name="T28" fmla="*/ 2147483647 w 438"/>
                <a:gd name="T29" fmla="*/ 2147483647 h 406"/>
                <a:gd name="T30" fmla="*/ 2147483647 w 438"/>
                <a:gd name="T31" fmla="*/ 2147483647 h 406"/>
                <a:gd name="T32" fmla="*/ 2147483647 w 438"/>
                <a:gd name="T33" fmla="*/ 2147483647 h 406"/>
                <a:gd name="T34" fmla="*/ 2147483647 w 438"/>
                <a:gd name="T35" fmla="*/ 2147483647 h 406"/>
                <a:gd name="T36" fmla="*/ 2147483647 w 438"/>
                <a:gd name="T37" fmla="*/ 2147483647 h 406"/>
                <a:gd name="T38" fmla="*/ 2147483647 w 438"/>
                <a:gd name="T39" fmla="*/ 2147483647 h 406"/>
                <a:gd name="T40" fmla="*/ 2147483647 w 438"/>
                <a:gd name="T41" fmla="*/ 2147483647 h 406"/>
                <a:gd name="T42" fmla="*/ 2147483647 w 438"/>
                <a:gd name="T43" fmla="*/ 2147483647 h 406"/>
                <a:gd name="T44" fmla="*/ 2147483647 w 438"/>
                <a:gd name="T45" fmla="*/ 2147483647 h 406"/>
                <a:gd name="T46" fmla="*/ 2147483647 w 438"/>
                <a:gd name="T47" fmla="*/ 2147483647 h 406"/>
                <a:gd name="T48" fmla="*/ 2147483647 w 438"/>
                <a:gd name="T49" fmla="*/ 2147483647 h 406"/>
                <a:gd name="T50" fmla="*/ 2147483647 w 438"/>
                <a:gd name="T51" fmla="*/ 2147483647 h 406"/>
                <a:gd name="T52" fmla="*/ 2147483647 w 438"/>
                <a:gd name="T53" fmla="*/ 2147483647 h 406"/>
                <a:gd name="T54" fmla="*/ 2147483647 w 438"/>
                <a:gd name="T55" fmla="*/ 2147483647 h 406"/>
                <a:gd name="T56" fmla="*/ 2147483647 w 438"/>
                <a:gd name="T57" fmla="*/ 2147483647 h 406"/>
                <a:gd name="T58" fmla="*/ 2147483647 w 438"/>
                <a:gd name="T59" fmla="*/ 2147483647 h 406"/>
                <a:gd name="T60" fmla="*/ 2147483647 w 438"/>
                <a:gd name="T61" fmla="*/ 2147483647 h 406"/>
                <a:gd name="T62" fmla="*/ 2147483647 w 438"/>
                <a:gd name="T63" fmla="*/ 2147483647 h 406"/>
                <a:gd name="T64" fmla="*/ 0 w 438"/>
                <a:gd name="T65" fmla="*/ 2147483647 h 406"/>
                <a:gd name="T66" fmla="*/ 2147483647 w 438"/>
                <a:gd name="T67" fmla="*/ 2147483647 h 406"/>
                <a:gd name="T68" fmla="*/ 2147483647 w 438"/>
                <a:gd name="T69" fmla="*/ 2147483647 h 406"/>
                <a:gd name="T70" fmla="*/ 2147483647 w 438"/>
                <a:gd name="T71" fmla="*/ 2147483647 h 406"/>
                <a:gd name="T72" fmla="*/ 2147483647 w 438"/>
                <a:gd name="T73" fmla="*/ 2147483647 h 406"/>
                <a:gd name="T74" fmla="*/ 2147483647 w 438"/>
                <a:gd name="T75" fmla="*/ 2147483647 h 406"/>
                <a:gd name="T76" fmla="*/ 2147483647 w 438"/>
                <a:gd name="T77" fmla="*/ 2147483647 h 406"/>
                <a:gd name="T78" fmla="*/ 2147483647 w 438"/>
                <a:gd name="T79" fmla="*/ 2147483647 h 406"/>
                <a:gd name="T80" fmla="*/ 2147483647 w 438"/>
                <a:gd name="T81" fmla="*/ 2147483647 h 406"/>
                <a:gd name="T82" fmla="*/ 2147483647 w 438"/>
                <a:gd name="T83" fmla="*/ 2147483647 h 406"/>
                <a:gd name="T84" fmla="*/ 2147483647 w 438"/>
                <a:gd name="T85" fmla="*/ 2147483647 h 406"/>
                <a:gd name="T86" fmla="*/ 2147483647 w 438"/>
                <a:gd name="T87" fmla="*/ 2147483647 h 406"/>
                <a:gd name="T88" fmla="*/ 2147483647 w 438"/>
                <a:gd name="T89" fmla="*/ 2147483647 h 406"/>
                <a:gd name="T90" fmla="*/ 2147483647 w 438"/>
                <a:gd name="T91" fmla="*/ 2147483647 h 406"/>
                <a:gd name="T92" fmla="*/ 2147483647 w 438"/>
                <a:gd name="T93" fmla="*/ 2147483647 h 406"/>
                <a:gd name="T94" fmla="*/ 2147483647 w 438"/>
                <a:gd name="T95" fmla="*/ 2147483647 h 406"/>
                <a:gd name="T96" fmla="*/ 2147483647 w 438"/>
                <a:gd name="T97" fmla="*/ 2147483647 h 406"/>
                <a:gd name="T98" fmla="*/ 2147483647 w 438"/>
                <a:gd name="T99" fmla="*/ 2147483647 h 406"/>
                <a:gd name="T100" fmla="*/ 2147483647 w 438"/>
                <a:gd name="T101" fmla="*/ 2147483647 h 406"/>
                <a:gd name="T102" fmla="*/ 2147483647 w 438"/>
                <a:gd name="T103" fmla="*/ 2147483647 h 406"/>
                <a:gd name="T104" fmla="*/ 2147483647 w 438"/>
                <a:gd name="T105" fmla="*/ 2147483647 h 406"/>
                <a:gd name="T106" fmla="*/ 2147483647 w 438"/>
                <a:gd name="T107" fmla="*/ 2147483647 h 406"/>
                <a:gd name="T108" fmla="*/ 2147483647 w 438"/>
                <a:gd name="T109" fmla="*/ 2147483647 h 40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438" h="406">
                  <a:moveTo>
                    <a:pt x="272" y="0"/>
                  </a:moveTo>
                  <a:lnTo>
                    <a:pt x="284" y="8"/>
                  </a:lnTo>
                  <a:lnTo>
                    <a:pt x="301" y="17"/>
                  </a:lnTo>
                  <a:lnTo>
                    <a:pt x="320" y="27"/>
                  </a:lnTo>
                  <a:lnTo>
                    <a:pt x="341" y="37"/>
                  </a:lnTo>
                  <a:lnTo>
                    <a:pt x="363" y="47"/>
                  </a:lnTo>
                  <a:lnTo>
                    <a:pt x="385" y="55"/>
                  </a:lnTo>
                  <a:lnTo>
                    <a:pt x="395" y="58"/>
                  </a:lnTo>
                  <a:lnTo>
                    <a:pt x="406" y="60"/>
                  </a:lnTo>
                  <a:lnTo>
                    <a:pt x="416" y="61"/>
                  </a:lnTo>
                  <a:lnTo>
                    <a:pt x="425" y="61"/>
                  </a:lnTo>
                  <a:lnTo>
                    <a:pt x="425" y="81"/>
                  </a:lnTo>
                  <a:lnTo>
                    <a:pt x="427" y="101"/>
                  </a:lnTo>
                  <a:lnTo>
                    <a:pt x="429" y="120"/>
                  </a:lnTo>
                  <a:lnTo>
                    <a:pt x="432" y="138"/>
                  </a:lnTo>
                  <a:lnTo>
                    <a:pt x="434" y="157"/>
                  </a:lnTo>
                  <a:lnTo>
                    <a:pt x="436" y="176"/>
                  </a:lnTo>
                  <a:lnTo>
                    <a:pt x="438" y="195"/>
                  </a:lnTo>
                  <a:lnTo>
                    <a:pt x="438" y="216"/>
                  </a:lnTo>
                  <a:lnTo>
                    <a:pt x="438" y="223"/>
                  </a:lnTo>
                  <a:lnTo>
                    <a:pt x="436" y="230"/>
                  </a:lnTo>
                  <a:lnTo>
                    <a:pt x="435" y="237"/>
                  </a:lnTo>
                  <a:lnTo>
                    <a:pt x="432" y="245"/>
                  </a:lnTo>
                  <a:lnTo>
                    <a:pt x="425" y="259"/>
                  </a:lnTo>
                  <a:lnTo>
                    <a:pt x="416" y="274"/>
                  </a:lnTo>
                  <a:lnTo>
                    <a:pt x="407" y="287"/>
                  </a:lnTo>
                  <a:lnTo>
                    <a:pt x="399" y="298"/>
                  </a:lnTo>
                  <a:lnTo>
                    <a:pt x="391" y="307"/>
                  </a:lnTo>
                  <a:lnTo>
                    <a:pt x="385" y="314"/>
                  </a:lnTo>
                  <a:lnTo>
                    <a:pt x="381" y="320"/>
                  </a:lnTo>
                  <a:lnTo>
                    <a:pt x="378" y="326"/>
                  </a:lnTo>
                  <a:lnTo>
                    <a:pt x="374" y="332"/>
                  </a:lnTo>
                  <a:lnTo>
                    <a:pt x="373" y="339"/>
                  </a:lnTo>
                  <a:lnTo>
                    <a:pt x="372" y="352"/>
                  </a:lnTo>
                  <a:lnTo>
                    <a:pt x="372" y="363"/>
                  </a:lnTo>
                  <a:lnTo>
                    <a:pt x="359" y="372"/>
                  </a:lnTo>
                  <a:lnTo>
                    <a:pt x="339" y="387"/>
                  </a:lnTo>
                  <a:lnTo>
                    <a:pt x="321" y="401"/>
                  </a:lnTo>
                  <a:lnTo>
                    <a:pt x="312" y="406"/>
                  </a:lnTo>
                  <a:lnTo>
                    <a:pt x="205" y="388"/>
                  </a:lnTo>
                  <a:lnTo>
                    <a:pt x="192" y="382"/>
                  </a:lnTo>
                  <a:lnTo>
                    <a:pt x="182" y="379"/>
                  </a:lnTo>
                  <a:lnTo>
                    <a:pt x="172" y="376"/>
                  </a:lnTo>
                  <a:lnTo>
                    <a:pt x="165" y="370"/>
                  </a:lnTo>
                  <a:lnTo>
                    <a:pt x="157" y="365"/>
                  </a:lnTo>
                  <a:lnTo>
                    <a:pt x="150" y="359"/>
                  </a:lnTo>
                  <a:lnTo>
                    <a:pt x="145" y="353"/>
                  </a:lnTo>
                  <a:lnTo>
                    <a:pt x="139" y="346"/>
                  </a:lnTo>
                  <a:lnTo>
                    <a:pt x="134" y="338"/>
                  </a:lnTo>
                  <a:lnTo>
                    <a:pt x="124" y="322"/>
                  </a:lnTo>
                  <a:lnTo>
                    <a:pt x="114" y="304"/>
                  </a:lnTo>
                  <a:lnTo>
                    <a:pt x="108" y="296"/>
                  </a:lnTo>
                  <a:lnTo>
                    <a:pt x="101" y="288"/>
                  </a:lnTo>
                  <a:lnTo>
                    <a:pt x="94" y="279"/>
                  </a:lnTo>
                  <a:lnTo>
                    <a:pt x="86" y="271"/>
                  </a:lnTo>
                  <a:lnTo>
                    <a:pt x="72" y="259"/>
                  </a:lnTo>
                  <a:lnTo>
                    <a:pt x="58" y="247"/>
                  </a:lnTo>
                  <a:lnTo>
                    <a:pt x="44" y="234"/>
                  </a:lnTo>
                  <a:lnTo>
                    <a:pt x="31" y="220"/>
                  </a:lnTo>
                  <a:lnTo>
                    <a:pt x="24" y="213"/>
                  </a:lnTo>
                  <a:lnTo>
                    <a:pt x="19" y="204"/>
                  </a:lnTo>
                  <a:lnTo>
                    <a:pt x="13" y="195"/>
                  </a:lnTo>
                  <a:lnTo>
                    <a:pt x="9" y="186"/>
                  </a:lnTo>
                  <a:lnTo>
                    <a:pt x="4" y="176"/>
                  </a:lnTo>
                  <a:lnTo>
                    <a:pt x="2" y="166"/>
                  </a:lnTo>
                  <a:lnTo>
                    <a:pt x="0" y="154"/>
                  </a:lnTo>
                  <a:lnTo>
                    <a:pt x="0" y="141"/>
                  </a:lnTo>
                  <a:lnTo>
                    <a:pt x="18" y="141"/>
                  </a:lnTo>
                  <a:lnTo>
                    <a:pt x="31" y="141"/>
                  </a:lnTo>
                  <a:lnTo>
                    <a:pt x="40" y="141"/>
                  </a:lnTo>
                  <a:lnTo>
                    <a:pt x="46" y="141"/>
                  </a:lnTo>
                  <a:lnTo>
                    <a:pt x="53" y="141"/>
                  </a:lnTo>
                  <a:lnTo>
                    <a:pt x="58" y="140"/>
                  </a:lnTo>
                  <a:lnTo>
                    <a:pt x="63" y="138"/>
                  </a:lnTo>
                  <a:lnTo>
                    <a:pt x="68" y="136"/>
                  </a:lnTo>
                  <a:lnTo>
                    <a:pt x="77" y="131"/>
                  </a:lnTo>
                  <a:lnTo>
                    <a:pt x="85" y="124"/>
                  </a:lnTo>
                  <a:lnTo>
                    <a:pt x="99" y="108"/>
                  </a:lnTo>
                  <a:lnTo>
                    <a:pt x="113" y="92"/>
                  </a:lnTo>
                  <a:lnTo>
                    <a:pt x="117" y="87"/>
                  </a:lnTo>
                  <a:lnTo>
                    <a:pt x="124" y="83"/>
                  </a:lnTo>
                  <a:lnTo>
                    <a:pt x="130" y="80"/>
                  </a:lnTo>
                  <a:lnTo>
                    <a:pt x="136" y="77"/>
                  </a:lnTo>
                  <a:lnTo>
                    <a:pt x="150" y="71"/>
                  </a:lnTo>
                  <a:lnTo>
                    <a:pt x="165" y="65"/>
                  </a:lnTo>
                  <a:lnTo>
                    <a:pt x="179" y="60"/>
                  </a:lnTo>
                  <a:lnTo>
                    <a:pt x="192" y="55"/>
                  </a:lnTo>
                  <a:lnTo>
                    <a:pt x="203" y="50"/>
                  </a:lnTo>
                  <a:lnTo>
                    <a:pt x="212" y="43"/>
                  </a:lnTo>
                  <a:lnTo>
                    <a:pt x="211" y="43"/>
                  </a:lnTo>
                  <a:lnTo>
                    <a:pt x="210" y="41"/>
                  </a:lnTo>
                  <a:lnTo>
                    <a:pt x="210" y="38"/>
                  </a:lnTo>
                  <a:lnTo>
                    <a:pt x="210" y="36"/>
                  </a:lnTo>
                  <a:lnTo>
                    <a:pt x="211" y="30"/>
                  </a:lnTo>
                  <a:lnTo>
                    <a:pt x="212" y="24"/>
                  </a:lnTo>
                  <a:lnTo>
                    <a:pt x="213" y="17"/>
                  </a:lnTo>
                  <a:lnTo>
                    <a:pt x="214" y="14"/>
                  </a:lnTo>
                  <a:lnTo>
                    <a:pt x="217" y="12"/>
                  </a:lnTo>
                  <a:lnTo>
                    <a:pt x="221" y="12"/>
                  </a:lnTo>
                  <a:lnTo>
                    <a:pt x="225" y="12"/>
                  </a:lnTo>
                  <a:lnTo>
                    <a:pt x="229" y="11"/>
                  </a:lnTo>
                  <a:lnTo>
                    <a:pt x="232" y="9"/>
                  </a:lnTo>
                  <a:lnTo>
                    <a:pt x="234" y="7"/>
                  </a:lnTo>
                  <a:lnTo>
                    <a:pt x="236" y="4"/>
                  </a:lnTo>
                  <a:lnTo>
                    <a:pt x="239" y="0"/>
                  </a:lnTo>
                  <a:lnTo>
                    <a:pt x="244" y="2"/>
                  </a:lnTo>
                  <a:lnTo>
                    <a:pt x="248" y="3"/>
                  </a:lnTo>
                  <a:lnTo>
                    <a:pt x="251" y="3"/>
                  </a:lnTo>
                  <a:lnTo>
                    <a:pt x="256" y="2"/>
                  </a:lnTo>
                  <a:lnTo>
                    <a:pt x="264" y="1"/>
                  </a:lnTo>
                  <a:lnTo>
                    <a:pt x="27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0" name="Freeform 477"/>
            <p:cNvSpPr>
              <a:spLocks/>
            </p:cNvSpPr>
            <p:nvPr>
              <p:custDataLst>
                <p:tags r:id="rId315"/>
              </p:custDataLst>
            </p:nvPr>
          </p:nvSpPr>
          <p:spPr bwMode="auto">
            <a:xfrm>
              <a:off x="6677657" y="4601014"/>
              <a:ext cx="293687" cy="300038"/>
            </a:xfrm>
            <a:custGeom>
              <a:avLst/>
              <a:gdLst>
                <a:gd name="T0" fmla="*/ 2147483647 w 678"/>
                <a:gd name="T1" fmla="*/ 2147483647 h 574"/>
                <a:gd name="T2" fmla="*/ 2147483647 w 678"/>
                <a:gd name="T3" fmla="*/ 2147483647 h 574"/>
                <a:gd name="T4" fmla="*/ 2147483647 w 678"/>
                <a:gd name="T5" fmla="*/ 2147483647 h 574"/>
                <a:gd name="T6" fmla="*/ 2147483647 w 678"/>
                <a:gd name="T7" fmla="*/ 2147483647 h 574"/>
                <a:gd name="T8" fmla="*/ 2147483647 w 678"/>
                <a:gd name="T9" fmla="*/ 2147483647 h 574"/>
                <a:gd name="T10" fmla="*/ 2147483647 w 678"/>
                <a:gd name="T11" fmla="*/ 2147483647 h 574"/>
                <a:gd name="T12" fmla="*/ 2147483647 w 678"/>
                <a:gd name="T13" fmla="*/ 2147483647 h 574"/>
                <a:gd name="T14" fmla="*/ 2147483647 w 678"/>
                <a:gd name="T15" fmla="*/ 2147483647 h 574"/>
                <a:gd name="T16" fmla="*/ 2147483647 w 678"/>
                <a:gd name="T17" fmla="*/ 2147483647 h 574"/>
                <a:gd name="T18" fmla="*/ 2147483647 w 678"/>
                <a:gd name="T19" fmla="*/ 2147483647 h 574"/>
                <a:gd name="T20" fmla="*/ 2147483647 w 678"/>
                <a:gd name="T21" fmla="*/ 2147483647 h 574"/>
                <a:gd name="T22" fmla="*/ 2147483647 w 678"/>
                <a:gd name="T23" fmla="*/ 2147483647 h 574"/>
                <a:gd name="T24" fmla="*/ 2147483647 w 678"/>
                <a:gd name="T25" fmla="*/ 2147483647 h 574"/>
                <a:gd name="T26" fmla="*/ 2147483647 w 678"/>
                <a:gd name="T27" fmla="*/ 2147483647 h 574"/>
                <a:gd name="T28" fmla="*/ 2147483647 w 678"/>
                <a:gd name="T29" fmla="*/ 2147483647 h 574"/>
                <a:gd name="T30" fmla="*/ 2147483647 w 678"/>
                <a:gd name="T31" fmla="*/ 2147483647 h 574"/>
                <a:gd name="T32" fmla="*/ 2147483647 w 678"/>
                <a:gd name="T33" fmla="*/ 2147483647 h 574"/>
                <a:gd name="T34" fmla="*/ 2147483647 w 678"/>
                <a:gd name="T35" fmla="*/ 2147483647 h 574"/>
                <a:gd name="T36" fmla="*/ 2147483647 w 678"/>
                <a:gd name="T37" fmla="*/ 2147483647 h 574"/>
                <a:gd name="T38" fmla="*/ 2147483647 w 678"/>
                <a:gd name="T39" fmla="*/ 2147483647 h 574"/>
                <a:gd name="T40" fmla="*/ 2147483647 w 678"/>
                <a:gd name="T41" fmla="*/ 2147483647 h 574"/>
                <a:gd name="T42" fmla="*/ 2147483647 w 678"/>
                <a:gd name="T43" fmla="*/ 2147483647 h 574"/>
                <a:gd name="T44" fmla="*/ 2147483647 w 678"/>
                <a:gd name="T45" fmla="*/ 2147483647 h 574"/>
                <a:gd name="T46" fmla="*/ 2147483647 w 678"/>
                <a:gd name="T47" fmla="*/ 2147483647 h 574"/>
                <a:gd name="T48" fmla="*/ 2147483647 w 678"/>
                <a:gd name="T49" fmla="*/ 2147483647 h 574"/>
                <a:gd name="T50" fmla="*/ 2147483647 w 678"/>
                <a:gd name="T51" fmla="*/ 2147483647 h 574"/>
                <a:gd name="T52" fmla="*/ 2147483647 w 678"/>
                <a:gd name="T53" fmla="*/ 2147483647 h 574"/>
                <a:gd name="T54" fmla="*/ 2147483647 w 678"/>
                <a:gd name="T55" fmla="*/ 2147483647 h 574"/>
                <a:gd name="T56" fmla="*/ 2147483647 w 678"/>
                <a:gd name="T57" fmla="*/ 2147483647 h 574"/>
                <a:gd name="T58" fmla="*/ 2147483647 w 678"/>
                <a:gd name="T59" fmla="*/ 2147483647 h 574"/>
                <a:gd name="T60" fmla="*/ 2147483647 w 678"/>
                <a:gd name="T61" fmla="*/ 2147483647 h 574"/>
                <a:gd name="T62" fmla="*/ 2147483647 w 678"/>
                <a:gd name="T63" fmla="*/ 2147483647 h 574"/>
                <a:gd name="T64" fmla="*/ 0 w 678"/>
                <a:gd name="T65" fmla="*/ 2147483647 h 574"/>
                <a:gd name="T66" fmla="*/ 2147483647 w 678"/>
                <a:gd name="T67" fmla="*/ 2147483647 h 574"/>
                <a:gd name="T68" fmla="*/ 2147483647 w 678"/>
                <a:gd name="T69" fmla="*/ 2147483647 h 574"/>
                <a:gd name="T70" fmla="*/ 2147483647 w 678"/>
                <a:gd name="T71" fmla="*/ 2147483647 h 574"/>
                <a:gd name="T72" fmla="*/ 2147483647 w 678"/>
                <a:gd name="T73" fmla="*/ 2147483647 h 574"/>
                <a:gd name="T74" fmla="*/ 2147483647 w 678"/>
                <a:gd name="T75" fmla="*/ 2147483647 h 574"/>
                <a:gd name="T76" fmla="*/ 2147483647 w 678"/>
                <a:gd name="T77" fmla="*/ 2147483647 h 574"/>
                <a:gd name="T78" fmla="*/ 2147483647 w 678"/>
                <a:gd name="T79" fmla="*/ 2147483647 h 574"/>
                <a:gd name="T80" fmla="*/ 2147483647 w 678"/>
                <a:gd name="T81" fmla="*/ 2147483647 h 574"/>
                <a:gd name="T82" fmla="*/ 2147483647 w 678"/>
                <a:gd name="T83" fmla="*/ 2147483647 h 574"/>
                <a:gd name="T84" fmla="*/ 2147483647 w 678"/>
                <a:gd name="T85" fmla="*/ 2147483647 h 574"/>
                <a:gd name="T86" fmla="*/ 2147483647 w 678"/>
                <a:gd name="T87" fmla="*/ 2147483647 h 574"/>
                <a:gd name="T88" fmla="*/ 2147483647 w 678"/>
                <a:gd name="T89" fmla="*/ 2147483647 h 574"/>
                <a:gd name="T90" fmla="*/ 2147483647 w 678"/>
                <a:gd name="T91" fmla="*/ 2147483647 h 574"/>
                <a:gd name="T92" fmla="*/ 2147483647 w 678"/>
                <a:gd name="T93" fmla="*/ 2147483647 h 574"/>
                <a:gd name="T94" fmla="*/ 2147483647 w 678"/>
                <a:gd name="T95" fmla="*/ 2147483647 h 574"/>
                <a:gd name="T96" fmla="*/ 2147483647 w 678"/>
                <a:gd name="T97" fmla="*/ 2147483647 h 574"/>
                <a:gd name="T98" fmla="*/ 2147483647 w 678"/>
                <a:gd name="T99" fmla="*/ 2147483647 h 574"/>
                <a:gd name="T100" fmla="*/ 2147483647 w 678"/>
                <a:gd name="T101" fmla="*/ 2147483647 h 574"/>
                <a:gd name="T102" fmla="*/ 2147483647 w 678"/>
                <a:gd name="T103" fmla="*/ 2147483647 h 574"/>
                <a:gd name="T104" fmla="*/ 2147483647 w 678"/>
                <a:gd name="T105" fmla="*/ 2147483647 h 574"/>
                <a:gd name="T106" fmla="*/ 2147483647 w 678"/>
                <a:gd name="T107" fmla="*/ 2147483647 h 574"/>
                <a:gd name="T108" fmla="*/ 2147483647 w 678"/>
                <a:gd name="T109" fmla="*/ 2147483647 h 574"/>
                <a:gd name="T110" fmla="*/ 2147483647 w 678"/>
                <a:gd name="T111" fmla="*/ 2147483647 h 574"/>
                <a:gd name="T112" fmla="*/ 2147483647 w 678"/>
                <a:gd name="T113" fmla="*/ 2147483647 h 574"/>
                <a:gd name="T114" fmla="*/ 2147483647 w 678"/>
                <a:gd name="T115" fmla="*/ 2147483647 h 574"/>
                <a:gd name="T116" fmla="*/ 2147483647 w 678"/>
                <a:gd name="T117" fmla="*/ 2147483647 h 57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678" h="574">
                  <a:moveTo>
                    <a:pt x="505" y="1"/>
                  </a:moveTo>
                  <a:lnTo>
                    <a:pt x="507" y="4"/>
                  </a:lnTo>
                  <a:lnTo>
                    <a:pt x="513" y="8"/>
                  </a:lnTo>
                  <a:lnTo>
                    <a:pt x="521" y="12"/>
                  </a:lnTo>
                  <a:lnTo>
                    <a:pt x="529" y="16"/>
                  </a:lnTo>
                  <a:lnTo>
                    <a:pt x="552" y="26"/>
                  </a:lnTo>
                  <a:lnTo>
                    <a:pt x="578" y="37"/>
                  </a:lnTo>
                  <a:lnTo>
                    <a:pt x="624" y="55"/>
                  </a:lnTo>
                  <a:lnTo>
                    <a:pt x="645" y="63"/>
                  </a:lnTo>
                  <a:lnTo>
                    <a:pt x="650" y="73"/>
                  </a:lnTo>
                  <a:lnTo>
                    <a:pt x="657" y="84"/>
                  </a:lnTo>
                  <a:lnTo>
                    <a:pt x="660" y="88"/>
                  </a:lnTo>
                  <a:lnTo>
                    <a:pt x="666" y="91"/>
                  </a:lnTo>
                  <a:lnTo>
                    <a:pt x="671" y="93"/>
                  </a:lnTo>
                  <a:lnTo>
                    <a:pt x="678" y="94"/>
                  </a:lnTo>
                  <a:lnTo>
                    <a:pt x="678" y="107"/>
                  </a:lnTo>
                  <a:lnTo>
                    <a:pt x="678" y="118"/>
                  </a:lnTo>
                  <a:lnTo>
                    <a:pt x="678" y="127"/>
                  </a:lnTo>
                  <a:lnTo>
                    <a:pt x="678" y="137"/>
                  </a:lnTo>
                  <a:lnTo>
                    <a:pt x="678" y="141"/>
                  </a:lnTo>
                  <a:lnTo>
                    <a:pt x="677" y="144"/>
                  </a:lnTo>
                  <a:lnTo>
                    <a:pt x="674" y="148"/>
                  </a:lnTo>
                  <a:lnTo>
                    <a:pt x="673" y="151"/>
                  </a:lnTo>
                  <a:lnTo>
                    <a:pt x="667" y="158"/>
                  </a:lnTo>
                  <a:lnTo>
                    <a:pt x="660" y="165"/>
                  </a:lnTo>
                  <a:lnTo>
                    <a:pt x="653" y="172"/>
                  </a:lnTo>
                  <a:lnTo>
                    <a:pt x="647" y="178"/>
                  </a:lnTo>
                  <a:lnTo>
                    <a:pt x="641" y="185"/>
                  </a:lnTo>
                  <a:lnTo>
                    <a:pt x="638" y="192"/>
                  </a:lnTo>
                  <a:lnTo>
                    <a:pt x="638" y="346"/>
                  </a:lnTo>
                  <a:lnTo>
                    <a:pt x="466" y="378"/>
                  </a:lnTo>
                  <a:lnTo>
                    <a:pt x="464" y="382"/>
                  </a:lnTo>
                  <a:lnTo>
                    <a:pt x="461" y="388"/>
                  </a:lnTo>
                  <a:lnTo>
                    <a:pt x="460" y="394"/>
                  </a:lnTo>
                  <a:lnTo>
                    <a:pt x="460" y="400"/>
                  </a:lnTo>
                  <a:lnTo>
                    <a:pt x="461" y="415"/>
                  </a:lnTo>
                  <a:lnTo>
                    <a:pt x="466" y="433"/>
                  </a:lnTo>
                  <a:lnTo>
                    <a:pt x="460" y="434"/>
                  </a:lnTo>
                  <a:lnTo>
                    <a:pt x="455" y="435"/>
                  </a:lnTo>
                  <a:lnTo>
                    <a:pt x="451" y="436"/>
                  </a:lnTo>
                  <a:lnTo>
                    <a:pt x="448" y="436"/>
                  </a:lnTo>
                  <a:lnTo>
                    <a:pt x="444" y="435"/>
                  </a:lnTo>
                  <a:lnTo>
                    <a:pt x="439" y="433"/>
                  </a:lnTo>
                  <a:lnTo>
                    <a:pt x="436" y="437"/>
                  </a:lnTo>
                  <a:lnTo>
                    <a:pt x="434" y="440"/>
                  </a:lnTo>
                  <a:lnTo>
                    <a:pt x="432" y="442"/>
                  </a:lnTo>
                  <a:lnTo>
                    <a:pt x="429" y="444"/>
                  </a:lnTo>
                  <a:lnTo>
                    <a:pt x="425" y="445"/>
                  </a:lnTo>
                  <a:lnTo>
                    <a:pt x="421" y="445"/>
                  </a:lnTo>
                  <a:lnTo>
                    <a:pt x="417" y="445"/>
                  </a:lnTo>
                  <a:lnTo>
                    <a:pt x="414" y="447"/>
                  </a:lnTo>
                  <a:lnTo>
                    <a:pt x="413" y="450"/>
                  </a:lnTo>
                  <a:lnTo>
                    <a:pt x="412" y="457"/>
                  </a:lnTo>
                  <a:lnTo>
                    <a:pt x="411" y="463"/>
                  </a:lnTo>
                  <a:lnTo>
                    <a:pt x="410" y="469"/>
                  </a:lnTo>
                  <a:lnTo>
                    <a:pt x="410" y="471"/>
                  </a:lnTo>
                  <a:lnTo>
                    <a:pt x="410" y="474"/>
                  </a:lnTo>
                  <a:lnTo>
                    <a:pt x="411" y="476"/>
                  </a:lnTo>
                  <a:lnTo>
                    <a:pt x="412" y="476"/>
                  </a:lnTo>
                  <a:lnTo>
                    <a:pt x="403" y="483"/>
                  </a:lnTo>
                  <a:lnTo>
                    <a:pt x="392" y="488"/>
                  </a:lnTo>
                  <a:lnTo>
                    <a:pt x="379" y="493"/>
                  </a:lnTo>
                  <a:lnTo>
                    <a:pt x="365" y="498"/>
                  </a:lnTo>
                  <a:lnTo>
                    <a:pt x="350" y="504"/>
                  </a:lnTo>
                  <a:lnTo>
                    <a:pt x="336" y="510"/>
                  </a:lnTo>
                  <a:lnTo>
                    <a:pt x="330" y="513"/>
                  </a:lnTo>
                  <a:lnTo>
                    <a:pt x="324" y="516"/>
                  </a:lnTo>
                  <a:lnTo>
                    <a:pt x="317" y="520"/>
                  </a:lnTo>
                  <a:lnTo>
                    <a:pt x="313" y="525"/>
                  </a:lnTo>
                  <a:lnTo>
                    <a:pt x="299" y="541"/>
                  </a:lnTo>
                  <a:lnTo>
                    <a:pt x="285" y="557"/>
                  </a:lnTo>
                  <a:lnTo>
                    <a:pt x="277" y="564"/>
                  </a:lnTo>
                  <a:lnTo>
                    <a:pt x="268" y="569"/>
                  </a:lnTo>
                  <a:lnTo>
                    <a:pt x="263" y="571"/>
                  </a:lnTo>
                  <a:lnTo>
                    <a:pt x="258" y="573"/>
                  </a:lnTo>
                  <a:lnTo>
                    <a:pt x="253" y="574"/>
                  </a:lnTo>
                  <a:lnTo>
                    <a:pt x="246" y="574"/>
                  </a:lnTo>
                  <a:lnTo>
                    <a:pt x="238" y="574"/>
                  </a:lnTo>
                  <a:lnTo>
                    <a:pt x="227" y="574"/>
                  </a:lnTo>
                  <a:lnTo>
                    <a:pt x="212" y="574"/>
                  </a:lnTo>
                  <a:lnTo>
                    <a:pt x="193" y="574"/>
                  </a:lnTo>
                  <a:lnTo>
                    <a:pt x="192" y="569"/>
                  </a:lnTo>
                  <a:lnTo>
                    <a:pt x="189" y="564"/>
                  </a:lnTo>
                  <a:lnTo>
                    <a:pt x="186" y="559"/>
                  </a:lnTo>
                  <a:lnTo>
                    <a:pt x="180" y="554"/>
                  </a:lnTo>
                  <a:lnTo>
                    <a:pt x="173" y="550"/>
                  </a:lnTo>
                  <a:lnTo>
                    <a:pt x="165" y="547"/>
                  </a:lnTo>
                  <a:lnTo>
                    <a:pt x="156" y="545"/>
                  </a:lnTo>
                  <a:lnTo>
                    <a:pt x="146" y="544"/>
                  </a:lnTo>
                  <a:lnTo>
                    <a:pt x="133" y="545"/>
                  </a:lnTo>
                  <a:lnTo>
                    <a:pt x="120" y="548"/>
                  </a:lnTo>
                  <a:lnTo>
                    <a:pt x="108" y="552"/>
                  </a:lnTo>
                  <a:lnTo>
                    <a:pt x="93" y="556"/>
                  </a:lnTo>
                  <a:lnTo>
                    <a:pt x="61" y="556"/>
                  </a:lnTo>
                  <a:lnTo>
                    <a:pt x="48" y="544"/>
                  </a:lnTo>
                  <a:lnTo>
                    <a:pt x="33" y="527"/>
                  </a:lnTo>
                  <a:lnTo>
                    <a:pt x="17" y="510"/>
                  </a:lnTo>
                  <a:lnTo>
                    <a:pt x="0" y="494"/>
                  </a:lnTo>
                  <a:lnTo>
                    <a:pt x="0" y="285"/>
                  </a:lnTo>
                  <a:lnTo>
                    <a:pt x="21" y="286"/>
                  </a:lnTo>
                  <a:lnTo>
                    <a:pt x="54" y="286"/>
                  </a:lnTo>
                  <a:lnTo>
                    <a:pt x="73" y="286"/>
                  </a:lnTo>
                  <a:lnTo>
                    <a:pt x="89" y="285"/>
                  </a:lnTo>
                  <a:lnTo>
                    <a:pt x="97" y="284"/>
                  </a:lnTo>
                  <a:lnTo>
                    <a:pt x="103" y="282"/>
                  </a:lnTo>
                  <a:lnTo>
                    <a:pt x="109" y="281"/>
                  </a:lnTo>
                  <a:lnTo>
                    <a:pt x="113" y="279"/>
                  </a:lnTo>
                  <a:lnTo>
                    <a:pt x="119" y="275"/>
                  </a:lnTo>
                  <a:lnTo>
                    <a:pt x="123" y="269"/>
                  </a:lnTo>
                  <a:lnTo>
                    <a:pt x="126" y="263"/>
                  </a:lnTo>
                  <a:lnTo>
                    <a:pt x="129" y="256"/>
                  </a:lnTo>
                  <a:lnTo>
                    <a:pt x="130" y="247"/>
                  </a:lnTo>
                  <a:lnTo>
                    <a:pt x="131" y="238"/>
                  </a:lnTo>
                  <a:lnTo>
                    <a:pt x="131" y="229"/>
                  </a:lnTo>
                  <a:lnTo>
                    <a:pt x="130" y="220"/>
                  </a:lnTo>
                  <a:lnTo>
                    <a:pt x="129" y="202"/>
                  </a:lnTo>
                  <a:lnTo>
                    <a:pt x="126" y="185"/>
                  </a:lnTo>
                  <a:lnTo>
                    <a:pt x="125" y="171"/>
                  </a:lnTo>
                  <a:lnTo>
                    <a:pt x="126" y="162"/>
                  </a:lnTo>
                  <a:lnTo>
                    <a:pt x="130" y="165"/>
                  </a:lnTo>
                  <a:lnTo>
                    <a:pt x="132" y="168"/>
                  </a:lnTo>
                  <a:lnTo>
                    <a:pt x="136" y="170"/>
                  </a:lnTo>
                  <a:lnTo>
                    <a:pt x="140" y="171"/>
                  </a:lnTo>
                  <a:lnTo>
                    <a:pt x="147" y="174"/>
                  </a:lnTo>
                  <a:lnTo>
                    <a:pt x="156" y="175"/>
                  </a:lnTo>
                  <a:lnTo>
                    <a:pt x="174" y="175"/>
                  </a:lnTo>
                  <a:lnTo>
                    <a:pt x="187" y="174"/>
                  </a:lnTo>
                  <a:lnTo>
                    <a:pt x="187" y="180"/>
                  </a:lnTo>
                  <a:lnTo>
                    <a:pt x="188" y="186"/>
                  </a:lnTo>
                  <a:lnTo>
                    <a:pt x="190" y="191"/>
                  </a:lnTo>
                  <a:lnTo>
                    <a:pt x="192" y="197"/>
                  </a:lnTo>
                  <a:lnTo>
                    <a:pt x="195" y="201"/>
                  </a:lnTo>
                  <a:lnTo>
                    <a:pt x="199" y="204"/>
                  </a:lnTo>
                  <a:lnTo>
                    <a:pt x="202" y="207"/>
                  </a:lnTo>
                  <a:lnTo>
                    <a:pt x="208" y="210"/>
                  </a:lnTo>
                  <a:lnTo>
                    <a:pt x="218" y="213"/>
                  </a:lnTo>
                  <a:lnTo>
                    <a:pt x="229" y="216"/>
                  </a:lnTo>
                  <a:lnTo>
                    <a:pt x="241" y="217"/>
                  </a:lnTo>
                  <a:lnTo>
                    <a:pt x="253" y="217"/>
                  </a:lnTo>
                  <a:lnTo>
                    <a:pt x="260" y="216"/>
                  </a:lnTo>
                  <a:lnTo>
                    <a:pt x="269" y="214"/>
                  </a:lnTo>
                  <a:lnTo>
                    <a:pt x="277" y="211"/>
                  </a:lnTo>
                  <a:lnTo>
                    <a:pt x="286" y="207"/>
                  </a:lnTo>
                  <a:lnTo>
                    <a:pt x="301" y="199"/>
                  </a:lnTo>
                  <a:lnTo>
                    <a:pt x="313" y="192"/>
                  </a:lnTo>
                  <a:lnTo>
                    <a:pt x="315" y="195"/>
                  </a:lnTo>
                  <a:lnTo>
                    <a:pt x="319" y="196"/>
                  </a:lnTo>
                  <a:lnTo>
                    <a:pt x="322" y="196"/>
                  </a:lnTo>
                  <a:lnTo>
                    <a:pt x="325" y="195"/>
                  </a:lnTo>
                  <a:lnTo>
                    <a:pt x="331" y="193"/>
                  </a:lnTo>
                  <a:lnTo>
                    <a:pt x="333" y="192"/>
                  </a:lnTo>
                  <a:lnTo>
                    <a:pt x="338" y="192"/>
                  </a:lnTo>
                  <a:lnTo>
                    <a:pt x="343" y="190"/>
                  </a:lnTo>
                  <a:lnTo>
                    <a:pt x="348" y="188"/>
                  </a:lnTo>
                  <a:lnTo>
                    <a:pt x="353" y="185"/>
                  </a:lnTo>
                  <a:lnTo>
                    <a:pt x="357" y="182"/>
                  </a:lnTo>
                  <a:lnTo>
                    <a:pt x="360" y="178"/>
                  </a:lnTo>
                  <a:lnTo>
                    <a:pt x="364" y="173"/>
                  </a:lnTo>
                  <a:lnTo>
                    <a:pt x="368" y="168"/>
                  </a:lnTo>
                  <a:lnTo>
                    <a:pt x="373" y="156"/>
                  </a:lnTo>
                  <a:lnTo>
                    <a:pt x="379" y="142"/>
                  </a:lnTo>
                  <a:lnTo>
                    <a:pt x="383" y="126"/>
                  </a:lnTo>
                  <a:lnTo>
                    <a:pt x="388" y="111"/>
                  </a:lnTo>
                  <a:lnTo>
                    <a:pt x="395" y="78"/>
                  </a:lnTo>
                  <a:lnTo>
                    <a:pt x="403" y="47"/>
                  </a:lnTo>
                  <a:lnTo>
                    <a:pt x="406" y="33"/>
                  </a:lnTo>
                  <a:lnTo>
                    <a:pt x="410" y="20"/>
                  </a:lnTo>
                  <a:lnTo>
                    <a:pt x="414" y="10"/>
                  </a:lnTo>
                  <a:lnTo>
                    <a:pt x="418" y="1"/>
                  </a:lnTo>
                  <a:lnTo>
                    <a:pt x="425" y="4"/>
                  </a:lnTo>
                  <a:lnTo>
                    <a:pt x="431" y="6"/>
                  </a:lnTo>
                  <a:lnTo>
                    <a:pt x="436" y="8"/>
                  </a:lnTo>
                  <a:lnTo>
                    <a:pt x="442" y="8"/>
                  </a:lnTo>
                  <a:lnTo>
                    <a:pt x="453" y="8"/>
                  </a:lnTo>
                  <a:lnTo>
                    <a:pt x="462" y="6"/>
                  </a:lnTo>
                  <a:lnTo>
                    <a:pt x="472" y="4"/>
                  </a:lnTo>
                  <a:lnTo>
                    <a:pt x="482" y="1"/>
                  </a:lnTo>
                  <a:lnTo>
                    <a:pt x="493" y="0"/>
                  </a:lnTo>
                  <a:lnTo>
                    <a:pt x="505" y="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1" name="Freeform 478"/>
            <p:cNvSpPr>
              <a:spLocks/>
            </p:cNvSpPr>
            <p:nvPr>
              <p:custDataLst>
                <p:tags r:id="rId316"/>
              </p:custDataLst>
            </p:nvPr>
          </p:nvSpPr>
          <p:spPr bwMode="auto">
            <a:xfrm>
              <a:off x="6414132" y="4874064"/>
              <a:ext cx="350837" cy="381000"/>
            </a:xfrm>
            <a:custGeom>
              <a:avLst/>
              <a:gdLst>
                <a:gd name="T0" fmla="*/ 2147483647 w 810"/>
                <a:gd name="T1" fmla="*/ 2147483647 h 727"/>
                <a:gd name="T2" fmla="*/ 2147483647 w 810"/>
                <a:gd name="T3" fmla="*/ 2147483647 h 727"/>
                <a:gd name="T4" fmla="*/ 2147483647 w 810"/>
                <a:gd name="T5" fmla="*/ 2147483647 h 727"/>
                <a:gd name="T6" fmla="*/ 2147483647 w 810"/>
                <a:gd name="T7" fmla="*/ 2147483647 h 727"/>
                <a:gd name="T8" fmla="*/ 2147483647 w 810"/>
                <a:gd name="T9" fmla="*/ 2147483647 h 727"/>
                <a:gd name="T10" fmla="*/ 2147483647 w 810"/>
                <a:gd name="T11" fmla="*/ 2147483647 h 727"/>
                <a:gd name="T12" fmla="*/ 2147483647 w 810"/>
                <a:gd name="T13" fmla="*/ 2147483647 h 727"/>
                <a:gd name="T14" fmla="*/ 2147483647 w 810"/>
                <a:gd name="T15" fmla="*/ 2147483647 h 727"/>
                <a:gd name="T16" fmla="*/ 2147483647 w 810"/>
                <a:gd name="T17" fmla="*/ 0 h 727"/>
                <a:gd name="T18" fmla="*/ 2147483647 w 810"/>
                <a:gd name="T19" fmla="*/ 2147483647 h 727"/>
                <a:gd name="T20" fmla="*/ 2147483647 w 810"/>
                <a:gd name="T21" fmla="*/ 2147483647 h 727"/>
                <a:gd name="T22" fmla="*/ 0 w 810"/>
                <a:gd name="T23" fmla="*/ 2147483647 h 727"/>
                <a:gd name="T24" fmla="*/ 2147483647 w 810"/>
                <a:gd name="T25" fmla="*/ 2147483647 h 727"/>
                <a:gd name="T26" fmla="*/ 2147483647 w 810"/>
                <a:gd name="T27" fmla="*/ 2147483647 h 727"/>
                <a:gd name="T28" fmla="*/ 2147483647 w 810"/>
                <a:gd name="T29" fmla="*/ 2147483647 h 727"/>
                <a:gd name="T30" fmla="*/ 2147483647 w 810"/>
                <a:gd name="T31" fmla="*/ 2147483647 h 727"/>
                <a:gd name="T32" fmla="*/ 2147483647 w 810"/>
                <a:gd name="T33" fmla="*/ 2147483647 h 727"/>
                <a:gd name="T34" fmla="*/ 2147483647 w 810"/>
                <a:gd name="T35" fmla="*/ 2147483647 h 727"/>
                <a:gd name="T36" fmla="*/ 2147483647 w 810"/>
                <a:gd name="T37" fmla="*/ 2147483647 h 727"/>
                <a:gd name="T38" fmla="*/ 2147483647 w 810"/>
                <a:gd name="T39" fmla="*/ 2147483647 h 727"/>
                <a:gd name="T40" fmla="*/ 2147483647 w 810"/>
                <a:gd name="T41" fmla="*/ 2147483647 h 727"/>
                <a:gd name="T42" fmla="*/ 2147483647 w 810"/>
                <a:gd name="T43" fmla="*/ 2147483647 h 727"/>
                <a:gd name="T44" fmla="*/ 2147483647 w 810"/>
                <a:gd name="T45" fmla="*/ 2147483647 h 727"/>
                <a:gd name="T46" fmla="*/ 2147483647 w 810"/>
                <a:gd name="T47" fmla="*/ 2147483647 h 727"/>
                <a:gd name="T48" fmla="*/ 2147483647 w 810"/>
                <a:gd name="T49" fmla="*/ 2147483647 h 727"/>
                <a:gd name="T50" fmla="*/ 2147483647 w 810"/>
                <a:gd name="T51" fmla="*/ 2147483647 h 727"/>
                <a:gd name="T52" fmla="*/ 2147483647 w 810"/>
                <a:gd name="T53" fmla="*/ 2147483647 h 727"/>
                <a:gd name="T54" fmla="*/ 2147483647 w 810"/>
                <a:gd name="T55" fmla="*/ 2147483647 h 727"/>
                <a:gd name="T56" fmla="*/ 2147483647 w 810"/>
                <a:gd name="T57" fmla="*/ 2147483647 h 727"/>
                <a:gd name="T58" fmla="*/ 2147483647 w 810"/>
                <a:gd name="T59" fmla="*/ 2147483647 h 727"/>
                <a:gd name="T60" fmla="*/ 2147483647 w 810"/>
                <a:gd name="T61" fmla="*/ 2147483647 h 727"/>
                <a:gd name="T62" fmla="*/ 2147483647 w 810"/>
                <a:gd name="T63" fmla="*/ 2147483647 h 727"/>
                <a:gd name="T64" fmla="*/ 2147483647 w 810"/>
                <a:gd name="T65" fmla="*/ 2147483647 h 727"/>
                <a:gd name="T66" fmla="*/ 2147483647 w 810"/>
                <a:gd name="T67" fmla="*/ 2147483647 h 727"/>
                <a:gd name="T68" fmla="*/ 2147483647 w 810"/>
                <a:gd name="T69" fmla="*/ 2147483647 h 727"/>
                <a:gd name="T70" fmla="*/ 2147483647 w 810"/>
                <a:gd name="T71" fmla="*/ 2147483647 h 727"/>
                <a:gd name="T72" fmla="*/ 2147483647 w 810"/>
                <a:gd name="T73" fmla="*/ 2147483647 h 727"/>
                <a:gd name="T74" fmla="*/ 2147483647 w 810"/>
                <a:gd name="T75" fmla="*/ 2147483647 h 727"/>
                <a:gd name="T76" fmla="*/ 2147483647 w 810"/>
                <a:gd name="T77" fmla="*/ 2147483647 h 727"/>
                <a:gd name="T78" fmla="*/ 2147483647 w 810"/>
                <a:gd name="T79" fmla="*/ 2147483647 h 727"/>
                <a:gd name="T80" fmla="*/ 2147483647 w 810"/>
                <a:gd name="T81" fmla="*/ 2147483647 h 727"/>
                <a:gd name="T82" fmla="*/ 2147483647 w 810"/>
                <a:gd name="T83" fmla="*/ 2147483647 h 727"/>
                <a:gd name="T84" fmla="*/ 2147483647 w 810"/>
                <a:gd name="T85" fmla="*/ 2147483647 h 727"/>
                <a:gd name="T86" fmla="*/ 2147483647 w 810"/>
                <a:gd name="T87" fmla="*/ 2147483647 h 727"/>
                <a:gd name="T88" fmla="*/ 2147483647 w 810"/>
                <a:gd name="T89" fmla="*/ 2147483647 h 727"/>
                <a:gd name="T90" fmla="*/ 2147483647 w 810"/>
                <a:gd name="T91" fmla="*/ 2147483647 h 727"/>
                <a:gd name="T92" fmla="*/ 2147483647 w 810"/>
                <a:gd name="T93" fmla="*/ 2147483647 h 727"/>
                <a:gd name="T94" fmla="*/ 2147483647 w 810"/>
                <a:gd name="T95" fmla="*/ 2147483647 h 727"/>
                <a:gd name="T96" fmla="*/ 2147483647 w 810"/>
                <a:gd name="T97" fmla="*/ 2147483647 h 727"/>
                <a:gd name="T98" fmla="*/ 2147483647 w 810"/>
                <a:gd name="T99" fmla="*/ 2147483647 h 727"/>
                <a:gd name="T100" fmla="*/ 2147483647 w 810"/>
                <a:gd name="T101" fmla="*/ 2147483647 h 727"/>
                <a:gd name="T102" fmla="*/ 2147483647 w 810"/>
                <a:gd name="T103" fmla="*/ 2147483647 h 72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810" h="727">
                  <a:moveTo>
                    <a:pt x="810" y="61"/>
                  </a:moveTo>
                  <a:lnTo>
                    <a:pt x="807" y="54"/>
                  </a:lnTo>
                  <a:lnTo>
                    <a:pt x="802" y="48"/>
                  </a:lnTo>
                  <a:lnTo>
                    <a:pt x="797" y="42"/>
                  </a:lnTo>
                  <a:lnTo>
                    <a:pt x="790" y="36"/>
                  </a:lnTo>
                  <a:lnTo>
                    <a:pt x="784" y="32"/>
                  </a:lnTo>
                  <a:lnTo>
                    <a:pt x="775" y="28"/>
                  </a:lnTo>
                  <a:lnTo>
                    <a:pt x="766" y="26"/>
                  </a:lnTo>
                  <a:lnTo>
                    <a:pt x="756" y="25"/>
                  </a:lnTo>
                  <a:lnTo>
                    <a:pt x="743" y="26"/>
                  </a:lnTo>
                  <a:lnTo>
                    <a:pt x="730" y="29"/>
                  </a:lnTo>
                  <a:lnTo>
                    <a:pt x="718" y="33"/>
                  </a:lnTo>
                  <a:lnTo>
                    <a:pt x="703" y="37"/>
                  </a:lnTo>
                  <a:lnTo>
                    <a:pt x="671" y="37"/>
                  </a:lnTo>
                  <a:lnTo>
                    <a:pt x="651" y="41"/>
                  </a:lnTo>
                  <a:lnTo>
                    <a:pt x="634" y="44"/>
                  </a:lnTo>
                  <a:lnTo>
                    <a:pt x="627" y="46"/>
                  </a:lnTo>
                  <a:lnTo>
                    <a:pt x="619" y="48"/>
                  </a:lnTo>
                  <a:lnTo>
                    <a:pt x="611" y="51"/>
                  </a:lnTo>
                  <a:lnTo>
                    <a:pt x="604" y="55"/>
                  </a:lnTo>
                  <a:lnTo>
                    <a:pt x="411" y="55"/>
                  </a:lnTo>
                  <a:lnTo>
                    <a:pt x="411" y="37"/>
                  </a:lnTo>
                  <a:lnTo>
                    <a:pt x="292" y="37"/>
                  </a:lnTo>
                  <a:lnTo>
                    <a:pt x="280" y="40"/>
                  </a:lnTo>
                  <a:lnTo>
                    <a:pt x="269" y="41"/>
                  </a:lnTo>
                  <a:lnTo>
                    <a:pt x="257" y="40"/>
                  </a:lnTo>
                  <a:lnTo>
                    <a:pt x="245" y="39"/>
                  </a:lnTo>
                  <a:lnTo>
                    <a:pt x="232" y="37"/>
                  </a:lnTo>
                  <a:lnTo>
                    <a:pt x="220" y="34"/>
                  </a:lnTo>
                  <a:lnTo>
                    <a:pt x="208" y="30"/>
                  </a:lnTo>
                  <a:lnTo>
                    <a:pt x="196" y="26"/>
                  </a:lnTo>
                  <a:lnTo>
                    <a:pt x="172" y="17"/>
                  </a:lnTo>
                  <a:lnTo>
                    <a:pt x="149" y="8"/>
                  </a:lnTo>
                  <a:lnTo>
                    <a:pt x="137" y="5"/>
                  </a:lnTo>
                  <a:lnTo>
                    <a:pt x="126" y="2"/>
                  </a:lnTo>
                  <a:lnTo>
                    <a:pt x="116" y="0"/>
                  </a:lnTo>
                  <a:lnTo>
                    <a:pt x="105" y="0"/>
                  </a:lnTo>
                  <a:lnTo>
                    <a:pt x="97" y="0"/>
                  </a:lnTo>
                  <a:lnTo>
                    <a:pt x="91" y="2"/>
                  </a:lnTo>
                  <a:lnTo>
                    <a:pt x="83" y="5"/>
                  </a:lnTo>
                  <a:lnTo>
                    <a:pt x="75" y="8"/>
                  </a:lnTo>
                  <a:lnTo>
                    <a:pt x="68" y="13"/>
                  </a:lnTo>
                  <a:lnTo>
                    <a:pt x="60" y="19"/>
                  </a:lnTo>
                  <a:lnTo>
                    <a:pt x="53" y="24"/>
                  </a:lnTo>
                  <a:lnTo>
                    <a:pt x="46" y="31"/>
                  </a:lnTo>
                  <a:lnTo>
                    <a:pt x="6" y="31"/>
                  </a:lnTo>
                  <a:lnTo>
                    <a:pt x="3" y="45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2" y="61"/>
                  </a:lnTo>
                  <a:lnTo>
                    <a:pt x="4" y="64"/>
                  </a:lnTo>
                  <a:lnTo>
                    <a:pt x="7" y="68"/>
                  </a:lnTo>
                  <a:lnTo>
                    <a:pt x="12" y="70"/>
                  </a:lnTo>
                  <a:lnTo>
                    <a:pt x="16" y="72"/>
                  </a:lnTo>
                  <a:lnTo>
                    <a:pt x="21" y="74"/>
                  </a:lnTo>
                  <a:lnTo>
                    <a:pt x="26" y="74"/>
                  </a:lnTo>
                  <a:lnTo>
                    <a:pt x="26" y="86"/>
                  </a:lnTo>
                  <a:lnTo>
                    <a:pt x="28" y="99"/>
                  </a:lnTo>
                  <a:lnTo>
                    <a:pt x="32" y="113"/>
                  </a:lnTo>
                  <a:lnTo>
                    <a:pt x="36" y="129"/>
                  </a:lnTo>
                  <a:lnTo>
                    <a:pt x="40" y="144"/>
                  </a:lnTo>
                  <a:lnTo>
                    <a:pt x="47" y="160"/>
                  </a:lnTo>
                  <a:lnTo>
                    <a:pt x="53" y="175"/>
                  </a:lnTo>
                  <a:lnTo>
                    <a:pt x="60" y="192"/>
                  </a:lnTo>
                  <a:lnTo>
                    <a:pt x="77" y="223"/>
                  </a:lnTo>
                  <a:lnTo>
                    <a:pt x="93" y="252"/>
                  </a:lnTo>
                  <a:lnTo>
                    <a:pt x="102" y="265"/>
                  </a:lnTo>
                  <a:lnTo>
                    <a:pt x="109" y="276"/>
                  </a:lnTo>
                  <a:lnTo>
                    <a:pt x="117" y="286"/>
                  </a:lnTo>
                  <a:lnTo>
                    <a:pt x="125" y="296"/>
                  </a:lnTo>
                  <a:lnTo>
                    <a:pt x="128" y="298"/>
                  </a:lnTo>
                  <a:lnTo>
                    <a:pt x="133" y="300"/>
                  </a:lnTo>
                  <a:lnTo>
                    <a:pt x="137" y="301"/>
                  </a:lnTo>
                  <a:lnTo>
                    <a:pt x="142" y="301"/>
                  </a:lnTo>
                  <a:lnTo>
                    <a:pt x="151" y="302"/>
                  </a:lnTo>
                  <a:lnTo>
                    <a:pt x="159" y="302"/>
                  </a:lnTo>
                  <a:lnTo>
                    <a:pt x="159" y="309"/>
                  </a:lnTo>
                  <a:lnTo>
                    <a:pt x="159" y="317"/>
                  </a:lnTo>
                  <a:lnTo>
                    <a:pt x="159" y="326"/>
                  </a:lnTo>
                  <a:lnTo>
                    <a:pt x="159" y="332"/>
                  </a:lnTo>
                  <a:lnTo>
                    <a:pt x="158" y="339"/>
                  </a:lnTo>
                  <a:lnTo>
                    <a:pt x="157" y="346"/>
                  </a:lnTo>
                  <a:lnTo>
                    <a:pt x="154" y="353"/>
                  </a:lnTo>
                  <a:lnTo>
                    <a:pt x="152" y="359"/>
                  </a:lnTo>
                  <a:lnTo>
                    <a:pt x="149" y="366"/>
                  </a:lnTo>
                  <a:lnTo>
                    <a:pt x="147" y="374"/>
                  </a:lnTo>
                  <a:lnTo>
                    <a:pt x="146" y="383"/>
                  </a:lnTo>
                  <a:lnTo>
                    <a:pt x="146" y="394"/>
                  </a:lnTo>
                  <a:lnTo>
                    <a:pt x="146" y="403"/>
                  </a:lnTo>
                  <a:lnTo>
                    <a:pt x="147" y="410"/>
                  </a:lnTo>
                  <a:lnTo>
                    <a:pt x="148" y="418"/>
                  </a:lnTo>
                  <a:lnTo>
                    <a:pt x="150" y="425"/>
                  </a:lnTo>
                  <a:lnTo>
                    <a:pt x="156" y="439"/>
                  </a:lnTo>
                  <a:lnTo>
                    <a:pt x="162" y="453"/>
                  </a:lnTo>
                  <a:lnTo>
                    <a:pt x="168" y="469"/>
                  </a:lnTo>
                  <a:lnTo>
                    <a:pt x="173" y="484"/>
                  </a:lnTo>
                  <a:lnTo>
                    <a:pt x="175" y="491"/>
                  </a:lnTo>
                  <a:lnTo>
                    <a:pt x="178" y="500"/>
                  </a:lnTo>
                  <a:lnTo>
                    <a:pt x="179" y="508"/>
                  </a:lnTo>
                  <a:lnTo>
                    <a:pt x="179" y="518"/>
                  </a:lnTo>
                  <a:lnTo>
                    <a:pt x="179" y="542"/>
                  </a:lnTo>
                  <a:lnTo>
                    <a:pt x="180" y="564"/>
                  </a:lnTo>
                  <a:lnTo>
                    <a:pt x="183" y="586"/>
                  </a:lnTo>
                  <a:lnTo>
                    <a:pt x="187" y="606"/>
                  </a:lnTo>
                  <a:lnTo>
                    <a:pt x="191" y="616"/>
                  </a:lnTo>
                  <a:lnTo>
                    <a:pt x="194" y="627"/>
                  </a:lnTo>
                  <a:lnTo>
                    <a:pt x="198" y="637"/>
                  </a:lnTo>
                  <a:lnTo>
                    <a:pt x="204" y="647"/>
                  </a:lnTo>
                  <a:lnTo>
                    <a:pt x="209" y="657"/>
                  </a:lnTo>
                  <a:lnTo>
                    <a:pt x="216" y="667"/>
                  </a:lnTo>
                  <a:lnTo>
                    <a:pt x="224" y="679"/>
                  </a:lnTo>
                  <a:lnTo>
                    <a:pt x="231" y="690"/>
                  </a:lnTo>
                  <a:lnTo>
                    <a:pt x="235" y="696"/>
                  </a:lnTo>
                  <a:lnTo>
                    <a:pt x="238" y="698"/>
                  </a:lnTo>
                  <a:lnTo>
                    <a:pt x="241" y="700"/>
                  </a:lnTo>
                  <a:lnTo>
                    <a:pt x="245" y="700"/>
                  </a:lnTo>
                  <a:lnTo>
                    <a:pt x="249" y="701"/>
                  </a:lnTo>
                  <a:lnTo>
                    <a:pt x="252" y="703"/>
                  </a:lnTo>
                  <a:lnTo>
                    <a:pt x="256" y="707"/>
                  </a:lnTo>
                  <a:lnTo>
                    <a:pt x="259" y="715"/>
                  </a:lnTo>
                  <a:lnTo>
                    <a:pt x="259" y="708"/>
                  </a:lnTo>
                  <a:lnTo>
                    <a:pt x="262" y="699"/>
                  </a:lnTo>
                  <a:lnTo>
                    <a:pt x="264" y="688"/>
                  </a:lnTo>
                  <a:lnTo>
                    <a:pt x="265" y="678"/>
                  </a:lnTo>
                  <a:lnTo>
                    <a:pt x="298" y="678"/>
                  </a:lnTo>
                  <a:lnTo>
                    <a:pt x="301" y="685"/>
                  </a:lnTo>
                  <a:lnTo>
                    <a:pt x="304" y="691"/>
                  </a:lnTo>
                  <a:lnTo>
                    <a:pt x="308" y="696"/>
                  </a:lnTo>
                  <a:lnTo>
                    <a:pt x="313" y="701"/>
                  </a:lnTo>
                  <a:lnTo>
                    <a:pt x="317" y="706"/>
                  </a:lnTo>
                  <a:lnTo>
                    <a:pt x="322" y="710"/>
                  </a:lnTo>
                  <a:lnTo>
                    <a:pt x="328" y="713"/>
                  </a:lnTo>
                  <a:lnTo>
                    <a:pt x="333" y="716"/>
                  </a:lnTo>
                  <a:lnTo>
                    <a:pt x="346" y="721"/>
                  </a:lnTo>
                  <a:lnTo>
                    <a:pt x="359" y="724"/>
                  </a:lnTo>
                  <a:lnTo>
                    <a:pt x="372" y="726"/>
                  </a:lnTo>
                  <a:lnTo>
                    <a:pt x="384" y="727"/>
                  </a:lnTo>
                  <a:lnTo>
                    <a:pt x="393" y="726"/>
                  </a:lnTo>
                  <a:lnTo>
                    <a:pt x="400" y="725"/>
                  </a:lnTo>
                  <a:lnTo>
                    <a:pt x="407" y="723"/>
                  </a:lnTo>
                  <a:lnTo>
                    <a:pt x="414" y="721"/>
                  </a:lnTo>
                  <a:lnTo>
                    <a:pt x="419" y="718"/>
                  </a:lnTo>
                  <a:lnTo>
                    <a:pt x="425" y="714"/>
                  </a:lnTo>
                  <a:lnTo>
                    <a:pt x="429" y="710"/>
                  </a:lnTo>
                  <a:lnTo>
                    <a:pt x="433" y="706"/>
                  </a:lnTo>
                  <a:lnTo>
                    <a:pt x="441" y="696"/>
                  </a:lnTo>
                  <a:lnTo>
                    <a:pt x="447" y="686"/>
                  </a:lnTo>
                  <a:lnTo>
                    <a:pt x="452" y="675"/>
                  </a:lnTo>
                  <a:lnTo>
                    <a:pt x="458" y="665"/>
                  </a:lnTo>
                  <a:lnTo>
                    <a:pt x="458" y="554"/>
                  </a:lnTo>
                  <a:lnTo>
                    <a:pt x="462" y="542"/>
                  </a:lnTo>
                  <a:lnTo>
                    <a:pt x="463" y="529"/>
                  </a:lnTo>
                  <a:lnTo>
                    <a:pt x="464" y="516"/>
                  </a:lnTo>
                  <a:lnTo>
                    <a:pt x="464" y="502"/>
                  </a:lnTo>
                  <a:lnTo>
                    <a:pt x="464" y="490"/>
                  </a:lnTo>
                  <a:lnTo>
                    <a:pt x="465" y="480"/>
                  </a:lnTo>
                  <a:lnTo>
                    <a:pt x="466" y="476"/>
                  </a:lnTo>
                  <a:lnTo>
                    <a:pt x="467" y="473"/>
                  </a:lnTo>
                  <a:lnTo>
                    <a:pt x="469" y="470"/>
                  </a:lnTo>
                  <a:lnTo>
                    <a:pt x="471" y="469"/>
                  </a:lnTo>
                  <a:lnTo>
                    <a:pt x="466" y="456"/>
                  </a:lnTo>
                  <a:lnTo>
                    <a:pt x="464" y="444"/>
                  </a:lnTo>
                  <a:lnTo>
                    <a:pt x="463" y="435"/>
                  </a:lnTo>
                  <a:lnTo>
                    <a:pt x="463" y="426"/>
                  </a:lnTo>
                  <a:lnTo>
                    <a:pt x="463" y="409"/>
                  </a:lnTo>
                  <a:lnTo>
                    <a:pt x="464" y="388"/>
                  </a:lnTo>
                  <a:lnTo>
                    <a:pt x="465" y="378"/>
                  </a:lnTo>
                  <a:lnTo>
                    <a:pt x="469" y="368"/>
                  </a:lnTo>
                  <a:lnTo>
                    <a:pt x="474" y="358"/>
                  </a:lnTo>
                  <a:lnTo>
                    <a:pt x="482" y="348"/>
                  </a:lnTo>
                  <a:lnTo>
                    <a:pt x="490" y="338"/>
                  </a:lnTo>
                  <a:lnTo>
                    <a:pt x="500" y="330"/>
                  </a:lnTo>
                  <a:lnTo>
                    <a:pt x="506" y="327"/>
                  </a:lnTo>
                  <a:lnTo>
                    <a:pt x="511" y="324"/>
                  </a:lnTo>
                  <a:lnTo>
                    <a:pt x="518" y="322"/>
                  </a:lnTo>
                  <a:lnTo>
                    <a:pt x="525" y="320"/>
                  </a:lnTo>
                  <a:lnTo>
                    <a:pt x="526" y="298"/>
                  </a:lnTo>
                  <a:lnTo>
                    <a:pt x="528" y="275"/>
                  </a:lnTo>
                  <a:lnTo>
                    <a:pt x="532" y="254"/>
                  </a:lnTo>
                  <a:lnTo>
                    <a:pt x="538" y="232"/>
                  </a:lnTo>
                  <a:lnTo>
                    <a:pt x="542" y="211"/>
                  </a:lnTo>
                  <a:lnTo>
                    <a:pt x="546" y="190"/>
                  </a:lnTo>
                  <a:lnTo>
                    <a:pt x="550" y="168"/>
                  </a:lnTo>
                  <a:lnTo>
                    <a:pt x="551" y="148"/>
                  </a:lnTo>
                  <a:lnTo>
                    <a:pt x="550" y="141"/>
                  </a:lnTo>
                  <a:lnTo>
                    <a:pt x="548" y="135"/>
                  </a:lnTo>
                  <a:lnTo>
                    <a:pt x="544" y="129"/>
                  </a:lnTo>
                  <a:lnTo>
                    <a:pt x="541" y="124"/>
                  </a:lnTo>
                  <a:lnTo>
                    <a:pt x="537" y="117"/>
                  </a:lnTo>
                  <a:lnTo>
                    <a:pt x="533" y="111"/>
                  </a:lnTo>
                  <a:lnTo>
                    <a:pt x="531" y="105"/>
                  </a:lnTo>
                  <a:lnTo>
                    <a:pt x="531" y="99"/>
                  </a:lnTo>
                  <a:lnTo>
                    <a:pt x="531" y="94"/>
                  </a:lnTo>
                  <a:lnTo>
                    <a:pt x="532" y="91"/>
                  </a:lnTo>
                  <a:lnTo>
                    <a:pt x="535" y="88"/>
                  </a:lnTo>
                  <a:lnTo>
                    <a:pt x="539" y="86"/>
                  </a:lnTo>
                  <a:lnTo>
                    <a:pt x="548" y="84"/>
                  </a:lnTo>
                  <a:lnTo>
                    <a:pt x="559" y="83"/>
                  </a:lnTo>
                  <a:lnTo>
                    <a:pt x="587" y="82"/>
                  </a:lnTo>
                  <a:lnTo>
                    <a:pt x="617" y="80"/>
                  </a:lnTo>
                  <a:lnTo>
                    <a:pt x="640" y="74"/>
                  </a:lnTo>
                  <a:lnTo>
                    <a:pt x="662" y="70"/>
                  </a:lnTo>
                  <a:lnTo>
                    <a:pt x="685" y="67"/>
                  </a:lnTo>
                  <a:lnTo>
                    <a:pt x="708" y="63"/>
                  </a:lnTo>
                  <a:lnTo>
                    <a:pt x="731" y="62"/>
                  </a:lnTo>
                  <a:lnTo>
                    <a:pt x="754" y="61"/>
                  </a:lnTo>
                  <a:lnTo>
                    <a:pt x="778" y="61"/>
                  </a:lnTo>
                  <a:lnTo>
                    <a:pt x="803" y="61"/>
                  </a:lnTo>
                  <a:lnTo>
                    <a:pt x="810" y="61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2" name="Freeform 479"/>
            <p:cNvSpPr>
              <a:spLocks/>
            </p:cNvSpPr>
            <p:nvPr>
              <p:custDataLst>
                <p:tags r:id="rId317"/>
              </p:custDataLst>
            </p:nvPr>
          </p:nvSpPr>
          <p:spPr bwMode="auto">
            <a:xfrm>
              <a:off x="5693407" y="3804089"/>
              <a:ext cx="161925" cy="141288"/>
            </a:xfrm>
            <a:custGeom>
              <a:avLst/>
              <a:gdLst>
                <a:gd name="T0" fmla="*/ 2147483647 w 365"/>
                <a:gd name="T1" fmla="*/ 2147483647 h 271"/>
                <a:gd name="T2" fmla="*/ 2147483647 w 365"/>
                <a:gd name="T3" fmla="*/ 2147483647 h 271"/>
                <a:gd name="T4" fmla="*/ 2147483647 w 365"/>
                <a:gd name="T5" fmla="*/ 2147483647 h 271"/>
                <a:gd name="T6" fmla="*/ 2147483647 w 365"/>
                <a:gd name="T7" fmla="*/ 2147483647 h 271"/>
                <a:gd name="T8" fmla="*/ 2147483647 w 365"/>
                <a:gd name="T9" fmla="*/ 2147483647 h 271"/>
                <a:gd name="T10" fmla="*/ 2147483647 w 365"/>
                <a:gd name="T11" fmla="*/ 2147483647 h 271"/>
                <a:gd name="T12" fmla="*/ 2147483647 w 365"/>
                <a:gd name="T13" fmla="*/ 2147483647 h 271"/>
                <a:gd name="T14" fmla="*/ 2147483647 w 365"/>
                <a:gd name="T15" fmla="*/ 2147483647 h 271"/>
                <a:gd name="T16" fmla="*/ 2147483647 w 365"/>
                <a:gd name="T17" fmla="*/ 2147483647 h 271"/>
                <a:gd name="T18" fmla="*/ 2147483647 w 365"/>
                <a:gd name="T19" fmla="*/ 2147483647 h 271"/>
                <a:gd name="T20" fmla="*/ 2147483647 w 365"/>
                <a:gd name="T21" fmla="*/ 2147483647 h 271"/>
                <a:gd name="T22" fmla="*/ 2147483647 w 365"/>
                <a:gd name="T23" fmla="*/ 2147483647 h 271"/>
                <a:gd name="T24" fmla="*/ 2147483647 w 365"/>
                <a:gd name="T25" fmla="*/ 2147483647 h 271"/>
                <a:gd name="T26" fmla="*/ 2147483647 w 365"/>
                <a:gd name="T27" fmla="*/ 2147483647 h 271"/>
                <a:gd name="T28" fmla="*/ 2147483647 w 365"/>
                <a:gd name="T29" fmla="*/ 2147483647 h 271"/>
                <a:gd name="T30" fmla="*/ 2147483647 w 365"/>
                <a:gd name="T31" fmla="*/ 2147483647 h 271"/>
                <a:gd name="T32" fmla="*/ 2147483647 w 365"/>
                <a:gd name="T33" fmla="*/ 2147483647 h 271"/>
                <a:gd name="T34" fmla="*/ 2147483647 w 365"/>
                <a:gd name="T35" fmla="*/ 2147483647 h 271"/>
                <a:gd name="T36" fmla="*/ 2147483647 w 365"/>
                <a:gd name="T37" fmla="*/ 2147483647 h 271"/>
                <a:gd name="T38" fmla="*/ 2147483647 w 365"/>
                <a:gd name="T39" fmla="*/ 2147483647 h 271"/>
                <a:gd name="T40" fmla="*/ 2147483647 w 365"/>
                <a:gd name="T41" fmla="*/ 2147483647 h 271"/>
                <a:gd name="T42" fmla="*/ 2147483647 w 365"/>
                <a:gd name="T43" fmla="*/ 2147483647 h 271"/>
                <a:gd name="T44" fmla="*/ 2147483647 w 365"/>
                <a:gd name="T45" fmla="*/ 2147483647 h 271"/>
                <a:gd name="T46" fmla="*/ 2147483647 w 365"/>
                <a:gd name="T47" fmla="*/ 2147483647 h 271"/>
                <a:gd name="T48" fmla="*/ 2147483647 w 365"/>
                <a:gd name="T49" fmla="*/ 2147483647 h 271"/>
                <a:gd name="T50" fmla="*/ 2147483647 w 365"/>
                <a:gd name="T51" fmla="*/ 2147483647 h 271"/>
                <a:gd name="T52" fmla="*/ 2147483647 w 365"/>
                <a:gd name="T53" fmla="*/ 2147483647 h 271"/>
                <a:gd name="T54" fmla="*/ 2147483647 w 365"/>
                <a:gd name="T55" fmla="*/ 2147483647 h 271"/>
                <a:gd name="T56" fmla="*/ 2147483647 w 365"/>
                <a:gd name="T57" fmla="*/ 2147483647 h 271"/>
                <a:gd name="T58" fmla="*/ 2147483647 w 365"/>
                <a:gd name="T59" fmla="*/ 2147483647 h 271"/>
                <a:gd name="T60" fmla="*/ 2147483647 w 365"/>
                <a:gd name="T61" fmla="*/ 2147483647 h 271"/>
                <a:gd name="T62" fmla="*/ 2147483647 w 365"/>
                <a:gd name="T63" fmla="*/ 2147483647 h 271"/>
                <a:gd name="T64" fmla="*/ 0 w 365"/>
                <a:gd name="T65" fmla="*/ 2147483647 h 271"/>
                <a:gd name="T66" fmla="*/ 2147483647 w 365"/>
                <a:gd name="T67" fmla="*/ 2147483647 h 271"/>
                <a:gd name="T68" fmla="*/ 2147483647 w 365"/>
                <a:gd name="T69" fmla="*/ 2147483647 h 271"/>
                <a:gd name="T70" fmla="*/ 2147483647 w 365"/>
                <a:gd name="T71" fmla="*/ 2147483647 h 271"/>
                <a:gd name="T72" fmla="*/ 2147483647 w 365"/>
                <a:gd name="T73" fmla="*/ 2147483647 h 271"/>
                <a:gd name="T74" fmla="*/ 2147483647 w 365"/>
                <a:gd name="T75" fmla="*/ 2147483647 h 271"/>
                <a:gd name="T76" fmla="*/ 2147483647 w 365"/>
                <a:gd name="T77" fmla="*/ 2147483647 h 271"/>
                <a:gd name="T78" fmla="*/ 2147483647 w 365"/>
                <a:gd name="T79" fmla="*/ 2147483647 h 271"/>
                <a:gd name="T80" fmla="*/ 2147483647 w 365"/>
                <a:gd name="T81" fmla="*/ 2147483647 h 271"/>
                <a:gd name="T82" fmla="*/ 2147483647 w 365"/>
                <a:gd name="T83" fmla="*/ 2147483647 h 271"/>
                <a:gd name="T84" fmla="*/ 2147483647 w 365"/>
                <a:gd name="T85" fmla="*/ 0 h 271"/>
                <a:gd name="T86" fmla="*/ 2147483647 w 365"/>
                <a:gd name="T87" fmla="*/ 2147483647 h 271"/>
                <a:gd name="T88" fmla="*/ 2147483647 w 365"/>
                <a:gd name="T89" fmla="*/ 2147483647 h 271"/>
                <a:gd name="T90" fmla="*/ 2147483647 w 365"/>
                <a:gd name="T91" fmla="*/ 2147483647 h 271"/>
                <a:gd name="T92" fmla="*/ 2147483647 w 365"/>
                <a:gd name="T93" fmla="*/ 2147483647 h 271"/>
                <a:gd name="T94" fmla="*/ 2147483647 w 365"/>
                <a:gd name="T95" fmla="*/ 2147483647 h 271"/>
                <a:gd name="T96" fmla="*/ 2147483647 w 365"/>
                <a:gd name="T97" fmla="*/ 2147483647 h 271"/>
                <a:gd name="T98" fmla="*/ 2147483647 w 365"/>
                <a:gd name="T99" fmla="*/ 2147483647 h 271"/>
                <a:gd name="T100" fmla="*/ 2147483647 w 365"/>
                <a:gd name="T101" fmla="*/ 2147483647 h 271"/>
                <a:gd name="T102" fmla="*/ 2147483647 w 365"/>
                <a:gd name="T103" fmla="*/ 2147483647 h 271"/>
                <a:gd name="T104" fmla="*/ 2147483647 w 365"/>
                <a:gd name="T105" fmla="*/ 2147483647 h 271"/>
                <a:gd name="T106" fmla="*/ 2147483647 w 365"/>
                <a:gd name="T107" fmla="*/ 2147483647 h 271"/>
                <a:gd name="T108" fmla="*/ 2147483647 w 365"/>
                <a:gd name="T109" fmla="*/ 2147483647 h 271"/>
                <a:gd name="T110" fmla="*/ 2147483647 w 365"/>
                <a:gd name="T111" fmla="*/ 2147483647 h 271"/>
                <a:gd name="T112" fmla="*/ 2147483647 w 365"/>
                <a:gd name="T113" fmla="*/ 2147483647 h 271"/>
                <a:gd name="T114" fmla="*/ 2147483647 w 365"/>
                <a:gd name="T115" fmla="*/ 2147483647 h 271"/>
                <a:gd name="T116" fmla="*/ 2147483647 w 365"/>
                <a:gd name="T117" fmla="*/ 2147483647 h 271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65" h="271">
                  <a:moveTo>
                    <a:pt x="219" y="252"/>
                  </a:moveTo>
                  <a:lnTo>
                    <a:pt x="203" y="250"/>
                  </a:lnTo>
                  <a:lnTo>
                    <a:pt x="184" y="248"/>
                  </a:lnTo>
                  <a:lnTo>
                    <a:pt x="163" y="246"/>
                  </a:lnTo>
                  <a:lnTo>
                    <a:pt x="142" y="246"/>
                  </a:lnTo>
                  <a:lnTo>
                    <a:pt x="121" y="247"/>
                  </a:lnTo>
                  <a:lnTo>
                    <a:pt x="101" y="249"/>
                  </a:lnTo>
                  <a:lnTo>
                    <a:pt x="92" y="250"/>
                  </a:lnTo>
                  <a:lnTo>
                    <a:pt x="82" y="252"/>
                  </a:lnTo>
                  <a:lnTo>
                    <a:pt x="74" y="255"/>
                  </a:lnTo>
                  <a:lnTo>
                    <a:pt x="65" y="258"/>
                  </a:lnTo>
                  <a:lnTo>
                    <a:pt x="26" y="271"/>
                  </a:lnTo>
                  <a:lnTo>
                    <a:pt x="23" y="271"/>
                  </a:lnTo>
                  <a:lnTo>
                    <a:pt x="20" y="270"/>
                  </a:lnTo>
                  <a:lnTo>
                    <a:pt x="18" y="268"/>
                  </a:lnTo>
                  <a:lnTo>
                    <a:pt x="17" y="266"/>
                  </a:lnTo>
                  <a:lnTo>
                    <a:pt x="17" y="260"/>
                  </a:lnTo>
                  <a:lnTo>
                    <a:pt x="18" y="254"/>
                  </a:lnTo>
                  <a:lnTo>
                    <a:pt x="24" y="240"/>
                  </a:lnTo>
                  <a:lnTo>
                    <a:pt x="26" y="228"/>
                  </a:lnTo>
                  <a:lnTo>
                    <a:pt x="45" y="227"/>
                  </a:lnTo>
                  <a:lnTo>
                    <a:pt x="61" y="226"/>
                  </a:lnTo>
                  <a:lnTo>
                    <a:pt x="75" y="224"/>
                  </a:lnTo>
                  <a:lnTo>
                    <a:pt x="89" y="222"/>
                  </a:lnTo>
                  <a:lnTo>
                    <a:pt x="102" y="220"/>
                  </a:lnTo>
                  <a:lnTo>
                    <a:pt x="115" y="218"/>
                  </a:lnTo>
                  <a:lnTo>
                    <a:pt x="129" y="216"/>
                  </a:lnTo>
                  <a:lnTo>
                    <a:pt x="146" y="216"/>
                  </a:lnTo>
                  <a:lnTo>
                    <a:pt x="164" y="217"/>
                  </a:lnTo>
                  <a:lnTo>
                    <a:pt x="182" y="218"/>
                  </a:lnTo>
                  <a:lnTo>
                    <a:pt x="191" y="218"/>
                  </a:lnTo>
                  <a:lnTo>
                    <a:pt x="199" y="218"/>
                  </a:lnTo>
                  <a:lnTo>
                    <a:pt x="209" y="217"/>
                  </a:lnTo>
                  <a:lnTo>
                    <a:pt x="219" y="216"/>
                  </a:lnTo>
                  <a:lnTo>
                    <a:pt x="217" y="211"/>
                  </a:lnTo>
                  <a:lnTo>
                    <a:pt x="215" y="208"/>
                  </a:lnTo>
                  <a:lnTo>
                    <a:pt x="213" y="203"/>
                  </a:lnTo>
                  <a:lnTo>
                    <a:pt x="210" y="201"/>
                  </a:lnTo>
                  <a:lnTo>
                    <a:pt x="204" y="196"/>
                  </a:lnTo>
                  <a:lnTo>
                    <a:pt x="195" y="194"/>
                  </a:lnTo>
                  <a:lnTo>
                    <a:pt x="186" y="192"/>
                  </a:lnTo>
                  <a:lnTo>
                    <a:pt x="175" y="191"/>
                  </a:lnTo>
                  <a:lnTo>
                    <a:pt x="164" y="191"/>
                  </a:lnTo>
                  <a:lnTo>
                    <a:pt x="152" y="190"/>
                  </a:lnTo>
                  <a:lnTo>
                    <a:pt x="120" y="191"/>
                  </a:lnTo>
                  <a:lnTo>
                    <a:pt x="93" y="192"/>
                  </a:lnTo>
                  <a:lnTo>
                    <a:pt x="79" y="193"/>
                  </a:lnTo>
                  <a:lnTo>
                    <a:pt x="64" y="196"/>
                  </a:lnTo>
                  <a:lnTo>
                    <a:pt x="49" y="199"/>
                  </a:lnTo>
                  <a:lnTo>
                    <a:pt x="33" y="203"/>
                  </a:lnTo>
                  <a:lnTo>
                    <a:pt x="37" y="191"/>
                  </a:lnTo>
                  <a:lnTo>
                    <a:pt x="38" y="183"/>
                  </a:lnTo>
                  <a:lnTo>
                    <a:pt x="39" y="177"/>
                  </a:lnTo>
                  <a:lnTo>
                    <a:pt x="39" y="172"/>
                  </a:lnTo>
                  <a:lnTo>
                    <a:pt x="34" y="168"/>
                  </a:lnTo>
                  <a:lnTo>
                    <a:pt x="26" y="164"/>
                  </a:lnTo>
                  <a:lnTo>
                    <a:pt x="18" y="161"/>
                  </a:lnTo>
                  <a:lnTo>
                    <a:pt x="13" y="160"/>
                  </a:lnTo>
                  <a:lnTo>
                    <a:pt x="13" y="153"/>
                  </a:lnTo>
                  <a:lnTo>
                    <a:pt x="11" y="147"/>
                  </a:lnTo>
                  <a:lnTo>
                    <a:pt x="8" y="144"/>
                  </a:lnTo>
                  <a:lnTo>
                    <a:pt x="6" y="143"/>
                  </a:lnTo>
                  <a:lnTo>
                    <a:pt x="4" y="142"/>
                  </a:lnTo>
                  <a:lnTo>
                    <a:pt x="2" y="141"/>
                  </a:lnTo>
                  <a:lnTo>
                    <a:pt x="0" y="139"/>
                  </a:lnTo>
                  <a:lnTo>
                    <a:pt x="0" y="135"/>
                  </a:lnTo>
                  <a:lnTo>
                    <a:pt x="1" y="125"/>
                  </a:lnTo>
                  <a:lnTo>
                    <a:pt x="5" y="115"/>
                  </a:lnTo>
                  <a:lnTo>
                    <a:pt x="11" y="104"/>
                  </a:lnTo>
                  <a:lnTo>
                    <a:pt x="17" y="92"/>
                  </a:lnTo>
                  <a:lnTo>
                    <a:pt x="24" y="80"/>
                  </a:lnTo>
                  <a:lnTo>
                    <a:pt x="30" y="69"/>
                  </a:lnTo>
                  <a:lnTo>
                    <a:pt x="36" y="59"/>
                  </a:lnTo>
                  <a:lnTo>
                    <a:pt x="39" y="49"/>
                  </a:lnTo>
                  <a:lnTo>
                    <a:pt x="45" y="43"/>
                  </a:lnTo>
                  <a:lnTo>
                    <a:pt x="48" y="42"/>
                  </a:lnTo>
                  <a:lnTo>
                    <a:pt x="49" y="44"/>
                  </a:lnTo>
                  <a:lnTo>
                    <a:pt x="49" y="48"/>
                  </a:lnTo>
                  <a:lnTo>
                    <a:pt x="48" y="51"/>
                  </a:lnTo>
                  <a:lnTo>
                    <a:pt x="52" y="36"/>
                  </a:lnTo>
                  <a:lnTo>
                    <a:pt x="61" y="35"/>
                  </a:lnTo>
                  <a:lnTo>
                    <a:pt x="75" y="31"/>
                  </a:lnTo>
                  <a:lnTo>
                    <a:pt x="94" y="25"/>
                  </a:lnTo>
                  <a:lnTo>
                    <a:pt x="114" y="18"/>
                  </a:lnTo>
                  <a:lnTo>
                    <a:pt x="150" y="6"/>
                  </a:lnTo>
                  <a:lnTo>
                    <a:pt x="165" y="0"/>
                  </a:lnTo>
                  <a:lnTo>
                    <a:pt x="175" y="8"/>
                  </a:lnTo>
                  <a:lnTo>
                    <a:pt x="184" y="15"/>
                  </a:lnTo>
                  <a:lnTo>
                    <a:pt x="194" y="20"/>
                  </a:lnTo>
                  <a:lnTo>
                    <a:pt x="202" y="24"/>
                  </a:lnTo>
                  <a:lnTo>
                    <a:pt x="210" y="27"/>
                  </a:lnTo>
                  <a:lnTo>
                    <a:pt x="220" y="29"/>
                  </a:lnTo>
                  <a:lnTo>
                    <a:pt x="229" y="30"/>
                  </a:lnTo>
                  <a:lnTo>
                    <a:pt x="239" y="30"/>
                  </a:lnTo>
                  <a:lnTo>
                    <a:pt x="239" y="42"/>
                  </a:lnTo>
                  <a:lnTo>
                    <a:pt x="241" y="52"/>
                  </a:lnTo>
                  <a:lnTo>
                    <a:pt x="243" y="61"/>
                  </a:lnTo>
                  <a:lnTo>
                    <a:pt x="247" y="69"/>
                  </a:lnTo>
                  <a:lnTo>
                    <a:pt x="250" y="77"/>
                  </a:lnTo>
                  <a:lnTo>
                    <a:pt x="254" y="84"/>
                  </a:lnTo>
                  <a:lnTo>
                    <a:pt x="259" y="90"/>
                  </a:lnTo>
                  <a:lnTo>
                    <a:pt x="264" y="95"/>
                  </a:lnTo>
                  <a:lnTo>
                    <a:pt x="286" y="115"/>
                  </a:lnTo>
                  <a:lnTo>
                    <a:pt x="305" y="129"/>
                  </a:lnTo>
                  <a:lnTo>
                    <a:pt x="305" y="210"/>
                  </a:lnTo>
                  <a:lnTo>
                    <a:pt x="352" y="234"/>
                  </a:lnTo>
                  <a:lnTo>
                    <a:pt x="353" y="245"/>
                  </a:lnTo>
                  <a:lnTo>
                    <a:pt x="359" y="257"/>
                  </a:lnTo>
                  <a:lnTo>
                    <a:pt x="363" y="267"/>
                  </a:lnTo>
                  <a:lnTo>
                    <a:pt x="365" y="271"/>
                  </a:lnTo>
                  <a:lnTo>
                    <a:pt x="353" y="267"/>
                  </a:lnTo>
                  <a:lnTo>
                    <a:pt x="321" y="259"/>
                  </a:lnTo>
                  <a:lnTo>
                    <a:pt x="300" y="255"/>
                  </a:lnTo>
                  <a:lnTo>
                    <a:pt x="275" y="252"/>
                  </a:lnTo>
                  <a:lnTo>
                    <a:pt x="262" y="251"/>
                  </a:lnTo>
                  <a:lnTo>
                    <a:pt x="248" y="251"/>
                  </a:lnTo>
                  <a:lnTo>
                    <a:pt x="233" y="251"/>
                  </a:lnTo>
                  <a:lnTo>
                    <a:pt x="219" y="252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3" name="Freeform 480"/>
            <p:cNvSpPr>
              <a:spLocks/>
            </p:cNvSpPr>
            <p:nvPr>
              <p:custDataLst>
                <p:tags r:id="rId318"/>
              </p:custDataLst>
            </p:nvPr>
          </p:nvSpPr>
          <p:spPr bwMode="auto">
            <a:xfrm>
              <a:off x="6866569" y="4366064"/>
              <a:ext cx="269875" cy="334963"/>
            </a:xfrm>
            <a:custGeom>
              <a:avLst/>
              <a:gdLst>
                <a:gd name="T0" fmla="*/ 2147483647 w 624"/>
                <a:gd name="T1" fmla="*/ 2147483647 h 640"/>
                <a:gd name="T2" fmla="*/ 2147483647 w 624"/>
                <a:gd name="T3" fmla="*/ 2147483647 h 640"/>
                <a:gd name="T4" fmla="*/ 2147483647 w 624"/>
                <a:gd name="T5" fmla="*/ 2147483647 h 640"/>
                <a:gd name="T6" fmla="*/ 2147483647 w 624"/>
                <a:gd name="T7" fmla="*/ 2147483647 h 640"/>
                <a:gd name="T8" fmla="*/ 2147483647 w 624"/>
                <a:gd name="T9" fmla="*/ 2147483647 h 640"/>
                <a:gd name="T10" fmla="*/ 2147483647 w 624"/>
                <a:gd name="T11" fmla="*/ 2147483647 h 640"/>
                <a:gd name="T12" fmla="*/ 2147483647 w 624"/>
                <a:gd name="T13" fmla="*/ 2147483647 h 640"/>
                <a:gd name="T14" fmla="*/ 2147483647 w 624"/>
                <a:gd name="T15" fmla="*/ 2147483647 h 640"/>
                <a:gd name="T16" fmla="*/ 2147483647 w 624"/>
                <a:gd name="T17" fmla="*/ 2147483647 h 640"/>
                <a:gd name="T18" fmla="*/ 2147483647 w 624"/>
                <a:gd name="T19" fmla="*/ 2147483647 h 640"/>
                <a:gd name="T20" fmla="*/ 2147483647 w 624"/>
                <a:gd name="T21" fmla="*/ 2147483647 h 640"/>
                <a:gd name="T22" fmla="*/ 2147483647 w 624"/>
                <a:gd name="T23" fmla="*/ 2147483647 h 640"/>
                <a:gd name="T24" fmla="*/ 2147483647 w 624"/>
                <a:gd name="T25" fmla="*/ 2147483647 h 640"/>
                <a:gd name="T26" fmla="*/ 2147483647 w 624"/>
                <a:gd name="T27" fmla="*/ 2147483647 h 640"/>
                <a:gd name="T28" fmla="*/ 2147483647 w 624"/>
                <a:gd name="T29" fmla="*/ 2147483647 h 640"/>
                <a:gd name="T30" fmla="*/ 2147483647 w 624"/>
                <a:gd name="T31" fmla="*/ 2147483647 h 640"/>
                <a:gd name="T32" fmla="*/ 2147483647 w 624"/>
                <a:gd name="T33" fmla="*/ 2147483647 h 640"/>
                <a:gd name="T34" fmla="*/ 2147483647 w 624"/>
                <a:gd name="T35" fmla="*/ 2147483647 h 640"/>
                <a:gd name="T36" fmla="*/ 2147483647 w 624"/>
                <a:gd name="T37" fmla="*/ 2147483647 h 640"/>
                <a:gd name="T38" fmla="*/ 2147483647 w 624"/>
                <a:gd name="T39" fmla="*/ 2147483647 h 640"/>
                <a:gd name="T40" fmla="*/ 2147483647 w 624"/>
                <a:gd name="T41" fmla="*/ 2147483647 h 640"/>
                <a:gd name="T42" fmla="*/ 2147483647 w 624"/>
                <a:gd name="T43" fmla="*/ 2147483647 h 640"/>
                <a:gd name="T44" fmla="*/ 2147483647 w 624"/>
                <a:gd name="T45" fmla="*/ 2147483647 h 640"/>
                <a:gd name="T46" fmla="*/ 2147483647 w 624"/>
                <a:gd name="T47" fmla="*/ 2147483647 h 640"/>
                <a:gd name="T48" fmla="*/ 2147483647 w 624"/>
                <a:gd name="T49" fmla="*/ 2147483647 h 640"/>
                <a:gd name="T50" fmla="*/ 2147483647 w 624"/>
                <a:gd name="T51" fmla="*/ 2147483647 h 640"/>
                <a:gd name="T52" fmla="*/ 2147483647 w 624"/>
                <a:gd name="T53" fmla="*/ 2147483647 h 640"/>
                <a:gd name="T54" fmla="*/ 2147483647 w 624"/>
                <a:gd name="T55" fmla="*/ 2147483647 h 640"/>
                <a:gd name="T56" fmla="*/ 2147483647 w 624"/>
                <a:gd name="T57" fmla="*/ 2147483647 h 640"/>
                <a:gd name="T58" fmla="*/ 2147483647 w 624"/>
                <a:gd name="T59" fmla="*/ 2147483647 h 640"/>
                <a:gd name="T60" fmla="*/ 2147483647 w 624"/>
                <a:gd name="T61" fmla="*/ 2147483647 h 640"/>
                <a:gd name="T62" fmla="*/ 2147483647 w 624"/>
                <a:gd name="T63" fmla="*/ 2147483647 h 640"/>
                <a:gd name="T64" fmla="*/ 2147483647 w 624"/>
                <a:gd name="T65" fmla="*/ 2147483647 h 640"/>
                <a:gd name="T66" fmla="*/ 2147483647 w 624"/>
                <a:gd name="T67" fmla="*/ 2147483647 h 640"/>
                <a:gd name="T68" fmla="*/ 2147483647 w 624"/>
                <a:gd name="T69" fmla="*/ 2147483647 h 640"/>
                <a:gd name="T70" fmla="*/ 2147483647 w 624"/>
                <a:gd name="T71" fmla="*/ 2147483647 h 640"/>
                <a:gd name="T72" fmla="*/ 2147483647 w 624"/>
                <a:gd name="T73" fmla="*/ 2147483647 h 640"/>
                <a:gd name="T74" fmla="*/ 2147483647 w 624"/>
                <a:gd name="T75" fmla="*/ 2147483647 h 640"/>
                <a:gd name="T76" fmla="*/ 2147483647 w 624"/>
                <a:gd name="T77" fmla="*/ 2147483647 h 640"/>
                <a:gd name="T78" fmla="*/ 2147483647 w 624"/>
                <a:gd name="T79" fmla="*/ 2147483647 h 640"/>
                <a:gd name="T80" fmla="*/ 2147483647 w 624"/>
                <a:gd name="T81" fmla="*/ 2147483647 h 640"/>
                <a:gd name="T82" fmla="*/ 2147483647 w 624"/>
                <a:gd name="T83" fmla="*/ 2147483647 h 640"/>
                <a:gd name="T84" fmla="*/ 2147483647 w 624"/>
                <a:gd name="T85" fmla="*/ 2147483647 h 640"/>
                <a:gd name="T86" fmla="*/ 2147483647 w 624"/>
                <a:gd name="T87" fmla="*/ 2147483647 h 640"/>
                <a:gd name="T88" fmla="*/ 2147483647 w 624"/>
                <a:gd name="T89" fmla="*/ 2147483647 h 640"/>
                <a:gd name="T90" fmla="*/ 0 w 624"/>
                <a:gd name="T91" fmla="*/ 2147483647 h 640"/>
                <a:gd name="T92" fmla="*/ 0 w 624"/>
                <a:gd name="T93" fmla="*/ 2147483647 h 640"/>
                <a:gd name="T94" fmla="*/ 2147483647 w 624"/>
                <a:gd name="T95" fmla="*/ 2147483647 h 640"/>
                <a:gd name="T96" fmla="*/ 2147483647 w 624"/>
                <a:gd name="T97" fmla="*/ 2147483647 h 640"/>
                <a:gd name="T98" fmla="*/ 2147483647 w 624"/>
                <a:gd name="T99" fmla="*/ 2147483647 h 640"/>
                <a:gd name="T100" fmla="*/ 2147483647 w 624"/>
                <a:gd name="T101" fmla="*/ 2147483647 h 640"/>
                <a:gd name="T102" fmla="*/ 2147483647 w 624"/>
                <a:gd name="T103" fmla="*/ 2147483647 h 640"/>
                <a:gd name="T104" fmla="*/ 2147483647 w 624"/>
                <a:gd name="T105" fmla="*/ 2147483647 h 6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624" h="640">
                  <a:moveTo>
                    <a:pt x="79" y="0"/>
                  </a:moveTo>
                  <a:lnTo>
                    <a:pt x="146" y="0"/>
                  </a:lnTo>
                  <a:lnTo>
                    <a:pt x="146" y="12"/>
                  </a:lnTo>
                  <a:lnTo>
                    <a:pt x="173" y="43"/>
                  </a:lnTo>
                  <a:lnTo>
                    <a:pt x="232" y="43"/>
                  </a:lnTo>
                  <a:lnTo>
                    <a:pt x="239" y="12"/>
                  </a:lnTo>
                  <a:lnTo>
                    <a:pt x="259" y="0"/>
                  </a:lnTo>
                  <a:lnTo>
                    <a:pt x="273" y="0"/>
                  </a:lnTo>
                  <a:lnTo>
                    <a:pt x="287" y="5"/>
                  </a:lnTo>
                  <a:lnTo>
                    <a:pt x="301" y="10"/>
                  </a:lnTo>
                  <a:lnTo>
                    <a:pt x="314" y="16"/>
                  </a:lnTo>
                  <a:lnTo>
                    <a:pt x="326" y="22"/>
                  </a:lnTo>
                  <a:lnTo>
                    <a:pt x="351" y="36"/>
                  </a:lnTo>
                  <a:lnTo>
                    <a:pt x="374" y="51"/>
                  </a:lnTo>
                  <a:lnTo>
                    <a:pt x="396" y="66"/>
                  </a:lnTo>
                  <a:lnTo>
                    <a:pt x="418" y="81"/>
                  </a:lnTo>
                  <a:lnTo>
                    <a:pt x="441" y="97"/>
                  </a:lnTo>
                  <a:lnTo>
                    <a:pt x="465" y="111"/>
                  </a:lnTo>
                  <a:lnTo>
                    <a:pt x="465" y="118"/>
                  </a:lnTo>
                  <a:lnTo>
                    <a:pt x="467" y="124"/>
                  </a:lnTo>
                  <a:lnTo>
                    <a:pt x="469" y="131"/>
                  </a:lnTo>
                  <a:lnTo>
                    <a:pt x="471" y="138"/>
                  </a:lnTo>
                  <a:lnTo>
                    <a:pt x="476" y="146"/>
                  </a:lnTo>
                  <a:lnTo>
                    <a:pt x="480" y="153"/>
                  </a:lnTo>
                  <a:lnTo>
                    <a:pt x="485" y="159"/>
                  </a:lnTo>
                  <a:lnTo>
                    <a:pt x="491" y="165"/>
                  </a:lnTo>
                  <a:lnTo>
                    <a:pt x="497" y="170"/>
                  </a:lnTo>
                  <a:lnTo>
                    <a:pt x="503" y="175"/>
                  </a:lnTo>
                  <a:lnTo>
                    <a:pt x="511" y="179"/>
                  </a:lnTo>
                  <a:lnTo>
                    <a:pt x="519" y="183"/>
                  </a:lnTo>
                  <a:lnTo>
                    <a:pt x="526" y="186"/>
                  </a:lnTo>
                  <a:lnTo>
                    <a:pt x="534" y="188"/>
                  </a:lnTo>
                  <a:lnTo>
                    <a:pt x="543" y="190"/>
                  </a:lnTo>
                  <a:lnTo>
                    <a:pt x="552" y="190"/>
                  </a:lnTo>
                  <a:lnTo>
                    <a:pt x="552" y="193"/>
                  </a:lnTo>
                  <a:lnTo>
                    <a:pt x="554" y="195"/>
                  </a:lnTo>
                  <a:lnTo>
                    <a:pt x="556" y="198"/>
                  </a:lnTo>
                  <a:lnTo>
                    <a:pt x="559" y="200"/>
                  </a:lnTo>
                  <a:lnTo>
                    <a:pt x="565" y="205"/>
                  </a:lnTo>
                  <a:lnTo>
                    <a:pt x="571" y="209"/>
                  </a:lnTo>
                  <a:lnTo>
                    <a:pt x="567" y="219"/>
                  </a:lnTo>
                  <a:lnTo>
                    <a:pt x="561" y="227"/>
                  </a:lnTo>
                  <a:lnTo>
                    <a:pt x="554" y="236"/>
                  </a:lnTo>
                  <a:lnTo>
                    <a:pt x="545" y="244"/>
                  </a:lnTo>
                  <a:lnTo>
                    <a:pt x="537" y="252"/>
                  </a:lnTo>
                  <a:lnTo>
                    <a:pt x="531" y="260"/>
                  </a:lnTo>
                  <a:lnTo>
                    <a:pt x="526" y="266"/>
                  </a:lnTo>
                  <a:lnTo>
                    <a:pt x="525" y="271"/>
                  </a:lnTo>
                  <a:lnTo>
                    <a:pt x="526" y="277"/>
                  </a:lnTo>
                  <a:lnTo>
                    <a:pt x="528" y="283"/>
                  </a:lnTo>
                  <a:lnTo>
                    <a:pt x="533" y="287"/>
                  </a:lnTo>
                  <a:lnTo>
                    <a:pt x="538" y="291"/>
                  </a:lnTo>
                  <a:lnTo>
                    <a:pt x="543" y="295"/>
                  </a:lnTo>
                  <a:lnTo>
                    <a:pt x="547" y="299"/>
                  </a:lnTo>
                  <a:lnTo>
                    <a:pt x="550" y="303"/>
                  </a:lnTo>
                  <a:lnTo>
                    <a:pt x="552" y="307"/>
                  </a:lnTo>
                  <a:lnTo>
                    <a:pt x="552" y="425"/>
                  </a:lnTo>
                  <a:lnTo>
                    <a:pt x="549" y="430"/>
                  </a:lnTo>
                  <a:lnTo>
                    <a:pt x="549" y="434"/>
                  </a:lnTo>
                  <a:lnTo>
                    <a:pt x="550" y="439"/>
                  </a:lnTo>
                  <a:lnTo>
                    <a:pt x="552" y="443"/>
                  </a:lnTo>
                  <a:lnTo>
                    <a:pt x="556" y="452"/>
                  </a:lnTo>
                  <a:lnTo>
                    <a:pt x="558" y="462"/>
                  </a:lnTo>
                  <a:lnTo>
                    <a:pt x="558" y="475"/>
                  </a:lnTo>
                  <a:lnTo>
                    <a:pt x="558" y="483"/>
                  </a:lnTo>
                  <a:lnTo>
                    <a:pt x="558" y="489"/>
                  </a:lnTo>
                  <a:lnTo>
                    <a:pt x="558" y="499"/>
                  </a:lnTo>
                  <a:lnTo>
                    <a:pt x="559" y="507"/>
                  </a:lnTo>
                  <a:lnTo>
                    <a:pt x="561" y="515"/>
                  </a:lnTo>
                  <a:lnTo>
                    <a:pt x="567" y="523"/>
                  </a:lnTo>
                  <a:lnTo>
                    <a:pt x="574" y="532"/>
                  </a:lnTo>
                  <a:lnTo>
                    <a:pt x="594" y="549"/>
                  </a:lnTo>
                  <a:lnTo>
                    <a:pt x="624" y="572"/>
                  </a:lnTo>
                  <a:lnTo>
                    <a:pt x="622" y="575"/>
                  </a:lnTo>
                  <a:lnTo>
                    <a:pt x="616" y="579"/>
                  </a:lnTo>
                  <a:lnTo>
                    <a:pt x="609" y="583"/>
                  </a:lnTo>
                  <a:lnTo>
                    <a:pt x="599" y="589"/>
                  </a:lnTo>
                  <a:lnTo>
                    <a:pt x="575" y="600"/>
                  </a:lnTo>
                  <a:lnTo>
                    <a:pt x="546" y="611"/>
                  </a:lnTo>
                  <a:lnTo>
                    <a:pt x="518" y="622"/>
                  </a:lnTo>
                  <a:lnTo>
                    <a:pt x="491" y="631"/>
                  </a:lnTo>
                  <a:lnTo>
                    <a:pt x="470" y="638"/>
                  </a:lnTo>
                  <a:lnTo>
                    <a:pt x="458" y="640"/>
                  </a:lnTo>
                  <a:lnTo>
                    <a:pt x="443" y="638"/>
                  </a:lnTo>
                  <a:lnTo>
                    <a:pt x="423" y="634"/>
                  </a:lnTo>
                  <a:lnTo>
                    <a:pt x="403" y="630"/>
                  </a:lnTo>
                  <a:lnTo>
                    <a:pt x="392" y="628"/>
                  </a:lnTo>
                  <a:lnTo>
                    <a:pt x="369" y="630"/>
                  </a:lnTo>
                  <a:lnTo>
                    <a:pt x="348" y="632"/>
                  </a:lnTo>
                  <a:lnTo>
                    <a:pt x="339" y="633"/>
                  </a:lnTo>
                  <a:lnTo>
                    <a:pt x="329" y="633"/>
                  </a:lnTo>
                  <a:lnTo>
                    <a:pt x="318" y="631"/>
                  </a:lnTo>
                  <a:lnTo>
                    <a:pt x="306" y="628"/>
                  </a:lnTo>
                  <a:lnTo>
                    <a:pt x="303" y="625"/>
                  </a:lnTo>
                  <a:lnTo>
                    <a:pt x="301" y="620"/>
                  </a:lnTo>
                  <a:lnTo>
                    <a:pt x="299" y="614"/>
                  </a:lnTo>
                  <a:lnTo>
                    <a:pt x="298" y="608"/>
                  </a:lnTo>
                  <a:lnTo>
                    <a:pt x="295" y="592"/>
                  </a:lnTo>
                  <a:lnTo>
                    <a:pt x="294" y="573"/>
                  </a:lnTo>
                  <a:lnTo>
                    <a:pt x="291" y="556"/>
                  </a:lnTo>
                  <a:lnTo>
                    <a:pt x="289" y="541"/>
                  </a:lnTo>
                  <a:lnTo>
                    <a:pt x="288" y="529"/>
                  </a:lnTo>
                  <a:lnTo>
                    <a:pt x="286" y="523"/>
                  </a:lnTo>
                  <a:lnTo>
                    <a:pt x="270" y="519"/>
                  </a:lnTo>
                  <a:lnTo>
                    <a:pt x="253" y="517"/>
                  </a:lnTo>
                  <a:lnTo>
                    <a:pt x="232" y="515"/>
                  </a:lnTo>
                  <a:lnTo>
                    <a:pt x="206" y="511"/>
                  </a:lnTo>
                  <a:lnTo>
                    <a:pt x="185" y="502"/>
                  </a:lnTo>
                  <a:lnTo>
                    <a:pt x="139" y="482"/>
                  </a:lnTo>
                  <a:lnTo>
                    <a:pt x="113" y="470"/>
                  </a:lnTo>
                  <a:lnTo>
                    <a:pt x="90" y="459"/>
                  </a:lnTo>
                  <a:lnTo>
                    <a:pt x="82" y="454"/>
                  </a:lnTo>
                  <a:lnTo>
                    <a:pt x="74" y="450"/>
                  </a:lnTo>
                  <a:lnTo>
                    <a:pt x="68" y="446"/>
                  </a:lnTo>
                  <a:lnTo>
                    <a:pt x="66" y="443"/>
                  </a:lnTo>
                  <a:lnTo>
                    <a:pt x="66" y="437"/>
                  </a:lnTo>
                  <a:lnTo>
                    <a:pt x="66" y="428"/>
                  </a:lnTo>
                  <a:lnTo>
                    <a:pt x="66" y="419"/>
                  </a:lnTo>
                  <a:lnTo>
                    <a:pt x="66" y="412"/>
                  </a:lnTo>
                  <a:lnTo>
                    <a:pt x="65" y="402"/>
                  </a:lnTo>
                  <a:lnTo>
                    <a:pt x="62" y="392"/>
                  </a:lnTo>
                  <a:lnTo>
                    <a:pt x="57" y="384"/>
                  </a:lnTo>
                  <a:lnTo>
                    <a:pt x="53" y="377"/>
                  </a:lnTo>
                  <a:lnTo>
                    <a:pt x="48" y="371"/>
                  </a:lnTo>
                  <a:lnTo>
                    <a:pt x="44" y="363"/>
                  </a:lnTo>
                  <a:lnTo>
                    <a:pt x="41" y="357"/>
                  </a:lnTo>
                  <a:lnTo>
                    <a:pt x="40" y="351"/>
                  </a:lnTo>
                  <a:lnTo>
                    <a:pt x="32" y="350"/>
                  </a:lnTo>
                  <a:lnTo>
                    <a:pt x="27" y="347"/>
                  </a:lnTo>
                  <a:lnTo>
                    <a:pt x="21" y="343"/>
                  </a:lnTo>
                  <a:lnTo>
                    <a:pt x="17" y="338"/>
                  </a:lnTo>
                  <a:lnTo>
                    <a:pt x="12" y="332"/>
                  </a:lnTo>
                  <a:lnTo>
                    <a:pt x="9" y="325"/>
                  </a:lnTo>
                  <a:lnTo>
                    <a:pt x="7" y="317"/>
                  </a:lnTo>
                  <a:lnTo>
                    <a:pt x="5" y="308"/>
                  </a:lnTo>
                  <a:lnTo>
                    <a:pt x="1" y="291"/>
                  </a:lnTo>
                  <a:lnTo>
                    <a:pt x="0" y="276"/>
                  </a:lnTo>
                  <a:lnTo>
                    <a:pt x="0" y="262"/>
                  </a:lnTo>
                  <a:lnTo>
                    <a:pt x="0" y="252"/>
                  </a:lnTo>
                  <a:lnTo>
                    <a:pt x="0" y="243"/>
                  </a:lnTo>
                  <a:lnTo>
                    <a:pt x="0" y="234"/>
                  </a:lnTo>
                  <a:lnTo>
                    <a:pt x="0" y="225"/>
                  </a:lnTo>
                  <a:lnTo>
                    <a:pt x="0" y="215"/>
                  </a:lnTo>
                  <a:lnTo>
                    <a:pt x="10" y="212"/>
                  </a:lnTo>
                  <a:lnTo>
                    <a:pt x="20" y="208"/>
                  </a:lnTo>
                  <a:lnTo>
                    <a:pt x="29" y="202"/>
                  </a:lnTo>
                  <a:lnTo>
                    <a:pt x="38" y="195"/>
                  </a:lnTo>
                  <a:lnTo>
                    <a:pt x="46" y="188"/>
                  </a:lnTo>
                  <a:lnTo>
                    <a:pt x="54" y="180"/>
                  </a:lnTo>
                  <a:lnTo>
                    <a:pt x="61" y="173"/>
                  </a:lnTo>
                  <a:lnTo>
                    <a:pt x="66" y="166"/>
                  </a:lnTo>
                  <a:lnTo>
                    <a:pt x="73" y="85"/>
                  </a:lnTo>
                  <a:lnTo>
                    <a:pt x="77" y="77"/>
                  </a:lnTo>
                  <a:lnTo>
                    <a:pt x="81" y="67"/>
                  </a:lnTo>
                  <a:lnTo>
                    <a:pt x="83" y="55"/>
                  </a:lnTo>
                  <a:lnTo>
                    <a:pt x="84" y="43"/>
                  </a:lnTo>
                  <a:lnTo>
                    <a:pt x="84" y="30"/>
                  </a:lnTo>
                  <a:lnTo>
                    <a:pt x="83" y="18"/>
                  </a:lnTo>
                  <a:lnTo>
                    <a:pt x="82" y="8"/>
                  </a:lnTo>
                  <a:lnTo>
                    <a:pt x="79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4" name="Freeform 481"/>
            <p:cNvSpPr>
              <a:spLocks/>
            </p:cNvSpPr>
            <p:nvPr>
              <p:custDataLst>
                <p:tags r:id="rId319"/>
              </p:custDataLst>
            </p:nvPr>
          </p:nvSpPr>
          <p:spPr bwMode="auto">
            <a:xfrm>
              <a:off x="9430382" y="2880164"/>
              <a:ext cx="19050" cy="57150"/>
            </a:xfrm>
            <a:custGeom>
              <a:avLst/>
              <a:gdLst>
                <a:gd name="T0" fmla="*/ 2147483647 w 52"/>
                <a:gd name="T1" fmla="*/ 2147483647 h 50"/>
                <a:gd name="T2" fmla="*/ 0 w 52"/>
                <a:gd name="T3" fmla="*/ 2147483647 h 50"/>
                <a:gd name="T4" fmla="*/ 2147483647 w 52"/>
                <a:gd name="T5" fmla="*/ 2147483647 h 50"/>
                <a:gd name="T6" fmla="*/ 2147483647 w 52"/>
                <a:gd name="T7" fmla="*/ 2147483647 h 50"/>
                <a:gd name="T8" fmla="*/ 2147483647 w 52"/>
                <a:gd name="T9" fmla="*/ 2147483647 h 50"/>
                <a:gd name="T10" fmla="*/ 2147483647 w 52"/>
                <a:gd name="T11" fmla="*/ 2147483647 h 50"/>
                <a:gd name="T12" fmla="*/ 2147483647 w 52"/>
                <a:gd name="T13" fmla="*/ 2147483647 h 50"/>
                <a:gd name="T14" fmla="*/ 2147483647 w 52"/>
                <a:gd name="T15" fmla="*/ 2147483647 h 50"/>
                <a:gd name="T16" fmla="*/ 2147483647 w 52"/>
                <a:gd name="T17" fmla="*/ 2147483647 h 50"/>
                <a:gd name="T18" fmla="*/ 2147483647 w 52"/>
                <a:gd name="T19" fmla="*/ 0 h 50"/>
                <a:gd name="T20" fmla="*/ 2147483647 w 52"/>
                <a:gd name="T21" fmla="*/ 2147483647 h 50"/>
                <a:gd name="T22" fmla="*/ 2147483647 w 52"/>
                <a:gd name="T23" fmla="*/ 2147483647 h 50"/>
                <a:gd name="T24" fmla="*/ 2147483647 w 52"/>
                <a:gd name="T25" fmla="*/ 2147483647 h 50"/>
                <a:gd name="T26" fmla="*/ 2147483647 w 52"/>
                <a:gd name="T27" fmla="*/ 2147483647 h 50"/>
                <a:gd name="T28" fmla="*/ 2147483647 w 52"/>
                <a:gd name="T29" fmla="*/ 2147483647 h 50"/>
                <a:gd name="T30" fmla="*/ 2147483647 w 52"/>
                <a:gd name="T31" fmla="*/ 2147483647 h 50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52" h="50">
                  <a:moveTo>
                    <a:pt x="13" y="50"/>
                  </a:moveTo>
                  <a:lnTo>
                    <a:pt x="0" y="32"/>
                  </a:lnTo>
                  <a:lnTo>
                    <a:pt x="2" y="25"/>
                  </a:lnTo>
                  <a:lnTo>
                    <a:pt x="6" y="18"/>
                  </a:lnTo>
                  <a:lnTo>
                    <a:pt x="12" y="13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4" y="3"/>
                  </a:lnTo>
                  <a:lnTo>
                    <a:pt x="43" y="1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27" y="22"/>
                  </a:lnTo>
                  <a:lnTo>
                    <a:pt x="22" y="30"/>
                  </a:lnTo>
                  <a:lnTo>
                    <a:pt x="17" y="36"/>
                  </a:lnTo>
                  <a:lnTo>
                    <a:pt x="14" y="43"/>
                  </a:lnTo>
                  <a:lnTo>
                    <a:pt x="13" y="50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5" name="Freeform 482"/>
            <p:cNvSpPr>
              <a:spLocks/>
            </p:cNvSpPr>
            <p:nvPr>
              <p:custDataLst>
                <p:tags r:id="rId320"/>
              </p:custDataLst>
            </p:nvPr>
          </p:nvSpPr>
          <p:spPr bwMode="auto">
            <a:xfrm>
              <a:off x="9289094" y="2881752"/>
              <a:ext cx="141288" cy="125412"/>
            </a:xfrm>
            <a:custGeom>
              <a:avLst/>
              <a:gdLst>
                <a:gd name="T0" fmla="*/ 2147483647 w 320"/>
                <a:gd name="T1" fmla="*/ 2147483647 h 234"/>
                <a:gd name="T2" fmla="*/ 2147483647 w 320"/>
                <a:gd name="T3" fmla="*/ 2147483647 h 234"/>
                <a:gd name="T4" fmla="*/ 2147483647 w 320"/>
                <a:gd name="T5" fmla="*/ 2147483647 h 234"/>
                <a:gd name="T6" fmla="*/ 2147483647 w 320"/>
                <a:gd name="T7" fmla="*/ 2147483647 h 234"/>
                <a:gd name="T8" fmla="*/ 2147483647 w 320"/>
                <a:gd name="T9" fmla="*/ 2147483647 h 234"/>
                <a:gd name="T10" fmla="*/ 2147483647 w 320"/>
                <a:gd name="T11" fmla="*/ 2147483647 h 234"/>
                <a:gd name="T12" fmla="*/ 2147483647 w 320"/>
                <a:gd name="T13" fmla="*/ 2147483647 h 234"/>
                <a:gd name="T14" fmla="*/ 2147483647 w 320"/>
                <a:gd name="T15" fmla="*/ 2147483647 h 234"/>
                <a:gd name="T16" fmla="*/ 2147483647 w 320"/>
                <a:gd name="T17" fmla="*/ 2147483647 h 234"/>
                <a:gd name="T18" fmla="*/ 2147483647 w 320"/>
                <a:gd name="T19" fmla="*/ 2147483647 h 234"/>
                <a:gd name="T20" fmla="*/ 2147483647 w 320"/>
                <a:gd name="T21" fmla="*/ 2147483647 h 234"/>
                <a:gd name="T22" fmla="*/ 2147483647 w 320"/>
                <a:gd name="T23" fmla="*/ 2147483647 h 234"/>
                <a:gd name="T24" fmla="*/ 2147483647 w 320"/>
                <a:gd name="T25" fmla="*/ 2147483647 h 234"/>
                <a:gd name="T26" fmla="*/ 2147483647 w 320"/>
                <a:gd name="T27" fmla="*/ 2147483647 h 234"/>
                <a:gd name="T28" fmla="*/ 2147483647 w 320"/>
                <a:gd name="T29" fmla="*/ 2147483647 h 234"/>
                <a:gd name="T30" fmla="*/ 2147483647 w 320"/>
                <a:gd name="T31" fmla="*/ 2147483647 h 234"/>
                <a:gd name="T32" fmla="*/ 2147483647 w 320"/>
                <a:gd name="T33" fmla="*/ 2147483647 h 234"/>
                <a:gd name="T34" fmla="*/ 2147483647 w 320"/>
                <a:gd name="T35" fmla="*/ 2147483647 h 234"/>
                <a:gd name="T36" fmla="*/ 2147483647 w 320"/>
                <a:gd name="T37" fmla="*/ 2147483647 h 234"/>
                <a:gd name="T38" fmla="*/ 2147483647 w 320"/>
                <a:gd name="T39" fmla="*/ 2147483647 h 234"/>
                <a:gd name="T40" fmla="*/ 2147483647 w 320"/>
                <a:gd name="T41" fmla="*/ 2147483647 h 234"/>
                <a:gd name="T42" fmla="*/ 2147483647 w 320"/>
                <a:gd name="T43" fmla="*/ 2147483647 h 234"/>
                <a:gd name="T44" fmla="*/ 2147483647 w 320"/>
                <a:gd name="T45" fmla="*/ 0 h 234"/>
                <a:gd name="T46" fmla="*/ 2147483647 w 320"/>
                <a:gd name="T47" fmla="*/ 0 h 234"/>
                <a:gd name="T48" fmla="*/ 2147483647 w 320"/>
                <a:gd name="T49" fmla="*/ 2147483647 h 234"/>
                <a:gd name="T50" fmla="*/ 2147483647 w 320"/>
                <a:gd name="T51" fmla="*/ 2147483647 h 234"/>
                <a:gd name="T52" fmla="*/ 2147483647 w 320"/>
                <a:gd name="T53" fmla="*/ 2147483647 h 234"/>
                <a:gd name="T54" fmla="*/ 2147483647 w 320"/>
                <a:gd name="T55" fmla="*/ 2147483647 h 234"/>
                <a:gd name="T56" fmla="*/ 2147483647 w 320"/>
                <a:gd name="T57" fmla="*/ 2147483647 h 234"/>
                <a:gd name="T58" fmla="*/ 2147483647 w 320"/>
                <a:gd name="T59" fmla="*/ 2147483647 h 234"/>
                <a:gd name="T60" fmla="*/ 2147483647 w 320"/>
                <a:gd name="T61" fmla="*/ 2147483647 h 234"/>
                <a:gd name="T62" fmla="*/ 2147483647 w 320"/>
                <a:gd name="T63" fmla="*/ 2147483647 h 234"/>
                <a:gd name="T64" fmla="*/ 2147483647 w 320"/>
                <a:gd name="T65" fmla="*/ 2147483647 h 234"/>
                <a:gd name="T66" fmla="*/ 2147483647 w 320"/>
                <a:gd name="T67" fmla="*/ 2147483647 h 234"/>
                <a:gd name="T68" fmla="*/ 2147483647 w 320"/>
                <a:gd name="T69" fmla="*/ 2147483647 h 234"/>
                <a:gd name="T70" fmla="*/ 2147483647 w 320"/>
                <a:gd name="T71" fmla="*/ 2147483647 h 234"/>
                <a:gd name="T72" fmla="*/ 2147483647 w 320"/>
                <a:gd name="T73" fmla="*/ 2147483647 h 234"/>
                <a:gd name="T74" fmla="*/ 2147483647 w 320"/>
                <a:gd name="T75" fmla="*/ 2147483647 h 234"/>
                <a:gd name="T76" fmla="*/ 2147483647 w 320"/>
                <a:gd name="T77" fmla="*/ 2147483647 h 234"/>
                <a:gd name="T78" fmla="*/ 2147483647 w 320"/>
                <a:gd name="T79" fmla="*/ 2147483647 h 234"/>
                <a:gd name="T80" fmla="*/ 2147483647 w 320"/>
                <a:gd name="T81" fmla="*/ 2147483647 h 234"/>
                <a:gd name="T82" fmla="*/ 2147483647 w 320"/>
                <a:gd name="T83" fmla="*/ 2147483647 h 234"/>
                <a:gd name="T84" fmla="*/ 2147483647 w 320"/>
                <a:gd name="T85" fmla="*/ 2147483647 h 234"/>
                <a:gd name="T86" fmla="*/ 2147483647 w 320"/>
                <a:gd name="T87" fmla="*/ 2147483647 h 234"/>
                <a:gd name="T88" fmla="*/ 2147483647 w 320"/>
                <a:gd name="T89" fmla="*/ 2147483647 h 234"/>
                <a:gd name="T90" fmla="*/ 2147483647 w 320"/>
                <a:gd name="T91" fmla="*/ 2147483647 h 234"/>
                <a:gd name="T92" fmla="*/ 2147483647 w 320"/>
                <a:gd name="T93" fmla="*/ 2147483647 h 234"/>
                <a:gd name="T94" fmla="*/ 2147483647 w 320"/>
                <a:gd name="T95" fmla="*/ 2147483647 h 234"/>
                <a:gd name="T96" fmla="*/ 2147483647 w 320"/>
                <a:gd name="T97" fmla="*/ 2147483647 h 234"/>
                <a:gd name="T98" fmla="*/ 2147483647 w 320"/>
                <a:gd name="T99" fmla="*/ 2147483647 h 234"/>
                <a:gd name="T100" fmla="*/ 2147483647 w 320"/>
                <a:gd name="T101" fmla="*/ 2147483647 h 234"/>
                <a:gd name="T102" fmla="*/ 2147483647 w 320"/>
                <a:gd name="T103" fmla="*/ 2147483647 h 234"/>
                <a:gd name="T104" fmla="*/ 2147483647 w 320"/>
                <a:gd name="T105" fmla="*/ 2147483647 h 234"/>
                <a:gd name="T106" fmla="*/ 2147483647 w 320"/>
                <a:gd name="T107" fmla="*/ 2147483647 h 234"/>
                <a:gd name="T108" fmla="*/ 2147483647 w 320"/>
                <a:gd name="T109" fmla="*/ 2147483647 h 234"/>
                <a:gd name="T110" fmla="*/ 2147483647 w 320"/>
                <a:gd name="T111" fmla="*/ 2147483647 h 234"/>
                <a:gd name="T112" fmla="*/ 2147483647 w 320"/>
                <a:gd name="T113" fmla="*/ 2147483647 h 234"/>
                <a:gd name="T114" fmla="*/ 2147483647 w 320"/>
                <a:gd name="T115" fmla="*/ 2147483647 h 234"/>
                <a:gd name="T116" fmla="*/ 2147483647 w 320"/>
                <a:gd name="T117" fmla="*/ 2147483647 h 23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320" h="234">
                  <a:moveTo>
                    <a:pt x="87" y="234"/>
                  </a:moveTo>
                  <a:lnTo>
                    <a:pt x="76" y="231"/>
                  </a:lnTo>
                  <a:lnTo>
                    <a:pt x="61" y="228"/>
                  </a:lnTo>
                  <a:lnTo>
                    <a:pt x="61" y="226"/>
                  </a:lnTo>
                  <a:lnTo>
                    <a:pt x="63" y="224"/>
                  </a:lnTo>
                  <a:lnTo>
                    <a:pt x="66" y="222"/>
                  </a:lnTo>
                  <a:lnTo>
                    <a:pt x="70" y="220"/>
                  </a:lnTo>
                  <a:lnTo>
                    <a:pt x="77" y="217"/>
                  </a:lnTo>
                  <a:lnTo>
                    <a:pt x="80" y="216"/>
                  </a:lnTo>
                  <a:lnTo>
                    <a:pt x="64" y="204"/>
                  </a:lnTo>
                  <a:lnTo>
                    <a:pt x="50" y="194"/>
                  </a:lnTo>
                  <a:lnTo>
                    <a:pt x="43" y="189"/>
                  </a:lnTo>
                  <a:lnTo>
                    <a:pt x="38" y="182"/>
                  </a:lnTo>
                  <a:lnTo>
                    <a:pt x="36" y="179"/>
                  </a:lnTo>
                  <a:lnTo>
                    <a:pt x="34" y="175"/>
                  </a:lnTo>
                  <a:lnTo>
                    <a:pt x="34" y="171"/>
                  </a:lnTo>
                  <a:lnTo>
                    <a:pt x="33" y="167"/>
                  </a:lnTo>
                  <a:lnTo>
                    <a:pt x="34" y="164"/>
                  </a:lnTo>
                  <a:lnTo>
                    <a:pt x="34" y="160"/>
                  </a:lnTo>
                  <a:lnTo>
                    <a:pt x="36" y="157"/>
                  </a:lnTo>
                  <a:lnTo>
                    <a:pt x="38" y="154"/>
                  </a:lnTo>
                  <a:lnTo>
                    <a:pt x="43" y="149"/>
                  </a:lnTo>
                  <a:lnTo>
                    <a:pt x="50" y="145"/>
                  </a:lnTo>
                  <a:lnTo>
                    <a:pt x="56" y="141"/>
                  </a:lnTo>
                  <a:lnTo>
                    <a:pt x="64" y="139"/>
                  </a:lnTo>
                  <a:lnTo>
                    <a:pt x="73" y="137"/>
                  </a:lnTo>
                  <a:lnTo>
                    <a:pt x="80" y="137"/>
                  </a:lnTo>
                  <a:lnTo>
                    <a:pt x="80" y="126"/>
                  </a:lnTo>
                  <a:lnTo>
                    <a:pt x="80" y="111"/>
                  </a:lnTo>
                  <a:lnTo>
                    <a:pt x="67" y="111"/>
                  </a:lnTo>
                  <a:lnTo>
                    <a:pt x="61" y="111"/>
                  </a:lnTo>
                  <a:lnTo>
                    <a:pt x="61" y="102"/>
                  </a:lnTo>
                  <a:lnTo>
                    <a:pt x="61" y="93"/>
                  </a:lnTo>
                  <a:lnTo>
                    <a:pt x="60" y="86"/>
                  </a:lnTo>
                  <a:lnTo>
                    <a:pt x="58" y="79"/>
                  </a:lnTo>
                  <a:lnTo>
                    <a:pt x="55" y="70"/>
                  </a:lnTo>
                  <a:lnTo>
                    <a:pt x="53" y="62"/>
                  </a:lnTo>
                  <a:lnTo>
                    <a:pt x="46" y="46"/>
                  </a:lnTo>
                  <a:lnTo>
                    <a:pt x="40" y="32"/>
                  </a:lnTo>
                  <a:lnTo>
                    <a:pt x="33" y="31"/>
                  </a:lnTo>
                  <a:lnTo>
                    <a:pt x="27" y="29"/>
                  </a:lnTo>
                  <a:lnTo>
                    <a:pt x="20" y="25"/>
                  </a:lnTo>
                  <a:lnTo>
                    <a:pt x="16" y="21"/>
                  </a:lnTo>
                  <a:lnTo>
                    <a:pt x="7" y="10"/>
                  </a:lnTo>
                  <a:lnTo>
                    <a:pt x="0" y="0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8" y="3"/>
                  </a:lnTo>
                  <a:lnTo>
                    <a:pt x="45" y="8"/>
                  </a:lnTo>
                  <a:lnTo>
                    <a:pt x="56" y="16"/>
                  </a:lnTo>
                  <a:lnTo>
                    <a:pt x="67" y="26"/>
                  </a:lnTo>
                  <a:lnTo>
                    <a:pt x="78" y="35"/>
                  </a:lnTo>
                  <a:lnTo>
                    <a:pt x="88" y="42"/>
                  </a:lnTo>
                  <a:lnTo>
                    <a:pt x="96" y="48"/>
                  </a:lnTo>
                  <a:lnTo>
                    <a:pt x="100" y="50"/>
                  </a:lnTo>
                  <a:lnTo>
                    <a:pt x="119" y="58"/>
                  </a:lnTo>
                  <a:lnTo>
                    <a:pt x="135" y="65"/>
                  </a:lnTo>
                  <a:lnTo>
                    <a:pt x="152" y="70"/>
                  </a:lnTo>
                  <a:lnTo>
                    <a:pt x="166" y="76"/>
                  </a:lnTo>
                  <a:lnTo>
                    <a:pt x="181" y="79"/>
                  </a:lnTo>
                  <a:lnTo>
                    <a:pt x="197" y="82"/>
                  </a:lnTo>
                  <a:lnTo>
                    <a:pt x="214" y="85"/>
                  </a:lnTo>
                  <a:lnTo>
                    <a:pt x="233" y="87"/>
                  </a:lnTo>
                  <a:lnTo>
                    <a:pt x="236" y="77"/>
                  </a:lnTo>
                  <a:lnTo>
                    <a:pt x="240" y="62"/>
                  </a:lnTo>
                  <a:lnTo>
                    <a:pt x="257" y="83"/>
                  </a:lnTo>
                  <a:lnTo>
                    <a:pt x="275" y="100"/>
                  </a:lnTo>
                  <a:lnTo>
                    <a:pt x="284" y="107"/>
                  </a:lnTo>
                  <a:lnTo>
                    <a:pt x="293" y="113"/>
                  </a:lnTo>
                  <a:lnTo>
                    <a:pt x="305" y="119"/>
                  </a:lnTo>
                  <a:lnTo>
                    <a:pt x="320" y="123"/>
                  </a:lnTo>
                  <a:lnTo>
                    <a:pt x="297" y="133"/>
                  </a:lnTo>
                  <a:lnTo>
                    <a:pt x="277" y="141"/>
                  </a:lnTo>
                  <a:lnTo>
                    <a:pt x="268" y="144"/>
                  </a:lnTo>
                  <a:lnTo>
                    <a:pt x="258" y="147"/>
                  </a:lnTo>
                  <a:lnTo>
                    <a:pt x="249" y="148"/>
                  </a:lnTo>
                  <a:lnTo>
                    <a:pt x="240" y="149"/>
                  </a:lnTo>
                  <a:lnTo>
                    <a:pt x="237" y="159"/>
                  </a:lnTo>
                  <a:lnTo>
                    <a:pt x="234" y="170"/>
                  </a:lnTo>
                  <a:lnTo>
                    <a:pt x="232" y="176"/>
                  </a:lnTo>
                  <a:lnTo>
                    <a:pt x="231" y="181"/>
                  </a:lnTo>
                  <a:lnTo>
                    <a:pt x="231" y="187"/>
                  </a:lnTo>
                  <a:lnTo>
                    <a:pt x="233" y="192"/>
                  </a:lnTo>
                  <a:lnTo>
                    <a:pt x="222" y="192"/>
                  </a:lnTo>
                  <a:lnTo>
                    <a:pt x="213" y="191"/>
                  </a:lnTo>
                  <a:lnTo>
                    <a:pt x="204" y="189"/>
                  </a:lnTo>
                  <a:lnTo>
                    <a:pt x="198" y="187"/>
                  </a:lnTo>
                  <a:lnTo>
                    <a:pt x="186" y="181"/>
                  </a:lnTo>
                  <a:lnTo>
                    <a:pt x="176" y="176"/>
                  </a:lnTo>
                  <a:lnTo>
                    <a:pt x="168" y="170"/>
                  </a:lnTo>
                  <a:lnTo>
                    <a:pt x="159" y="165"/>
                  </a:lnTo>
                  <a:lnTo>
                    <a:pt x="155" y="164"/>
                  </a:lnTo>
                  <a:lnTo>
                    <a:pt x="151" y="162"/>
                  </a:lnTo>
                  <a:lnTo>
                    <a:pt x="145" y="161"/>
                  </a:lnTo>
                  <a:lnTo>
                    <a:pt x="140" y="161"/>
                  </a:lnTo>
                  <a:lnTo>
                    <a:pt x="131" y="162"/>
                  </a:lnTo>
                  <a:lnTo>
                    <a:pt x="122" y="164"/>
                  </a:lnTo>
                  <a:lnTo>
                    <a:pt x="114" y="167"/>
                  </a:lnTo>
                  <a:lnTo>
                    <a:pt x="108" y="170"/>
                  </a:lnTo>
                  <a:lnTo>
                    <a:pt x="100" y="173"/>
                  </a:lnTo>
                  <a:lnTo>
                    <a:pt x="94" y="176"/>
                  </a:lnTo>
                  <a:lnTo>
                    <a:pt x="87" y="178"/>
                  </a:lnTo>
                  <a:lnTo>
                    <a:pt x="80" y="179"/>
                  </a:lnTo>
                  <a:lnTo>
                    <a:pt x="85" y="183"/>
                  </a:lnTo>
                  <a:lnTo>
                    <a:pt x="90" y="188"/>
                  </a:lnTo>
                  <a:lnTo>
                    <a:pt x="96" y="191"/>
                  </a:lnTo>
                  <a:lnTo>
                    <a:pt x="101" y="194"/>
                  </a:lnTo>
                  <a:lnTo>
                    <a:pt x="116" y="200"/>
                  </a:lnTo>
                  <a:lnTo>
                    <a:pt x="133" y="204"/>
                  </a:lnTo>
                  <a:lnTo>
                    <a:pt x="126" y="212"/>
                  </a:lnTo>
                  <a:lnTo>
                    <a:pt x="119" y="219"/>
                  </a:lnTo>
                  <a:lnTo>
                    <a:pt x="113" y="224"/>
                  </a:lnTo>
                  <a:lnTo>
                    <a:pt x="108" y="228"/>
                  </a:lnTo>
                  <a:lnTo>
                    <a:pt x="102" y="231"/>
                  </a:lnTo>
                  <a:lnTo>
                    <a:pt x="97" y="233"/>
                  </a:lnTo>
                  <a:lnTo>
                    <a:pt x="91" y="234"/>
                  </a:lnTo>
                  <a:lnTo>
                    <a:pt x="87" y="234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6" name="Freeform 483"/>
            <p:cNvSpPr>
              <a:spLocks/>
            </p:cNvSpPr>
            <p:nvPr>
              <p:custDataLst>
                <p:tags r:id="rId321"/>
              </p:custDataLst>
            </p:nvPr>
          </p:nvSpPr>
          <p:spPr bwMode="auto">
            <a:xfrm>
              <a:off x="9258932" y="3235764"/>
              <a:ext cx="52387" cy="57150"/>
            </a:xfrm>
            <a:custGeom>
              <a:avLst/>
              <a:gdLst>
                <a:gd name="T0" fmla="*/ 2147483647 w 125"/>
                <a:gd name="T1" fmla="*/ 2147483647 h 93"/>
                <a:gd name="T2" fmla="*/ 2147483647 w 125"/>
                <a:gd name="T3" fmla="*/ 2147483647 h 93"/>
                <a:gd name="T4" fmla="*/ 2147483647 w 125"/>
                <a:gd name="T5" fmla="*/ 2147483647 h 93"/>
                <a:gd name="T6" fmla="*/ 2147483647 w 125"/>
                <a:gd name="T7" fmla="*/ 2147483647 h 93"/>
                <a:gd name="T8" fmla="*/ 2147483647 w 125"/>
                <a:gd name="T9" fmla="*/ 2147483647 h 93"/>
                <a:gd name="T10" fmla="*/ 2147483647 w 125"/>
                <a:gd name="T11" fmla="*/ 2147483647 h 93"/>
                <a:gd name="T12" fmla="*/ 2147483647 w 125"/>
                <a:gd name="T13" fmla="*/ 2147483647 h 93"/>
                <a:gd name="T14" fmla="*/ 2147483647 w 125"/>
                <a:gd name="T15" fmla="*/ 2147483647 h 93"/>
                <a:gd name="T16" fmla="*/ 2147483647 w 125"/>
                <a:gd name="T17" fmla="*/ 2147483647 h 93"/>
                <a:gd name="T18" fmla="*/ 2147483647 w 125"/>
                <a:gd name="T19" fmla="*/ 2147483647 h 93"/>
                <a:gd name="T20" fmla="*/ 2147483647 w 125"/>
                <a:gd name="T21" fmla="*/ 0 h 93"/>
                <a:gd name="T22" fmla="*/ 2147483647 w 125"/>
                <a:gd name="T23" fmla="*/ 0 h 93"/>
                <a:gd name="T24" fmla="*/ 2147483647 w 125"/>
                <a:gd name="T25" fmla="*/ 2147483647 h 93"/>
                <a:gd name="T26" fmla="*/ 2147483647 w 125"/>
                <a:gd name="T27" fmla="*/ 2147483647 h 93"/>
                <a:gd name="T28" fmla="*/ 2147483647 w 125"/>
                <a:gd name="T29" fmla="*/ 2147483647 h 93"/>
                <a:gd name="T30" fmla="*/ 2147483647 w 125"/>
                <a:gd name="T31" fmla="*/ 2147483647 h 93"/>
                <a:gd name="T32" fmla="*/ 2147483647 w 125"/>
                <a:gd name="T33" fmla="*/ 2147483647 h 93"/>
                <a:gd name="T34" fmla="*/ 2147483647 w 125"/>
                <a:gd name="T35" fmla="*/ 2147483647 h 93"/>
                <a:gd name="T36" fmla="*/ 2147483647 w 125"/>
                <a:gd name="T37" fmla="*/ 2147483647 h 93"/>
                <a:gd name="T38" fmla="*/ 2147483647 w 125"/>
                <a:gd name="T39" fmla="*/ 2147483647 h 93"/>
                <a:gd name="T40" fmla="*/ 2147483647 w 125"/>
                <a:gd name="T41" fmla="*/ 2147483647 h 93"/>
                <a:gd name="T42" fmla="*/ 2147483647 w 125"/>
                <a:gd name="T43" fmla="*/ 2147483647 h 93"/>
                <a:gd name="T44" fmla="*/ 2147483647 w 125"/>
                <a:gd name="T45" fmla="*/ 2147483647 h 93"/>
                <a:gd name="T46" fmla="*/ 2147483647 w 125"/>
                <a:gd name="T47" fmla="*/ 2147483647 h 93"/>
                <a:gd name="T48" fmla="*/ 2147483647 w 125"/>
                <a:gd name="T49" fmla="*/ 2147483647 h 93"/>
                <a:gd name="T50" fmla="*/ 2147483647 w 125"/>
                <a:gd name="T51" fmla="*/ 2147483647 h 93"/>
                <a:gd name="T52" fmla="*/ 2147483647 w 125"/>
                <a:gd name="T53" fmla="*/ 2147483647 h 93"/>
                <a:gd name="T54" fmla="*/ 2147483647 w 125"/>
                <a:gd name="T55" fmla="*/ 2147483647 h 93"/>
                <a:gd name="T56" fmla="*/ 2147483647 w 125"/>
                <a:gd name="T57" fmla="*/ 2147483647 h 93"/>
                <a:gd name="T58" fmla="*/ 2147483647 w 125"/>
                <a:gd name="T59" fmla="*/ 2147483647 h 93"/>
                <a:gd name="T60" fmla="*/ 2147483647 w 125"/>
                <a:gd name="T61" fmla="*/ 2147483647 h 93"/>
                <a:gd name="T62" fmla="*/ 2147483647 w 125"/>
                <a:gd name="T63" fmla="*/ 2147483647 h 93"/>
                <a:gd name="T64" fmla="*/ 2147483647 w 125"/>
                <a:gd name="T65" fmla="*/ 2147483647 h 93"/>
                <a:gd name="T66" fmla="*/ 2147483647 w 125"/>
                <a:gd name="T67" fmla="*/ 2147483647 h 93"/>
                <a:gd name="T68" fmla="*/ 0 w 125"/>
                <a:gd name="T69" fmla="*/ 2147483647 h 93"/>
                <a:gd name="T70" fmla="*/ 0 w 125"/>
                <a:gd name="T71" fmla="*/ 2147483647 h 93"/>
                <a:gd name="T72" fmla="*/ 2147483647 w 125"/>
                <a:gd name="T73" fmla="*/ 2147483647 h 93"/>
                <a:gd name="T74" fmla="*/ 2147483647 w 125"/>
                <a:gd name="T75" fmla="*/ 2147483647 h 93"/>
                <a:gd name="T76" fmla="*/ 2147483647 w 125"/>
                <a:gd name="T77" fmla="*/ 2147483647 h 93"/>
                <a:gd name="T78" fmla="*/ 2147483647 w 125"/>
                <a:gd name="T79" fmla="*/ 2147483647 h 93"/>
                <a:gd name="T80" fmla="*/ 2147483647 w 125"/>
                <a:gd name="T81" fmla="*/ 2147483647 h 93"/>
                <a:gd name="T82" fmla="*/ 2147483647 w 125"/>
                <a:gd name="T83" fmla="*/ 2147483647 h 93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5" h="93">
                  <a:moveTo>
                    <a:pt x="33" y="19"/>
                  </a:moveTo>
                  <a:lnTo>
                    <a:pt x="43" y="19"/>
                  </a:lnTo>
                  <a:lnTo>
                    <a:pt x="52" y="19"/>
                  </a:lnTo>
                  <a:lnTo>
                    <a:pt x="55" y="19"/>
                  </a:lnTo>
                  <a:lnTo>
                    <a:pt x="58" y="17"/>
                  </a:lnTo>
                  <a:lnTo>
                    <a:pt x="61" y="15"/>
                  </a:lnTo>
                  <a:lnTo>
                    <a:pt x="65" y="11"/>
                  </a:lnTo>
                  <a:lnTo>
                    <a:pt x="68" y="8"/>
                  </a:lnTo>
                  <a:lnTo>
                    <a:pt x="70" y="5"/>
                  </a:lnTo>
                  <a:lnTo>
                    <a:pt x="72" y="3"/>
                  </a:lnTo>
                  <a:lnTo>
                    <a:pt x="72" y="0"/>
                  </a:lnTo>
                  <a:lnTo>
                    <a:pt x="118" y="0"/>
                  </a:lnTo>
                  <a:lnTo>
                    <a:pt x="122" y="15"/>
                  </a:lnTo>
                  <a:lnTo>
                    <a:pt x="125" y="25"/>
                  </a:lnTo>
                  <a:lnTo>
                    <a:pt x="124" y="29"/>
                  </a:lnTo>
                  <a:lnTo>
                    <a:pt x="122" y="33"/>
                  </a:lnTo>
                  <a:lnTo>
                    <a:pt x="119" y="35"/>
                  </a:lnTo>
                  <a:lnTo>
                    <a:pt x="117" y="37"/>
                  </a:lnTo>
                  <a:lnTo>
                    <a:pt x="111" y="40"/>
                  </a:lnTo>
                  <a:lnTo>
                    <a:pt x="104" y="41"/>
                  </a:lnTo>
                  <a:lnTo>
                    <a:pt x="88" y="41"/>
                  </a:lnTo>
                  <a:lnTo>
                    <a:pt x="72" y="43"/>
                  </a:lnTo>
                  <a:lnTo>
                    <a:pt x="70" y="47"/>
                  </a:lnTo>
                  <a:lnTo>
                    <a:pt x="69" y="53"/>
                  </a:lnTo>
                  <a:lnTo>
                    <a:pt x="67" y="61"/>
                  </a:lnTo>
                  <a:lnTo>
                    <a:pt x="67" y="71"/>
                  </a:lnTo>
                  <a:lnTo>
                    <a:pt x="66" y="86"/>
                  </a:lnTo>
                  <a:lnTo>
                    <a:pt x="66" y="93"/>
                  </a:lnTo>
                  <a:lnTo>
                    <a:pt x="49" y="85"/>
                  </a:lnTo>
                  <a:lnTo>
                    <a:pt x="27" y="73"/>
                  </a:lnTo>
                  <a:lnTo>
                    <a:pt x="16" y="65"/>
                  </a:lnTo>
                  <a:lnTo>
                    <a:pt x="7" y="58"/>
                  </a:lnTo>
                  <a:lnTo>
                    <a:pt x="4" y="54"/>
                  </a:lnTo>
                  <a:lnTo>
                    <a:pt x="2" y="50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15" y="41"/>
                  </a:lnTo>
                  <a:lnTo>
                    <a:pt x="20" y="39"/>
                  </a:lnTo>
                  <a:lnTo>
                    <a:pt x="23" y="36"/>
                  </a:lnTo>
                  <a:lnTo>
                    <a:pt x="28" y="28"/>
                  </a:lnTo>
                  <a:lnTo>
                    <a:pt x="33" y="19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7" name="Freeform 484"/>
            <p:cNvSpPr>
              <a:spLocks/>
            </p:cNvSpPr>
            <p:nvPr>
              <p:custDataLst>
                <p:tags r:id="rId322"/>
              </p:custDataLst>
            </p:nvPr>
          </p:nvSpPr>
          <p:spPr bwMode="auto">
            <a:xfrm>
              <a:off x="9204957" y="3250052"/>
              <a:ext cx="60325" cy="84137"/>
            </a:xfrm>
            <a:custGeom>
              <a:avLst/>
              <a:gdLst>
                <a:gd name="T0" fmla="*/ 2147483647 w 133"/>
                <a:gd name="T1" fmla="*/ 2147483647 h 154"/>
                <a:gd name="T2" fmla="*/ 2147483647 w 133"/>
                <a:gd name="T3" fmla="*/ 2147483647 h 154"/>
                <a:gd name="T4" fmla="*/ 2147483647 w 133"/>
                <a:gd name="T5" fmla="*/ 2147483647 h 154"/>
                <a:gd name="T6" fmla="*/ 2147483647 w 133"/>
                <a:gd name="T7" fmla="*/ 2147483647 h 154"/>
                <a:gd name="T8" fmla="*/ 2147483647 w 133"/>
                <a:gd name="T9" fmla="*/ 2147483647 h 154"/>
                <a:gd name="T10" fmla="*/ 2147483647 w 133"/>
                <a:gd name="T11" fmla="*/ 2147483647 h 154"/>
                <a:gd name="T12" fmla="*/ 2147483647 w 133"/>
                <a:gd name="T13" fmla="*/ 0 h 154"/>
                <a:gd name="T14" fmla="*/ 2147483647 w 133"/>
                <a:gd name="T15" fmla="*/ 2147483647 h 154"/>
                <a:gd name="T16" fmla="*/ 2147483647 w 133"/>
                <a:gd name="T17" fmla="*/ 2147483647 h 154"/>
                <a:gd name="T18" fmla="*/ 2147483647 w 133"/>
                <a:gd name="T19" fmla="*/ 2147483647 h 154"/>
                <a:gd name="T20" fmla="*/ 2147483647 w 133"/>
                <a:gd name="T21" fmla="*/ 2147483647 h 154"/>
                <a:gd name="T22" fmla="*/ 2147483647 w 133"/>
                <a:gd name="T23" fmla="*/ 2147483647 h 154"/>
                <a:gd name="T24" fmla="*/ 2147483647 w 133"/>
                <a:gd name="T25" fmla="*/ 2147483647 h 154"/>
                <a:gd name="T26" fmla="*/ 2147483647 w 133"/>
                <a:gd name="T27" fmla="*/ 2147483647 h 154"/>
                <a:gd name="T28" fmla="*/ 2147483647 w 133"/>
                <a:gd name="T29" fmla="*/ 2147483647 h 154"/>
                <a:gd name="T30" fmla="*/ 2147483647 w 133"/>
                <a:gd name="T31" fmla="*/ 2147483647 h 154"/>
                <a:gd name="T32" fmla="*/ 2147483647 w 133"/>
                <a:gd name="T33" fmla="*/ 2147483647 h 154"/>
                <a:gd name="T34" fmla="*/ 2147483647 w 133"/>
                <a:gd name="T35" fmla="*/ 2147483647 h 154"/>
                <a:gd name="T36" fmla="*/ 2147483647 w 133"/>
                <a:gd name="T37" fmla="*/ 2147483647 h 154"/>
                <a:gd name="T38" fmla="*/ 2147483647 w 133"/>
                <a:gd name="T39" fmla="*/ 2147483647 h 154"/>
                <a:gd name="T40" fmla="*/ 2147483647 w 133"/>
                <a:gd name="T41" fmla="*/ 2147483647 h 154"/>
                <a:gd name="T42" fmla="*/ 2147483647 w 133"/>
                <a:gd name="T43" fmla="*/ 2147483647 h 154"/>
                <a:gd name="T44" fmla="*/ 2147483647 w 133"/>
                <a:gd name="T45" fmla="*/ 2147483647 h 154"/>
                <a:gd name="T46" fmla="*/ 2147483647 w 133"/>
                <a:gd name="T47" fmla="*/ 2147483647 h 154"/>
                <a:gd name="T48" fmla="*/ 2147483647 w 133"/>
                <a:gd name="T49" fmla="*/ 2147483647 h 154"/>
                <a:gd name="T50" fmla="*/ 2147483647 w 133"/>
                <a:gd name="T51" fmla="*/ 2147483647 h 154"/>
                <a:gd name="T52" fmla="*/ 2147483647 w 133"/>
                <a:gd name="T53" fmla="*/ 2147483647 h 154"/>
                <a:gd name="T54" fmla="*/ 2147483647 w 133"/>
                <a:gd name="T55" fmla="*/ 2147483647 h 154"/>
                <a:gd name="T56" fmla="*/ 2147483647 w 133"/>
                <a:gd name="T57" fmla="*/ 2147483647 h 154"/>
                <a:gd name="T58" fmla="*/ 2147483647 w 133"/>
                <a:gd name="T59" fmla="*/ 2147483647 h 154"/>
                <a:gd name="T60" fmla="*/ 2147483647 w 133"/>
                <a:gd name="T61" fmla="*/ 2147483647 h 154"/>
                <a:gd name="T62" fmla="*/ 2147483647 w 133"/>
                <a:gd name="T63" fmla="*/ 2147483647 h 154"/>
                <a:gd name="T64" fmla="*/ 2147483647 w 133"/>
                <a:gd name="T65" fmla="*/ 2147483647 h 154"/>
                <a:gd name="T66" fmla="*/ 2147483647 w 133"/>
                <a:gd name="T67" fmla="*/ 2147483647 h 154"/>
                <a:gd name="T68" fmla="*/ 2147483647 w 133"/>
                <a:gd name="T69" fmla="*/ 2147483647 h 154"/>
                <a:gd name="T70" fmla="*/ 2147483647 w 133"/>
                <a:gd name="T71" fmla="*/ 2147483647 h 154"/>
                <a:gd name="T72" fmla="*/ 2147483647 w 133"/>
                <a:gd name="T73" fmla="*/ 2147483647 h 154"/>
                <a:gd name="T74" fmla="*/ 2147483647 w 133"/>
                <a:gd name="T75" fmla="*/ 2147483647 h 154"/>
                <a:gd name="T76" fmla="*/ 2147483647 w 133"/>
                <a:gd name="T77" fmla="*/ 2147483647 h 154"/>
                <a:gd name="T78" fmla="*/ 2147483647 w 133"/>
                <a:gd name="T79" fmla="*/ 2147483647 h 154"/>
                <a:gd name="T80" fmla="*/ 2147483647 w 133"/>
                <a:gd name="T81" fmla="*/ 2147483647 h 154"/>
                <a:gd name="T82" fmla="*/ 2147483647 w 133"/>
                <a:gd name="T83" fmla="*/ 2147483647 h 154"/>
                <a:gd name="T84" fmla="*/ 2147483647 w 133"/>
                <a:gd name="T85" fmla="*/ 2147483647 h 154"/>
                <a:gd name="T86" fmla="*/ 2147483647 w 133"/>
                <a:gd name="T87" fmla="*/ 2147483647 h 154"/>
                <a:gd name="T88" fmla="*/ 2147483647 w 133"/>
                <a:gd name="T89" fmla="*/ 2147483647 h 154"/>
                <a:gd name="T90" fmla="*/ 2147483647 w 133"/>
                <a:gd name="T91" fmla="*/ 2147483647 h 154"/>
                <a:gd name="T92" fmla="*/ 2147483647 w 133"/>
                <a:gd name="T93" fmla="*/ 2147483647 h 154"/>
                <a:gd name="T94" fmla="*/ 2147483647 w 133"/>
                <a:gd name="T95" fmla="*/ 2147483647 h 154"/>
                <a:gd name="T96" fmla="*/ 2147483647 w 133"/>
                <a:gd name="T97" fmla="*/ 2147483647 h 154"/>
                <a:gd name="T98" fmla="*/ 2147483647 w 133"/>
                <a:gd name="T99" fmla="*/ 2147483647 h 154"/>
                <a:gd name="T100" fmla="*/ 2147483647 w 133"/>
                <a:gd name="T101" fmla="*/ 2147483647 h 154"/>
                <a:gd name="T102" fmla="*/ 0 w 133"/>
                <a:gd name="T103" fmla="*/ 2147483647 h 154"/>
                <a:gd name="T104" fmla="*/ 0 w 133"/>
                <a:gd name="T105" fmla="*/ 2147483647 h 154"/>
                <a:gd name="T106" fmla="*/ 2147483647 w 133"/>
                <a:gd name="T107" fmla="*/ 2147483647 h 154"/>
                <a:gd name="T108" fmla="*/ 2147483647 w 133"/>
                <a:gd name="T109" fmla="*/ 2147483647 h 15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33" h="154">
                  <a:moveTo>
                    <a:pt x="20" y="12"/>
                  </a:moveTo>
                  <a:lnTo>
                    <a:pt x="24" y="10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7" y="2"/>
                  </a:lnTo>
                  <a:lnTo>
                    <a:pt x="42" y="1"/>
                  </a:lnTo>
                  <a:lnTo>
                    <a:pt x="46" y="0"/>
                  </a:lnTo>
                  <a:lnTo>
                    <a:pt x="59" y="1"/>
                  </a:lnTo>
                  <a:lnTo>
                    <a:pt x="70" y="4"/>
                  </a:lnTo>
                  <a:lnTo>
                    <a:pt x="81" y="8"/>
                  </a:lnTo>
                  <a:lnTo>
                    <a:pt x="90" y="14"/>
                  </a:lnTo>
                  <a:lnTo>
                    <a:pt x="99" y="21"/>
                  </a:lnTo>
                  <a:lnTo>
                    <a:pt x="105" y="30"/>
                  </a:lnTo>
                  <a:lnTo>
                    <a:pt x="112" y="40"/>
                  </a:lnTo>
                  <a:lnTo>
                    <a:pt x="116" y="50"/>
                  </a:lnTo>
                  <a:lnTo>
                    <a:pt x="121" y="60"/>
                  </a:lnTo>
                  <a:lnTo>
                    <a:pt x="124" y="71"/>
                  </a:lnTo>
                  <a:lnTo>
                    <a:pt x="127" y="82"/>
                  </a:lnTo>
                  <a:lnTo>
                    <a:pt x="130" y="94"/>
                  </a:lnTo>
                  <a:lnTo>
                    <a:pt x="132" y="116"/>
                  </a:lnTo>
                  <a:lnTo>
                    <a:pt x="133" y="135"/>
                  </a:lnTo>
                  <a:lnTo>
                    <a:pt x="132" y="138"/>
                  </a:lnTo>
                  <a:lnTo>
                    <a:pt x="130" y="141"/>
                  </a:lnTo>
                  <a:lnTo>
                    <a:pt x="125" y="144"/>
                  </a:lnTo>
                  <a:lnTo>
                    <a:pt x="121" y="147"/>
                  </a:lnTo>
                  <a:lnTo>
                    <a:pt x="115" y="150"/>
                  </a:lnTo>
                  <a:lnTo>
                    <a:pt x="110" y="153"/>
                  </a:lnTo>
                  <a:lnTo>
                    <a:pt x="104" y="154"/>
                  </a:lnTo>
                  <a:lnTo>
                    <a:pt x="99" y="154"/>
                  </a:lnTo>
                  <a:lnTo>
                    <a:pt x="93" y="153"/>
                  </a:lnTo>
                  <a:lnTo>
                    <a:pt x="87" y="149"/>
                  </a:lnTo>
                  <a:lnTo>
                    <a:pt x="79" y="141"/>
                  </a:lnTo>
                  <a:lnTo>
                    <a:pt x="71" y="134"/>
                  </a:lnTo>
                  <a:lnTo>
                    <a:pt x="64" y="126"/>
                  </a:lnTo>
                  <a:lnTo>
                    <a:pt x="58" y="118"/>
                  </a:lnTo>
                  <a:lnTo>
                    <a:pt x="54" y="111"/>
                  </a:lnTo>
                  <a:lnTo>
                    <a:pt x="53" y="105"/>
                  </a:lnTo>
                  <a:lnTo>
                    <a:pt x="54" y="98"/>
                  </a:lnTo>
                  <a:lnTo>
                    <a:pt x="56" y="83"/>
                  </a:lnTo>
                  <a:lnTo>
                    <a:pt x="58" y="68"/>
                  </a:lnTo>
                  <a:lnTo>
                    <a:pt x="59" y="62"/>
                  </a:lnTo>
                  <a:lnTo>
                    <a:pt x="47" y="61"/>
                  </a:lnTo>
                  <a:lnTo>
                    <a:pt x="36" y="59"/>
                  </a:lnTo>
                  <a:lnTo>
                    <a:pt x="25" y="56"/>
                  </a:lnTo>
                  <a:lnTo>
                    <a:pt x="17" y="52"/>
                  </a:lnTo>
                  <a:lnTo>
                    <a:pt x="13" y="49"/>
                  </a:lnTo>
                  <a:lnTo>
                    <a:pt x="10" y="46"/>
                  </a:lnTo>
                  <a:lnTo>
                    <a:pt x="7" y="43"/>
                  </a:lnTo>
                  <a:lnTo>
                    <a:pt x="4" y="39"/>
                  </a:lnTo>
                  <a:lnTo>
                    <a:pt x="2" y="34"/>
                  </a:lnTo>
                  <a:lnTo>
                    <a:pt x="1" y="29"/>
                  </a:lnTo>
                  <a:lnTo>
                    <a:pt x="0" y="24"/>
                  </a:lnTo>
                  <a:lnTo>
                    <a:pt x="0" y="18"/>
                  </a:lnTo>
                  <a:lnTo>
                    <a:pt x="7" y="15"/>
                  </a:lnTo>
                  <a:lnTo>
                    <a:pt x="20" y="12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8" name="Freeform 485"/>
            <p:cNvSpPr>
              <a:spLocks/>
            </p:cNvSpPr>
            <p:nvPr>
              <p:custDataLst>
                <p:tags r:id="rId323"/>
              </p:custDataLst>
            </p:nvPr>
          </p:nvSpPr>
          <p:spPr bwMode="auto">
            <a:xfrm>
              <a:off x="9220832" y="3011927"/>
              <a:ext cx="209550" cy="244475"/>
            </a:xfrm>
            <a:custGeom>
              <a:avLst/>
              <a:gdLst>
                <a:gd name="T0" fmla="*/ 2147483647 w 485"/>
                <a:gd name="T1" fmla="*/ 2147483647 h 468"/>
                <a:gd name="T2" fmla="*/ 2147483647 w 485"/>
                <a:gd name="T3" fmla="*/ 2147483647 h 468"/>
                <a:gd name="T4" fmla="*/ 2147483647 w 485"/>
                <a:gd name="T5" fmla="*/ 2147483647 h 468"/>
                <a:gd name="T6" fmla="*/ 2147483647 w 485"/>
                <a:gd name="T7" fmla="*/ 2147483647 h 468"/>
                <a:gd name="T8" fmla="*/ 2147483647 w 485"/>
                <a:gd name="T9" fmla="*/ 2147483647 h 468"/>
                <a:gd name="T10" fmla="*/ 2147483647 w 485"/>
                <a:gd name="T11" fmla="*/ 2147483647 h 468"/>
                <a:gd name="T12" fmla="*/ 2147483647 w 485"/>
                <a:gd name="T13" fmla="*/ 2147483647 h 468"/>
                <a:gd name="T14" fmla="*/ 2147483647 w 485"/>
                <a:gd name="T15" fmla="*/ 2147483647 h 468"/>
                <a:gd name="T16" fmla="*/ 2147483647 w 485"/>
                <a:gd name="T17" fmla="*/ 2147483647 h 468"/>
                <a:gd name="T18" fmla="*/ 2147483647 w 485"/>
                <a:gd name="T19" fmla="*/ 2147483647 h 468"/>
                <a:gd name="T20" fmla="*/ 2147483647 w 485"/>
                <a:gd name="T21" fmla="*/ 2147483647 h 468"/>
                <a:gd name="T22" fmla="*/ 2147483647 w 485"/>
                <a:gd name="T23" fmla="*/ 2147483647 h 468"/>
                <a:gd name="T24" fmla="*/ 2147483647 w 485"/>
                <a:gd name="T25" fmla="*/ 2147483647 h 468"/>
                <a:gd name="T26" fmla="*/ 2147483647 w 485"/>
                <a:gd name="T27" fmla="*/ 2147483647 h 468"/>
                <a:gd name="T28" fmla="*/ 2147483647 w 485"/>
                <a:gd name="T29" fmla="*/ 2147483647 h 468"/>
                <a:gd name="T30" fmla="*/ 2147483647 w 485"/>
                <a:gd name="T31" fmla="*/ 2147483647 h 468"/>
                <a:gd name="T32" fmla="*/ 2147483647 w 485"/>
                <a:gd name="T33" fmla="*/ 2147483647 h 468"/>
                <a:gd name="T34" fmla="*/ 2147483647 w 485"/>
                <a:gd name="T35" fmla="*/ 2147483647 h 468"/>
                <a:gd name="T36" fmla="*/ 2147483647 w 485"/>
                <a:gd name="T37" fmla="*/ 2147483647 h 468"/>
                <a:gd name="T38" fmla="*/ 2147483647 w 485"/>
                <a:gd name="T39" fmla="*/ 2147483647 h 468"/>
                <a:gd name="T40" fmla="*/ 2147483647 w 485"/>
                <a:gd name="T41" fmla="*/ 2147483647 h 468"/>
                <a:gd name="T42" fmla="*/ 2147483647 w 485"/>
                <a:gd name="T43" fmla="*/ 2147483647 h 468"/>
                <a:gd name="T44" fmla="*/ 2147483647 w 485"/>
                <a:gd name="T45" fmla="*/ 2147483647 h 468"/>
                <a:gd name="T46" fmla="*/ 2147483647 w 485"/>
                <a:gd name="T47" fmla="*/ 2147483647 h 468"/>
                <a:gd name="T48" fmla="*/ 2147483647 w 485"/>
                <a:gd name="T49" fmla="*/ 2147483647 h 468"/>
                <a:gd name="T50" fmla="*/ 2147483647 w 485"/>
                <a:gd name="T51" fmla="*/ 2147483647 h 468"/>
                <a:gd name="T52" fmla="*/ 2147483647 w 485"/>
                <a:gd name="T53" fmla="*/ 2147483647 h 468"/>
                <a:gd name="T54" fmla="*/ 2147483647 w 485"/>
                <a:gd name="T55" fmla="*/ 2147483647 h 468"/>
                <a:gd name="T56" fmla="*/ 2147483647 w 485"/>
                <a:gd name="T57" fmla="*/ 2147483647 h 468"/>
                <a:gd name="T58" fmla="*/ 2147483647 w 485"/>
                <a:gd name="T59" fmla="*/ 2147483647 h 468"/>
                <a:gd name="T60" fmla="*/ 2147483647 w 485"/>
                <a:gd name="T61" fmla="*/ 2147483647 h 468"/>
                <a:gd name="T62" fmla="*/ 2147483647 w 485"/>
                <a:gd name="T63" fmla="*/ 2147483647 h 468"/>
                <a:gd name="T64" fmla="*/ 2147483647 w 485"/>
                <a:gd name="T65" fmla="*/ 2147483647 h 468"/>
                <a:gd name="T66" fmla="*/ 2147483647 w 485"/>
                <a:gd name="T67" fmla="*/ 2147483647 h 468"/>
                <a:gd name="T68" fmla="*/ 2147483647 w 485"/>
                <a:gd name="T69" fmla="*/ 2147483647 h 468"/>
                <a:gd name="T70" fmla="*/ 2147483647 w 485"/>
                <a:gd name="T71" fmla="*/ 2147483647 h 468"/>
                <a:gd name="T72" fmla="*/ 2147483647 w 485"/>
                <a:gd name="T73" fmla="*/ 2147483647 h 468"/>
                <a:gd name="T74" fmla="*/ 2147483647 w 485"/>
                <a:gd name="T75" fmla="*/ 2147483647 h 468"/>
                <a:gd name="T76" fmla="*/ 2147483647 w 485"/>
                <a:gd name="T77" fmla="*/ 2147483647 h 468"/>
                <a:gd name="T78" fmla="*/ 2147483647 w 485"/>
                <a:gd name="T79" fmla="*/ 2147483647 h 468"/>
                <a:gd name="T80" fmla="*/ 2147483647 w 485"/>
                <a:gd name="T81" fmla="*/ 2147483647 h 468"/>
                <a:gd name="T82" fmla="*/ 2147483647 w 485"/>
                <a:gd name="T83" fmla="*/ 2147483647 h 468"/>
                <a:gd name="T84" fmla="*/ 2147483647 w 485"/>
                <a:gd name="T85" fmla="*/ 2147483647 h 468"/>
                <a:gd name="T86" fmla="*/ 2147483647 w 485"/>
                <a:gd name="T87" fmla="*/ 2147483647 h 468"/>
                <a:gd name="T88" fmla="*/ 2147483647 w 485"/>
                <a:gd name="T89" fmla="*/ 2147483647 h 468"/>
                <a:gd name="T90" fmla="*/ 2147483647 w 485"/>
                <a:gd name="T91" fmla="*/ 2147483647 h 468"/>
                <a:gd name="T92" fmla="*/ 2147483647 w 485"/>
                <a:gd name="T93" fmla="*/ 2147483647 h 468"/>
                <a:gd name="T94" fmla="*/ 2147483647 w 485"/>
                <a:gd name="T95" fmla="*/ 2147483647 h 468"/>
                <a:gd name="T96" fmla="*/ 2147483647 w 485"/>
                <a:gd name="T97" fmla="*/ 2147483647 h 468"/>
                <a:gd name="T98" fmla="*/ 2147483647 w 485"/>
                <a:gd name="T99" fmla="*/ 2147483647 h 468"/>
                <a:gd name="T100" fmla="*/ 2147483647 w 485"/>
                <a:gd name="T101" fmla="*/ 2147483647 h 468"/>
                <a:gd name="T102" fmla="*/ 2147483647 w 485"/>
                <a:gd name="T103" fmla="*/ 2147483647 h 468"/>
                <a:gd name="T104" fmla="*/ 2147483647 w 485"/>
                <a:gd name="T105" fmla="*/ 2147483647 h 468"/>
                <a:gd name="T106" fmla="*/ 2147483647 w 485"/>
                <a:gd name="T107" fmla="*/ 2147483647 h 468"/>
                <a:gd name="T108" fmla="*/ 2147483647 w 485"/>
                <a:gd name="T109" fmla="*/ 2147483647 h 468"/>
                <a:gd name="T110" fmla="*/ 2147483647 w 485"/>
                <a:gd name="T111" fmla="*/ 2147483647 h 468"/>
                <a:gd name="T112" fmla="*/ 2147483647 w 485"/>
                <a:gd name="T113" fmla="*/ 2147483647 h 468"/>
                <a:gd name="T114" fmla="*/ 0 w 485"/>
                <a:gd name="T115" fmla="*/ 2147483647 h 468"/>
                <a:gd name="T116" fmla="*/ 2147483647 w 485"/>
                <a:gd name="T117" fmla="*/ 2147483647 h 468"/>
                <a:gd name="T118" fmla="*/ 2147483647 w 485"/>
                <a:gd name="T119" fmla="*/ 2147483647 h 468"/>
                <a:gd name="T120" fmla="*/ 2147483647 w 485"/>
                <a:gd name="T121" fmla="*/ 2147483647 h 468"/>
                <a:gd name="T122" fmla="*/ 2147483647 w 485"/>
                <a:gd name="T123" fmla="*/ 2147483647 h 468"/>
                <a:gd name="T124" fmla="*/ 2147483647 w 485"/>
                <a:gd name="T125" fmla="*/ 2147483647 h 46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85" h="468">
                  <a:moveTo>
                    <a:pt x="100" y="351"/>
                  </a:moveTo>
                  <a:lnTo>
                    <a:pt x="113" y="351"/>
                  </a:lnTo>
                  <a:lnTo>
                    <a:pt x="126" y="351"/>
                  </a:lnTo>
                  <a:lnTo>
                    <a:pt x="134" y="351"/>
                  </a:lnTo>
                  <a:lnTo>
                    <a:pt x="142" y="348"/>
                  </a:lnTo>
                  <a:lnTo>
                    <a:pt x="149" y="346"/>
                  </a:lnTo>
                  <a:lnTo>
                    <a:pt x="158" y="342"/>
                  </a:lnTo>
                  <a:lnTo>
                    <a:pt x="167" y="339"/>
                  </a:lnTo>
                  <a:lnTo>
                    <a:pt x="177" y="336"/>
                  </a:lnTo>
                  <a:lnTo>
                    <a:pt x="188" y="334"/>
                  </a:lnTo>
                  <a:lnTo>
                    <a:pt x="199" y="333"/>
                  </a:lnTo>
                  <a:lnTo>
                    <a:pt x="200" y="339"/>
                  </a:lnTo>
                  <a:lnTo>
                    <a:pt x="203" y="345"/>
                  </a:lnTo>
                  <a:lnTo>
                    <a:pt x="208" y="352"/>
                  </a:lnTo>
                  <a:lnTo>
                    <a:pt x="212" y="357"/>
                  </a:lnTo>
                  <a:lnTo>
                    <a:pt x="226" y="348"/>
                  </a:lnTo>
                  <a:lnTo>
                    <a:pt x="239" y="339"/>
                  </a:lnTo>
                  <a:lnTo>
                    <a:pt x="233" y="335"/>
                  </a:lnTo>
                  <a:lnTo>
                    <a:pt x="226" y="329"/>
                  </a:lnTo>
                  <a:lnTo>
                    <a:pt x="224" y="327"/>
                  </a:lnTo>
                  <a:lnTo>
                    <a:pt x="221" y="325"/>
                  </a:lnTo>
                  <a:lnTo>
                    <a:pt x="220" y="322"/>
                  </a:lnTo>
                  <a:lnTo>
                    <a:pt x="220" y="320"/>
                  </a:lnTo>
                  <a:lnTo>
                    <a:pt x="220" y="316"/>
                  </a:lnTo>
                  <a:lnTo>
                    <a:pt x="222" y="312"/>
                  </a:lnTo>
                  <a:lnTo>
                    <a:pt x="225" y="309"/>
                  </a:lnTo>
                  <a:lnTo>
                    <a:pt x="229" y="306"/>
                  </a:lnTo>
                  <a:lnTo>
                    <a:pt x="233" y="303"/>
                  </a:lnTo>
                  <a:lnTo>
                    <a:pt x="236" y="301"/>
                  </a:lnTo>
                  <a:lnTo>
                    <a:pt x="238" y="298"/>
                  </a:lnTo>
                  <a:lnTo>
                    <a:pt x="239" y="296"/>
                  </a:lnTo>
                  <a:lnTo>
                    <a:pt x="239" y="276"/>
                  </a:lnTo>
                  <a:lnTo>
                    <a:pt x="239" y="268"/>
                  </a:lnTo>
                  <a:lnTo>
                    <a:pt x="239" y="259"/>
                  </a:lnTo>
                  <a:lnTo>
                    <a:pt x="239" y="240"/>
                  </a:lnTo>
                  <a:lnTo>
                    <a:pt x="242" y="246"/>
                  </a:lnTo>
                  <a:lnTo>
                    <a:pt x="246" y="253"/>
                  </a:lnTo>
                  <a:lnTo>
                    <a:pt x="253" y="259"/>
                  </a:lnTo>
                  <a:lnTo>
                    <a:pt x="259" y="265"/>
                  </a:lnTo>
                  <a:lnTo>
                    <a:pt x="268" y="255"/>
                  </a:lnTo>
                  <a:lnTo>
                    <a:pt x="277" y="249"/>
                  </a:lnTo>
                  <a:lnTo>
                    <a:pt x="284" y="244"/>
                  </a:lnTo>
                  <a:lnTo>
                    <a:pt x="292" y="241"/>
                  </a:lnTo>
                  <a:lnTo>
                    <a:pt x="300" y="238"/>
                  </a:lnTo>
                  <a:lnTo>
                    <a:pt x="307" y="235"/>
                  </a:lnTo>
                  <a:lnTo>
                    <a:pt x="316" y="230"/>
                  </a:lnTo>
                  <a:lnTo>
                    <a:pt x="325" y="222"/>
                  </a:lnTo>
                  <a:lnTo>
                    <a:pt x="316" y="217"/>
                  </a:lnTo>
                  <a:lnTo>
                    <a:pt x="310" y="212"/>
                  </a:lnTo>
                  <a:lnTo>
                    <a:pt x="304" y="208"/>
                  </a:lnTo>
                  <a:lnTo>
                    <a:pt x="301" y="203"/>
                  </a:lnTo>
                  <a:lnTo>
                    <a:pt x="293" y="194"/>
                  </a:lnTo>
                  <a:lnTo>
                    <a:pt x="285" y="185"/>
                  </a:lnTo>
                  <a:lnTo>
                    <a:pt x="300" y="190"/>
                  </a:lnTo>
                  <a:lnTo>
                    <a:pt x="312" y="196"/>
                  </a:lnTo>
                  <a:lnTo>
                    <a:pt x="318" y="199"/>
                  </a:lnTo>
                  <a:lnTo>
                    <a:pt x="325" y="201"/>
                  </a:lnTo>
                  <a:lnTo>
                    <a:pt x="332" y="203"/>
                  </a:lnTo>
                  <a:lnTo>
                    <a:pt x="338" y="203"/>
                  </a:lnTo>
                  <a:lnTo>
                    <a:pt x="343" y="202"/>
                  </a:lnTo>
                  <a:lnTo>
                    <a:pt x="345" y="200"/>
                  </a:lnTo>
                  <a:lnTo>
                    <a:pt x="347" y="197"/>
                  </a:lnTo>
                  <a:lnTo>
                    <a:pt x="347" y="193"/>
                  </a:lnTo>
                  <a:lnTo>
                    <a:pt x="346" y="185"/>
                  </a:lnTo>
                  <a:lnTo>
                    <a:pt x="345" y="179"/>
                  </a:lnTo>
                  <a:lnTo>
                    <a:pt x="322" y="142"/>
                  </a:lnTo>
                  <a:lnTo>
                    <a:pt x="303" y="111"/>
                  </a:lnTo>
                  <a:lnTo>
                    <a:pt x="295" y="96"/>
                  </a:lnTo>
                  <a:lnTo>
                    <a:pt x="290" y="80"/>
                  </a:lnTo>
                  <a:lnTo>
                    <a:pt x="288" y="72"/>
                  </a:lnTo>
                  <a:lnTo>
                    <a:pt x="287" y="63"/>
                  </a:lnTo>
                  <a:lnTo>
                    <a:pt x="285" y="53"/>
                  </a:lnTo>
                  <a:lnTo>
                    <a:pt x="285" y="43"/>
                  </a:lnTo>
                  <a:lnTo>
                    <a:pt x="287" y="34"/>
                  </a:lnTo>
                  <a:lnTo>
                    <a:pt x="288" y="26"/>
                  </a:lnTo>
                  <a:lnTo>
                    <a:pt x="291" y="19"/>
                  </a:lnTo>
                  <a:lnTo>
                    <a:pt x="295" y="13"/>
                  </a:lnTo>
                  <a:lnTo>
                    <a:pt x="301" y="7"/>
                  </a:lnTo>
                  <a:lnTo>
                    <a:pt x="307" y="4"/>
                  </a:lnTo>
                  <a:lnTo>
                    <a:pt x="316" y="1"/>
                  </a:lnTo>
                  <a:lnTo>
                    <a:pt x="325" y="0"/>
                  </a:lnTo>
                  <a:lnTo>
                    <a:pt x="328" y="7"/>
                  </a:lnTo>
                  <a:lnTo>
                    <a:pt x="332" y="13"/>
                  </a:lnTo>
                  <a:lnTo>
                    <a:pt x="336" y="18"/>
                  </a:lnTo>
                  <a:lnTo>
                    <a:pt x="340" y="23"/>
                  </a:lnTo>
                  <a:lnTo>
                    <a:pt x="351" y="31"/>
                  </a:lnTo>
                  <a:lnTo>
                    <a:pt x="363" y="38"/>
                  </a:lnTo>
                  <a:lnTo>
                    <a:pt x="377" y="45"/>
                  </a:lnTo>
                  <a:lnTo>
                    <a:pt x="389" y="51"/>
                  </a:lnTo>
                  <a:lnTo>
                    <a:pt x="401" y="60"/>
                  </a:lnTo>
                  <a:lnTo>
                    <a:pt x="412" y="68"/>
                  </a:lnTo>
                  <a:lnTo>
                    <a:pt x="415" y="72"/>
                  </a:lnTo>
                  <a:lnTo>
                    <a:pt x="418" y="76"/>
                  </a:lnTo>
                  <a:lnTo>
                    <a:pt x="421" y="81"/>
                  </a:lnTo>
                  <a:lnTo>
                    <a:pt x="423" y="86"/>
                  </a:lnTo>
                  <a:lnTo>
                    <a:pt x="426" y="98"/>
                  </a:lnTo>
                  <a:lnTo>
                    <a:pt x="428" y="111"/>
                  </a:lnTo>
                  <a:lnTo>
                    <a:pt x="430" y="122"/>
                  </a:lnTo>
                  <a:lnTo>
                    <a:pt x="434" y="133"/>
                  </a:lnTo>
                  <a:lnTo>
                    <a:pt x="436" y="137"/>
                  </a:lnTo>
                  <a:lnTo>
                    <a:pt x="438" y="142"/>
                  </a:lnTo>
                  <a:lnTo>
                    <a:pt x="441" y="145"/>
                  </a:lnTo>
                  <a:lnTo>
                    <a:pt x="445" y="148"/>
                  </a:lnTo>
                  <a:lnTo>
                    <a:pt x="445" y="173"/>
                  </a:lnTo>
                  <a:lnTo>
                    <a:pt x="440" y="173"/>
                  </a:lnTo>
                  <a:lnTo>
                    <a:pt x="436" y="175"/>
                  </a:lnTo>
                  <a:lnTo>
                    <a:pt x="432" y="177"/>
                  </a:lnTo>
                  <a:lnTo>
                    <a:pt x="428" y="179"/>
                  </a:lnTo>
                  <a:lnTo>
                    <a:pt x="425" y="181"/>
                  </a:lnTo>
                  <a:lnTo>
                    <a:pt x="421" y="183"/>
                  </a:lnTo>
                  <a:lnTo>
                    <a:pt x="416" y="184"/>
                  </a:lnTo>
                  <a:lnTo>
                    <a:pt x="412" y="185"/>
                  </a:lnTo>
                  <a:lnTo>
                    <a:pt x="415" y="189"/>
                  </a:lnTo>
                  <a:lnTo>
                    <a:pt x="418" y="193"/>
                  </a:lnTo>
                  <a:lnTo>
                    <a:pt x="422" y="196"/>
                  </a:lnTo>
                  <a:lnTo>
                    <a:pt x="426" y="199"/>
                  </a:lnTo>
                  <a:lnTo>
                    <a:pt x="430" y="201"/>
                  </a:lnTo>
                  <a:lnTo>
                    <a:pt x="435" y="202"/>
                  </a:lnTo>
                  <a:lnTo>
                    <a:pt x="440" y="203"/>
                  </a:lnTo>
                  <a:lnTo>
                    <a:pt x="445" y="203"/>
                  </a:lnTo>
                  <a:lnTo>
                    <a:pt x="446" y="211"/>
                  </a:lnTo>
                  <a:lnTo>
                    <a:pt x="447" y="225"/>
                  </a:lnTo>
                  <a:lnTo>
                    <a:pt x="450" y="243"/>
                  </a:lnTo>
                  <a:lnTo>
                    <a:pt x="455" y="262"/>
                  </a:lnTo>
                  <a:lnTo>
                    <a:pt x="460" y="282"/>
                  </a:lnTo>
                  <a:lnTo>
                    <a:pt x="468" y="299"/>
                  </a:lnTo>
                  <a:lnTo>
                    <a:pt x="471" y="306"/>
                  </a:lnTo>
                  <a:lnTo>
                    <a:pt x="475" y="312"/>
                  </a:lnTo>
                  <a:lnTo>
                    <a:pt x="480" y="317"/>
                  </a:lnTo>
                  <a:lnTo>
                    <a:pt x="485" y="320"/>
                  </a:lnTo>
                  <a:lnTo>
                    <a:pt x="485" y="382"/>
                  </a:lnTo>
                  <a:lnTo>
                    <a:pt x="480" y="381"/>
                  </a:lnTo>
                  <a:lnTo>
                    <a:pt x="475" y="378"/>
                  </a:lnTo>
                  <a:lnTo>
                    <a:pt x="471" y="374"/>
                  </a:lnTo>
                  <a:lnTo>
                    <a:pt x="467" y="369"/>
                  </a:lnTo>
                  <a:lnTo>
                    <a:pt x="463" y="364"/>
                  </a:lnTo>
                  <a:lnTo>
                    <a:pt x="460" y="359"/>
                  </a:lnTo>
                  <a:lnTo>
                    <a:pt x="459" y="354"/>
                  </a:lnTo>
                  <a:lnTo>
                    <a:pt x="458" y="351"/>
                  </a:lnTo>
                  <a:lnTo>
                    <a:pt x="453" y="356"/>
                  </a:lnTo>
                  <a:lnTo>
                    <a:pt x="448" y="360"/>
                  </a:lnTo>
                  <a:lnTo>
                    <a:pt x="444" y="361"/>
                  </a:lnTo>
                  <a:lnTo>
                    <a:pt x="440" y="362"/>
                  </a:lnTo>
                  <a:lnTo>
                    <a:pt x="436" y="363"/>
                  </a:lnTo>
                  <a:lnTo>
                    <a:pt x="432" y="363"/>
                  </a:lnTo>
                  <a:lnTo>
                    <a:pt x="432" y="380"/>
                  </a:lnTo>
                  <a:lnTo>
                    <a:pt x="430" y="391"/>
                  </a:lnTo>
                  <a:lnTo>
                    <a:pt x="429" y="399"/>
                  </a:lnTo>
                  <a:lnTo>
                    <a:pt x="425" y="413"/>
                  </a:lnTo>
                  <a:lnTo>
                    <a:pt x="419" y="403"/>
                  </a:lnTo>
                  <a:lnTo>
                    <a:pt x="412" y="393"/>
                  </a:lnTo>
                  <a:lnTo>
                    <a:pt x="408" y="389"/>
                  </a:lnTo>
                  <a:lnTo>
                    <a:pt x="404" y="385"/>
                  </a:lnTo>
                  <a:lnTo>
                    <a:pt x="401" y="382"/>
                  </a:lnTo>
                  <a:lnTo>
                    <a:pt x="399" y="382"/>
                  </a:lnTo>
                  <a:lnTo>
                    <a:pt x="389" y="382"/>
                  </a:lnTo>
                  <a:lnTo>
                    <a:pt x="379" y="382"/>
                  </a:lnTo>
                  <a:lnTo>
                    <a:pt x="378" y="389"/>
                  </a:lnTo>
                  <a:lnTo>
                    <a:pt x="376" y="398"/>
                  </a:lnTo>
                  <a:lnTo>
                    <a:pt x="376" y="402"/>
                  </a:lnTo>
                  <a:lnTo>
                    <a:pt x="376" y="406"/>
                  </a:lnTo>
                  <a:lnTo>
                    <a:pt x="377" y="410"/>
                  </a:lnTo>
                  <a:lnTo>
                    <a:pt x="379" y="413"/>
                  </a:lnTo>
                  <a:lnTo>
                    <a:pt x="345" y="413"/>
                  </a:lnTo>
                  <a:lnTo>
                    <a:pt x="340" y="410"/>
                  </a:lnTo>
                  <a:lnTo>
                    <a:pt x="337" y="407"/>
                  </a:lnTo>
                  <a:lnTo>
                    <a:pt x="335" y="404"/>
                  </a:lnTo>
                  <a:lnTo>
                    <a:pt x="334" y="400"/>
                  </a:lnTo>
                  <a:lnTo>
                    <a:pt x="333" y="392"/>
                  </a:lnTo>
                  <a:lnTo>
                    <a:pt x="332" y="382"/>
                  </a:lnTo>
                  <a:lnTo>
                    <a:pt x="312" y="382"/>
                  </a:lnTo>
                  <a:lnTo>
                    <a:pt x="312" y="395"/>
                  </a:lnTo>
                  <a:lnTo>
                    <a:pt x="310" y="405"/>
                  </a:lnTo>
                  <a:lnTo>
                    <a:pt x="307" y="413"/>
                  </a:lnTo>
                  <a:lnTo>
                    <a:pt x="305" y="420"/>
                  </a:lnTo>
                  <a:lnTo>
                    <a:pt x="303" y="426"/>
                  </a:lnTo>
                  <a:lnTo>
                    <a:pt x="301" y="431"/>
                  </a:lnTo>
                  <a:lnTo>
                    <a:pt x="300" y="437"/>
                  </a:lnTo>
                  <a:lnTo>
                    <a:pt x="299" y="443"/>
                  </a:lnTo>
                  <a:lnTo>
                    <a:pt x="299" y="450"/>
                  </a:lnTo>
                  <a:lnTo>
                    <a:pt x="301" y="456"/>
                  </a:lnTo>
                  <a:lnTo>
                    <a:pt x="302" y="460"/>
                  </a:lnTo>
                  <a:lnTo>
                    <a:pt x="304" y="463"/>
                  </a:lnTo>
                  <a:lnTo>
                    <a:pt x="307" y="466"/>
                  </a:lnTo>
                  <a:lnTo>
                    <a:pt x="312" y="468"/>
                  </a:lnTo>
                  <a:lnTo>
                    <a:pt x="298" y="468"/>
                  </a:lnTo>
                  <a:lnTo>
                    <a:pt x="284" y="468"/>
                  </a:lnTo>
                  <a:lnTo>
                    <a:pt x="272" y="468"/>
                  </a:lnTo>
                  <a:lnTo>
                    <a:pt x="266" y="468"/>
                  </a:lnTo>
                  <a:lnTo>
                    <a:pt x="264" y="468"/>
                  </a:lnTo>
                  <a:lnTo>
                    <a:pt x="260" y="467"/>
                  </a:lnTo>
                  <a:lnTo>
                    <a:pt x="258" y="465"/>
                  </a:lnTo>
                  <a:lnTo>
                    <a:pt x="256" y="462"/>
                  </a:lnTo>
                  <a:lnTo>
                    <a:pt x="251" y="456"/>
                  </a:lnTo>
                  <a:lnTo>
                    <a:pt x="247" y="449"/>
                  </a:lnTo>
                  <a:lnTo>
                    <a:pt x="244" y="440"/>
                  </a:lnTo>
                  <a:lnTo>
                    <a:pt x="242" y="432"/>
                  </a:lnTo>
                  <a:lnTo>
                    <a:pt x="239" y="424"/>
                  </a:lnTo>
                  <a:lnTo>
                    <a:pt x="239" y="419"/>
                  </a:lnTo>
                  <a:lnTo>
                    <a:pt x="229" y="418"/>
                  </a:lnTo>
                  <a:lnTo>
                    <a:pt x="222" y="417"/>
                  </a:lnTo>
                  <a:lnTo>
                    <a:pt x="215" y="414"/>
                  </a:lnTo>
                  <a:lnTo>
                    <a:pt x="209" y="411"/>
                  </a:lnTo>
                  <a:lnTo>
                    <a:pt x="204" y="406"/>
                  </a:lnTo>
                  <a:lnTo>
                    <a:pt x="202" y="401"/>
                  </a:lnTo>
                  <a:lnTo>
                    <a:pt x="200" y="395"/>
                  </a:lnTo>
                  <a:lnTo>
                    <a:pt x="199" y="389"/>
                  </a:lnTo>
                  <a:lnTo>
                    <a:pt x="190" y="394"/>
                  </a:lnTo>
                  <a:lnTo>
                    <a:pt x="179" y="399"/>
                  </a:lnTo>
                  <a:lnTo>
                    <a:pt x="166" y="405"/>
                  </a:lnTo>
                  <a:lnTo>
                    <a:pt x="150" y="411"/>
                  </a:lnTo>
                  <a:lnTo>
                    <a:pt x="136" y="417"/>
                  </a:lnTo>
                  <a:lnTo>
                    <a:pt x="121" y="421"/>
                  </a:lnTo>
                  <a:lnTo>
                    <a:pt x="107" y="424"/>
                  </a:lnTo>
                  <a:lnTo>
                    <a:pt x="93" y="425"/>
                  </a:lnTo>
                  <a:lnTo>
                    <a:pt x="90" y="435"/>
                  </a:lnTo>
                  <a:lnTo>
                    <a:pt x="86" y="443"/>
                  </a:lnTo>
                  <a:lnTo>
                    <a:pt x="80" y="451"/>
                  </a:lnTo>
                  <a:lnTo>
                    <a:pt x="72" y="455"/>
                  </a:lnTo>
                  <a:lnTo>
                    <a:pt x="65" y="459"/>
                  </a:lnTo>
                  <a:lnTo>
                    <a:pt x="56" y="461"/>
                  </a:lnTo>
                  <a:lnTo>
                    <a:pt x="45" y="462"/>
                  </a:lnTo>
                  <a:lnTo>
                    <a:pt x="33" y="462"/>
                  </a:lnTo>
                  <a:lnTo>
                    <a:pt x="27" y="461"/>
                  </a:lnTo>
                  <a:lnTo>
                    <a:pt x="22" y="457"/>
                  </a:lnTo>
                  <a:lnTo>
                    <a:pt x="16" y="452"/>
                  </a:lnTo>
                  <a:lnTo>
                    <a:pt x="11" y="446"/>
                  </a:lnTo>
                  <a:lnTo>
                    <a:pt x="7" y="438"/>
                  </a:lnTo>
                  <a:lnTo>
                    <a:pt x="3" y="431"/>
                  </a:lnTo>
                  <a:lnTo>
                    <a:pt x="1" y="424"/>
                  </a:lnTo>
                  <a:lnTo>
                    <a:pt x="0" y="419"/>
                  </a:lnTo>
                  <a:lnTo>
                    <a:pt x="0" y="417"/>
                  </a:lnTo>
                  <a:lnTo>
                    <a:pt x="1" y="415"/>
                  </a:lnTo>
                  <a:lnTo>
                    <a:pt x="2" y="414"/>
                  </a:lnTo>
                  <a:lnTo>
                    <a:pt x="3" y="414"/>
                  </a:lnTo>
                  <a:lnTo>
                    <a:pt x="7" y="413"/>
                  </a:lnTo>
                  <a:lnTo>
                    <a:pt x="11" y="414"/>
                  </a:lnTo>
                  <a:lnTo>
                    <a:pt x="16" y="414"/>
                  </a:lnTo>
                  <a:lnTo>
                    <a:pt x="22" y="415"/>
                  </a:lnTo>
                  <a:lnTo>
                    <a:pt x="27" y="414"/>
                  </a:lnTo>
                  <a:lnTo>
                    <a:pt x="33" y="413"/>
                  </a:lnTo>
                  <a:lnTo>
                    <a:pt x="38" y="411"/>
                  </a:lnTo>
                  <a:lnTo>
                    <a:pt x="44" y="409"/>
                  </a:lnTo>
                  <a:lnTo>
                    <a:pt x="48" y="405"/>
                  </a:lnTo>
                  <a:lnTo>
                    <a:pt x="53" y="401"/>
                  </a:lnTo>
                  <a:lnTo>
                    <a:pt x="60" y="391"/>
                  </a:lnTo>
                  <a:lnTo>
                    <a:pt x="66" y="379"/>
                  </a:lnTo>
                  <a:lnTo>
                    <a:pt x="72" y="369"/>
                  </a:lnTo>
                  <a:lnTo>
                    <a:pt x="80" y="360"/>
                  </a:lnTo>
                  <a:lnTo>
                    <a:pt x="83" y="356"/>
                  </a:lnTo>
                  <a:lnTo>
                    <a:pt x="89" y="354"/>
                  </a:lnTo>
                  <a:lnTo>
                    <a:pt x="93" y="352"/>
                  </a:lnTo>
                  <a:lnTo>
                    <a:pt x="100" y="351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39" name="Freeform 486"/>
            <p:cNvSpPr>
              <a:spLocks/>
            </p:cNvSpPr>
            <p:nvPr>
              <p:custDataLst>
                <p:tags r:id="rId324"/>
              </p:custDataLst>
            </p:nvPr>
          </p:nvSpPr>
          <p:spPr bwMode="auto">
            <a:xfrm>
              <a:off x="6804657" y="1902264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0" name="Freeform 487"/>
            <p:cNvSpPr>
              <a:spLocks/>
            </p:cNvSpPr>
            <p:nvPr>
              <p:custDataLst>
                <p:tags r:id="rId325"/>
              </p:custDataLst>
            </p:nvPr>
          </p:nvSpPr>
          <p:spPr bwMode="auto">
            <a:xfrm>
              <a:off x="6947532" y="1884802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1" name="Freeform 488"/>
            <p:cNvSpPr>
              <a:spLocks/>
            </p:cNvSpPr>
            <p:nvPr>
              <p:custDataLst>
                <p:tags r:id="rId326"/>
              </p:custDataLst>
            </p:nvPr>
          </p:nvSpPr>
          <p:spPr bwMode="auto">
            <a:xfrm>
              <a:off x="6984044" y="1892739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2" name="Freeform 489"/>
            <p:cNvSpPr>
              <a:spLocks/>
            </p:cNvSpPr>
            <p:nvPr>
              <p:custDataLst>
                <p:tags r:id="rId327"/>
              </p:custDataLst>
            </p:nvPr>
          </p:nvSpPr>
          <p:spPr bwMode="auto">
            <a:xfrm>
              <a:off x="7517444" y="2078477"/>
              <a:ext cx="41275" cy="57150"/>
            </a:xfrm>
            <a:custGeom>
              <a:avLst/>
              <a:gdLst>
                <a:gd name="T0" fmla="*/ 2147483647 w 100"/>
                <a:gd name="T1" fmla="*/ 0 h 42"/>
                <a:gd name="T2" fmla="*/ 2147483647 w 100"/>
                <a:gd name="T3" fmla="*/ 2147483647 h 42"/>
                <a:gd name="T4" fmla="*/ 2147483647 w 100"/>
                <a:gd name="T5" fmla="*/ 2147483647 h 42"/>
                <a:gd name="T6" fmla="*/ 2147483647 w 100"/>
                <a:gd name="T7" fmla="*/ 2147483647 h 42"/>
                <a:gd name="T8" fmla="*/ 2147483647 w 100"/>
                <a:gd name="T9" fmla="*/ 2147483647 h 42"/>
                <a:gd name="T10" fmla="*/ 2147483647 w 100"/>
                <a:gd name="T11" fmla="*/ 2147483647 h 42"/>
                <a:gd name="T12" fmla="*/ 2147483647 w 100"/>
                <a:gd name="T13" fmla="*/ 2147483647 h 42"/>
                <a:gd name="T14" fmla="*/ 2147483647 w 100"/>
                <a:gd name="T15" fmla="*/ 2147483647 h 42"/>
                <a:gd name="T16" fmla="*/ 2147483647 w 100"/>
                <a:gd name="T17" fmla="*/ 2147483647 h 42"/>
                <a:gd name="T18" fmla="*/ 2147483647 w 100"/>
                <a:gd name="T19" fmla="*/ 2147483647 h 42"/>
                <a:gd name="T20" fmla="*/ 2147483647 w 100"/>
                <a:gd name="T21" fmla="*/ 2147483647 h 42"/>
                <a:gd name="T22" fmla="*/ 2147483647 w 100"/>
                <a:gd name="T23" fmla="*/ 2147483647 h 42"/>
                <a:gd name="T24" fmla="*/ 2147483647 w 100"/>
                <a:gd name="T25" fmla="*/ 2147483647 h 42"/>
                <a:gd name="T26" fmla="*/ 2147483647 w 100"/>
                <a:gd name="T27" fmla="*/ 2147483647 h 42"/>
                <a:gd name="T28" fmla="*/ 0 w 100"/>
                <a:gd name="T29" fmla="*/ 2147483647 h 42"/>
                <a:gd name="T30" fmla="*/ 2147483647 w 100"/>
                <a:gd name="T31" fmla="*/ 2147483647 h 42"/>
                <a:gd name="T32" fmla="*/ 2147483647 w 100"/>
                <a:gd name="T33" fmla="*/ 2147483647 h 42"/>
                <a:gd name="T34" fmla="*/ 2147483647 w 100"/>
                <a:gd name="T35" fmla="*/ 2147483647 h 42"/>
                <a:gd name="T36" fmla="*/ 2147483647 w 100"/>
                <a:gd name="T37" fmla="*/ 2147483647 h 42"/>
                <a:gd name="T38" fmla="*/ 2147483647 w 100"/>
                <a:gd name="T39" fmla="*/ 2147483647 h 42"/>
                <a:gd name="T40" fmla="*/ 2147483647 w 100"/>
                <a:gd name="T41" fmla="*/ 2147483647 h 42"/>
                <a:gd name="T42" fmla="*/ 2147483647 w 100"/>
                <a:gd name="T43" fmla="*/ 2147483647 h 42"/>
                <a:gd name="T44" fmla="*/ 2147483647 w 100"/>
                <a:gd name="T45" fmla="*/ 2147483647 h 42"/>
                <a:gd name="T46" fmla="*/ 2147483647 w 100"/>
                <a:gd name="T47" fmla="*/ 2147483647 h 42"/>
                <a:gd name="T48" fmla="*/ 2147483647 w 100"/>
                <a:gd name="T49" fmla="*/ 2147483647 h 42"/>
                <a:gd name="T50" fmla="*/ 2147483647 w 100"/>
                <a:gd name="T51" fmla="*/ 0 h 42"/>
                <a:gd name="T52" fmla="*/ 2147483647 w 100"/>
                <a:gd name="T53" fmla="*/ 0 h 4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0" t="0" r="r" b="b"/>
              <a:pathLst>
                <a:path w="100" h="42">
                  <a:moveTo>
                    <a:pt x="93" y="0"/>
                  </a:moveTo>
                  <a:lnTo>
                    <a:pt x="97" y="7"/>
                  </a:lnTo>
                  <a:lnTo>
                    <a:pt x="100" y="18"/>
                  </a:lnTo>
                  <a:lnTo>
                    <a:pt x="92" y="24"/>
                  </a:lnTo>
                  <a:lnTo>
                    <a:pt x="86" y="29"/>
                  </a:lnTo>
                  <a:lnTo>
                    <a:pt x="79" y="34"/>
                  </a:lnTo>
                  <a:lnTo>
                    <a:pt x="72" y="37"/>
                  </a:lnTo>
                  <a:lnTo>
                    <a:pt x="65" y="39"/>
                  </a:lnTo>
                  <a:lnTo>
                    <a:pt x="57" y="41"/>
                  </a:lnTo>
                  <a:lnTo>
                    <a:pt x="49" y="42"/>
                  </a:lnTo>
                  <a:lnTo>
                    <a:pt x="40" y="42"/>
                  </a:lnTo>
                  <a:lnTo>
                    <a:pt x="27" y="41"/>
                  </a:lnTo>
                  <a:lnTo>
                    <a:pt x="12" y="39"/>
                  </a:lnTo>
                  <a:lnTo>
                    <a:pt x="1" y="37"/>
                  </a:lnTo>
                  <a:lnTo>
                    <a:pt x="0" y="36"/>
                  </a:lnTo>
                  <a:lnTo>
                    <a:pt x="6" y="36"/>
                  </a:lnTo>
                  <a:lnTo>
                    <a:pt x="12" y="35"/>
                  </a:lnTo>
                  <a:lnTo>
                    <a:pt x="18" y="33"/>
                  </a:lnTo>
                  <a:lnTo>
                    <a:pt x="23" y="30"/>
                  </a:lnTo>
                  <a:lnTo>
                    <a:pt x="33" y="25"/>
                  </a:lnTo>
                  <a:lnTo>
                    <a:pt x="44" y="18"/>
                  </a:lnTo>
                  <a:lnTo>
                    <a:pt x="55" y="11"/>
                  </a:lnTo>
                  <a:lnTo>
                    <a:pt x="66" y="5"/>
                  </a:lnTo>
                  <a:lnTo>
                    <a:pt x="72" y="3"/>
                  </a:lnTo>
                  <a:lnTo>
                    <a:pt x="79" y="1"/>
                  </a:lnTo>
                  <a:lnTo>
                    <a:pt x="86" y="0"/>
                  </a:lnTo>
                  <a:lnTo>
                    <a:pt x="93" y="0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3" name="Freeform 490"/>
            <p:cNvSpPr>
              <a:spLocks/>
            </p:cNvSpPr>
            <p:nvPr>
              <p:custDataLst>
                <p:tags r:id="rId328"/>
              </p:custDataLst>
            </p:nvPr>
          </p:nvSpPr>
          <p:spPr bwMode="auto">
            <a:xfrm>
              <a:off x="7426957" y="1937189"/>
              <a:ext cx="15875" cy="58738"/>
            </a:xfrm>
            <a:custGeom>
              <a:avLst/>
              <a:gdLst>
                <a:gd name="T0" fmla="*/ 2147483647 w 40"/>
                <a:gd name="T1" fmla="*/ 2147483647 h 5"/>
                <a:gd name="T2" fmla="*/ 0 w 40"/>
                <a:gd name="T3" fmla="*/ 2147483647 h 5"/>
                <a:gd name="T4" fmla="*/ 2147483647 w 40"/>
                <a:gd name="T5" fmla="*/ 2147483647 h 5"/>
                <a:gd name="T6" fmla="*/ 2147483647 w 40"/>
                <a:gd name="T7" fmla="*/ 2147483647 h 5"/>
                <a:gd name="T8" fmla="*/ 2147483647 w 40"/>
                <a:gd name="T9" fmla="*/ 0 h 5"/>
                <a:gd name="T10" fmla="*/ 2147483647 w 40"/>
                <a:gd name="T11" fmla="*/ 0 h 5"/>
                <a:gd name="T12" fmla="*/ 2147483647 w 40"/>
                <a:gd name="T13" fmla="*/ 0 h 5"/>
                <a:gd name="T14" fmla="*/ 2147483647 w 40"/>
                <a:gd name="T15" fmla="*/ 2147483647 h 5"/>
                <a:gd name="T16" fmla="*/ 2147483647 w 40"/>
                <a:gd name="T17" fmla="*/ 2147483647 h 5"/>
                <a:gd name="T18" fmla="*/ 2147483647 w 40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0" h="5">
                  <a:moveTo>
                    <a:pt x="40" y="5"/>
                  </a:moveTo>
                  <a:lnTo>
                    <a:pt x="0" y="5"/>
                  </a:lnTo>
                  <a:lnTo>
                    <a:pt x="5" y="3"/>
                  </a:lnTo>
                  <a:lnTo>
                    <a:pt x="9" y="1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1"/>
                  </a:lnTo>
                  <a:lnTo>
                    <a:pt x="35" y="3"/>
                  </a:lnTo>
                  <a:lnTo>
                    <a:pt x="40" y="5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4" name="Freeform 491"/>
            <p:cNvSpPr>
              <a:spLocks/>
            </p:cNvSpPr>
            <p:nvPr>
              <p:custDataLst>
                <p:tags r:id="rId329"/>
              </p:custDataLst>
            </p:nvPr>
          </p:nvSpPr>
          <p:spPr bwMode="auto">
            <a:xfrm>
              <a:off x="7449182" y="1895914"/>
              <a:ext cx="14287" cy="60325"/>
            </a:xfrm>
            <a:custGeom>
              <a:avLst/>
              <a:gdLst>
                <a:gd name="T0" fmla="*/ 0 w 33"/>
                <a:gd name="T1" fmla="*/ 2147483647 h 31"/>
                <a:gd name="T2" fmla="*/ 2147483647 w 33"/>
                <a:gd name="T3" fmla="*/ 0 h 31"/>
                <a:gd name="T4" fmla="*/ 2147483647 w 33"/>
                <a:gd name="T5" fmla="*/ 2147483647 h 31"/>
                <a:gd name="T6" fmla="*/ 2147483647 w 33"/>
                <a:gd name="T7" fmla="*/ 2147483647 h 31"/>
                <a:gd name="T8" fmla="*/ 2147483647 w 33"/>
                <a:gd name="T9" fmla="*/ 2147483647 h 31"/>
                <a:gd name="T10" fmla="*/ 2147483647 w 33"/>
                <a:gd name="T11" fmla="*/ 2147483647 h 31"/>
                <a:gd name="T12" fmla="*/ 2147483647 w 33"/>
                <a:gd name="T13" fmla="*/ 2147483647 h 31"/>
                <a:gd name="T14" fmla="*/ 2147483647 w 33"/>
                <a:gd name="T15" fmla="*/ 2147483647 h 31"/>
                <a:gd name="T16" fmla="*/ 0 w 33"/>
                <a:gd name="T17" fmla="*/ 2147483647 h 31"/>
                <a:gd name="T18" fmla="*/ 0 w 33"/>
                <a:gd name="T19" fmla="*/ 2147483647 h 31"/>
                <a:gd name="T20" fmla="*/ 0 w 33"/>
                <a:gd name="T21" fmla="*/ 2147483647 h 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3" h="31">
                  <a:moveTo>
                    <a:pt x="0" y="19"/>
                  </a:moveTo>
                  <a:lnTo>
                    <a:pt x="20" y="0"/>
                  </a:lnTo>
                  <a:lnTo>
                    <a:pt x="20" y="4"/>
                  </a:lnTo>
                  <a:lnTo>
                    <a:pt x="22" y="10"/>
                  </a:lnTo>
                  <a:lnTo>
                    <a:pt x="25" y="14"/>
                  </a:lnTo>
                  <a:lnTo>
                    <a:pt x="27" y="18"/>
                  </a:lnTo>
                  <a:lnTo>
                    <a:pt x="31" y="26"/>
                  </a:lnTo>
                  <a:lnTo>
                    <a:pt x="33" y="31"/>
                  </a:lnTo>
                  <a:lnTo>
                    <a:pt x="0" y="31"/>
                  </a:lnTo>
                  <a:lnTo>
                    <a:pt x="0" y="25"/>
                  </a:lnTo>
                  <a:lnTo>
                    <a:pt x="0" y="19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5" name="Freeform 492"/>
            <p:cNvSpPr>
              <a:spLocks/>
            </p:cNvSpPr>
            <p:nvPr>
              <p:custDataLst>
                <p:tags r:id="rId330"/>
              </p:custDataLst>
            </p:nvPr>
          </p:nvSpPr>
          <p:spPr bwMode="auto">
            <a:xfrm>
              <a:off x="7593644" y="2011802"/>
              <a:ext cx="17463" cy="57150"/>
            </a:xfrm>
            <a:custGeom>
              <a:avLst/>
              <a:gdLst>
                <a:gd name="T0" fmla="*/ 2147483647 w 41"/>
                <a:gd name="T1" fmla="*/ 0 h 43"/>
                <a:gd name="T2" fmla="*/ 2147483647 w 41"/>
                <a:gd name="T3" fmla="*/ 2147483647 h 43"/>
                <a:gd name="T4" fmla="*/ 2147483647 w 41"/>
                <a:gd name="T5" fmla="*/ 2147483647 h 43"/>
                <a:gd name="T6" fmla="*/ 2147483647 w 41"/>
                <a:gd name="T7" fmla="*/ 2147483647 h 43"/>
                <a:gd name="T8" fmla="*/ 2147483647 w 41"/>
                <a:gd name="T9" fmla="*/ 2147483647 h 43"/>
                <a:gd name="T10" fmla="*/ 2147483647 w 41"/>
                <a:gd name="T11" fmla="*/ 2147483647 h 43"/>
                <a:gd name="T12" fmla="*/ 2147483647 w 41"/>
                <a:gd name="T13" fmla="*/ 2147483647 h 43"/>
                <a:gd name="T14" fmla="*/ 0 w 41"/>
                <a:gd name="T15" fmla="*/ 2147483647 h 43"/>
                <a:gd name="T16" fmla="*/ 2147483647 w 41"/>
                <a:gd name="T17" fmla="*/ 2147483647 h 43"/>
                <a:gd name="T18" fmla="*/ 2147483647 w 41"/>
                <a:gd name="T19" fmla="*/ 2147483647 h 43"/>
                <a:gd name="T20" fmla="*/ 2147483647 w 41"/>
                <a:gd name="T21" fmla="*/ 2147483647 h 43"/>
                <a:gd name="T22" fmla="*/ 2147483647 w 41"/>
                <a:gd name="T23" fmla="*/ 0 h 4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43">
                  <a:moveTo>
                    <a:pt x="41" y="0"/>
                  </a:moveTo>
                  <a:lnTo>
                    <a:pt x="41" y="43"/>
                  </a:lnTo>
                  <a:lnTo>
                    <a:pt x="31" y="42"/>
                  </a:lnTo>
                  <a:lnTo>
                    <a:pt x="24" y="40"/>
                  </a:lnTo>
                  <a:lnTo>
                    <a:pt x="18" y="37"/>
                  </a:lnTo>
                  <a:lnTo>
                    <a:pt x="13" y="33"/>
                  </a:lnTo>
                  <a:lnTo>
                    <a:pt x="5" y="25"/>
                  </a:lnTo>
                  <a:lnTo>
                    <a:pt x="0" y="19"/>
                  </a:lnTo>
                  <a:lnTo>
                    <a:pt x="12" y="13"/>
                  </a:lnTo>
                  <a:lnTo>
                    <a:pt x="25" y="7"/>
                  </a:lnTo>
                  <a:lnTo>
                    <a:pt x="36" y="2"/>
                  </a:lnTo>
                  <a:lnTo>
                    <a:pt x="41" y="0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6" name="Freeform 493"/>
            <p:cNvSpPr>
              <a:spLocks/>
            </p:cNvSpPr>
            <p:nvPr>
              <p:custDataLst>
                <p:tags r:id="rId331"/>
              </p:custDataLst>
            </p:nvPr>
          </p:nvSpPr>
          <p:spPr bwMode="auto">
            <a:xfrm>
              <a:off x="7647619" y="1895914"/>
              <a:ext cx="93663" cy="60325"/>
            </a:xfrm>
            <a:custGeom>
              <a:avLst/>
              <a:gdLst>
                <a:gd name="T0" fmla="*/ 2147483647 w 213"/>
                <a:gd name="T1" fmla="*/ 0 h 62"/>
                <a:gd name="T2" fmla="*/ 2147483647 w 213"/>
                <a:gd name="T3" fmla="*/ 0 h 62"/>
                <a:gd name="T4" fmla="*/ 2147483647 w 213"/>
                <a:gd name="T5" fmla="*/ 2147483647 h 62"/>
                <a:gd name="T6" fmla="*/ 2147483647 w 213"/>
                <a:gd name="T7" fmla="*/ 2147483647 h 62"/>
                <a:gd name="T8" fmla="*/ 2147483647 w 213"/>
                <a:gd name="T9" fmla="*/ 2147483647 h 62"/>
                <a:gd name="T10" fmla="*/ 2147483647 w 213"/>
                <a:gd name="T11" fmla="*/ 2147483647 h 62"/>
                <a:gd name="T12" fmla="*/ 2147483647 w 213"/>
                <a:gd name="T13" fmla="*/ 2147483647 h 62"/>
                <a:gd name="T14" fmla="*/ 2147483647 w 213"/>
                <a:gd name="T15" fmla="*/ 2147483647 h 62"/>
                <a:gd name="T16" fmla="*/ 2147483647 w 213"/>
                <a:gd name="T17" fmla="*/ 2147483647 h 62"/>
                <a:gd name="T18" fmla="*/ 2147483647 w 213"/>
                <a:gd name="T19" fmla="*/ 2147483647 h 62"/>
                <a:gd name="T20" fmla="*/ 2147483647 w 213"/>
                <a:gd name="T21" fmla="*/ 2147483647 h 62"/>
                <a:gd name="T22" fmla="*/ 2147483647 w 213"/>
                <a:gd name="T23" fmla="*/ 2147483647 h 62"/>
                <a:gd name="T24" fmla="*/ 2147483647 w 213"/>
                <a:gd name="T25" fmla="*/ 2147483647 h 62"/>
                <a:gd name="T26" fmla="*/ 2147483647 w 213"/>
                <a:gd name="T27" fmla="*/ 2147483647 h 62"/>
                <a:gd name="T28" fmla="*/ 2147483647 w 213"/>
                <a:gd name="T29" fmla="*/ 2147483647 h 62"/>
                <a:gd name="T30" fmla="*/ 2147483647 w 213"/>
                <a:gd name="T31" fmla="*/ 2147483647 h 62"/>
                <a:gd name="T32" fmla="*/ 2147483647 w 213"/>
                <a:gd name="T33" fmla="*/ 2147483647 h 62"/>
                <a:gd name="T34" fmla="*/ 2147483647 w 213"/>
                <a:gd name="T35" fmla="*/ 2147483647 h 62"/>
                <a:gd name="T36" fmla="*/ 2147483647 w 213"/>
                <a:gd name="T37" fmla="*/ 2147483647 h 62"/>
                <a:gd name="T38" fmla="*/ 2147483647 w 213"/>
                <a:gd name="T39" fmla="*/ 2147483647 h 62"/>
                <a:gd name="T40" fmla="*/ 2147483647 w 213"/>
                <a:gd name="T41" fmla="*/ 2147483647 h 62"/>
                <a:gd name="T42" fmla="*/ 2147483647 w 213"/>
                <a:gd name="T43" fmla="*/ 2147483647 h 62"/>
                <a:gd name="T44" fmla="*/ 2147483647 w 213"/>
                <a:gd name="T45" fmla="*/ 2147483647 h 62"/>
                <a:gd name="T46" fmla="*/ 2147483647 w 213"/>
                <a:gd name="T47" fmla="*/ 2147483647 h 62"/>
                <a:gd name="T48" fmla="*/ 2147483647 w 213"/>
                <a:gd name="T49" fmla="*/ 2147483647 h 62"/>
                <a:gd name="T50" fmla="*/ 2147483647 w 213"/>
                <a:gd name="T51" fmla="*/ 2147483647 h 62"/>
                <a:gd name="T52" fmla="*/ 0 w 213"/>
                <a:gd name="T53" fmla="*/ 2147483647 h 62"/>
                <a:gd name="T54" fmla="*/ 2147483647 w 213"/>
                <a:gd name="T55" fmla="*/ 2147483647 h 62"/>
                <a:gd name="T56" fmla="*/ 2147483647 w 213"/>
                <a:gd name="T57" fmla="*/ 2147483647 h 62"/>
                <a:gd name="T58" fmla="*/ 2147483647 w 213"/>
                <a:gd name="T59" fmla="*/ 2147483647 h 62"/>
                <a:gd name="T60" fmla="*/ 2147483647 w 213"/>
                <a:gd name="T61" fmla="*/ 2147483647 h 62"/>
                <a:gd name="T62" fmla="*/ 2147483647 w 213"/>
                <a:gd name="T63" fmla="*/ 2147483647 h 62"/>
                <a:gd name="T64" fmla="*/ 2147483647 w 213"/>
                <a:gd name="T65" fmla="*/ 2147483647 h 62"/>
                <a:gd name="T66" fmla="*/ 2147483647 w 213"/>
                <a:gd name="T67" fmla="*/ 2147483647 h 62"/>
                <a:gd name="T68" fmla="*/ 2147483647 w 213"/>
                <a:gd name="T69" fmla="*/ 2147483647 h 62"/>
                <a:gd name="T70" fmla="*/ 2147483647 w 213"/>
                <a:gd name="T71" fmla="*/ 2147483647 h 62"/>
                <a:gd name="T72" fmla="*/ 2147483647 w 213"/>
                <a:gd name="T73" fmla="*/ 2147483647 h 62"/>
                <a:gd name="T74" fmla="*/ 2147483647 w 213"/>
                <a:gd name="T75" fmla="*/ 0 h 62"/>
                <a:gd name="T76" fmla="*/ 2147483647 w 213"/>
                <a:gd name="T77" fmla="*/ 0 h 6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213" h="62">
                  <a:moveTo>
                    <a:pt x="61" y="0"/>
                  </a:moveTo>
                  <a:lnTo>
                    <a:pt x="83" y="0"/>
                  </a:lnTo>
                  <a:lnTo>
                    <a:pt x="105" y="1"/>
                  </a:lnTo>
                  <a:lnTo>
                    <a:pt x="127" y="3"/>
                  </a:lnTo>
                  <a:lnTo>
                    <a:pt x="146" y="7"/>
                  </a:lnTo>
                  <a:lnTo>
                    <a:pt x="166" y="11"/>
                  </a:lnTo>
                  <a:lnTo>
                    <a:pt x="184" y="16"/>
                  </a:lnTo>
                  <a:lnTo>
                    <a:pt x="191" y="19"/>
                  </a:lnTo>
                  <a:lnTo>
                    <a:pt x="199" y="23"/>
                  </a:lnTo>
                  <a:lnTo>
                    <a:pt x="207" y="27"/>
                  </a:lnTo>
                  <a:lnTo>
                    <a:pt x="213" y="31"/>
                  </a:lnTo>
                  <a:lnTo>
                    <a:pt x="211" y="35"/>
                  </a:lnTo>
                  <a:lnTo>
                    <a:pt x="207" y="38"/>
                  </a:lnTo>
                  <a:lnTo>
                    <a:pt x="201" y="41"/>
                  </a:lnTo>
                  <a:lnTo>
                    <a:pt x="195" y="44"/>
                  </a:lnTo>
                  <a:lnTo>
                    <a:pt x="177" y="49"/>
                  </a:lnTo>
                  <a:lnTo>
                    <a:pt x="156" y="53"/>
                  </a:lnTo>
                  <a:lnTo>
                    <a:pt x="135" y="57"/>
                  </a:lnTo>
                  <a:lnTo>
                    <a:pt x="114" y="59"/>
                  </a:lnTo>
                  <a:lnTo>
                    <a:pt x="95" y="62"/>
                  </a:lnTo>
                  <a:lnTo>
                    <a:pt x="80" y="62"/>
                  </a:lnTo>
                  <a:lnTo>
                    <a:pt x="62" y="62"/>
                  </a:lnTo>
                  <a:lnTo>
                    <a:pt x="43" y="59"/>
                  </a:lnTo>
                  <a:lnTo>
                    <a:pt x="33" y="59"/>
                  </a:lnTo>
                  <a:lnTo>
                    <a:pt x="23" y="59"/>
                  </a:lnTo>
                  <a:lnTo>
                    <a:pt x="12" y="60"/>
                  </a:lnTo>
                  <a:lnTo>
                    <a:pt x="0" y="62"/>
                  </a:lnTo>
                  <a:lnTo>
                    <a:pt x="6" y="50"/>
                  </a:lnTo>
                  <a:lnTo>
                    <a:pt x="11" y="39"/>
                  </a:lnTo>
                  <a:lnTo>
                    <a:pt x="17" y="29"/>
                  </a:lnTo>
                  <a:lnTo>
                    <a:pt x="23" y="20"/>
                  </a:lnTo>
                  <a:lnTo>
                    <a:pt x="27" y="16"/>
                  </a:lnTo>
                  <a:lnTo>
                    <a:pt x="30" y="12"/>
                  </a:lnTo>
                  <a:lnTo>
                    <a:pt x="34" y="9"/>
                  </a:lnTo>
                  <a:lnTo>
                    <a:pt x="39" y="6"/>
                  </a:lnTo>
                  <a:lnTo>
                    <a:pt x="43" y="3"/>
                  </a:lnTo>
                  <a:lnTo>
                    <a:pt x="49" y="1"/>
                  </a:lnTo>
                  <a:lnTo>
                    <a:pt x="54" y="0"/>
                  </a:lnTo>
                  <a:lnTo>
                    <a:pt x="61" y="0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7" name="Freeform 494"/>
            <p:cNvSpPr>
              <a:spLocks/>
            </p:cNvSpPr>
            <p:nvPr>
              <p:custDataLst>
                <p:tags r:id="rId332"/>
              </p:custDataLst>
            </p:nvPr>
          </p:nvSpPr>
          <p:spPr bwMode="auto">
            <a:xfrm>
              <a:off x="7707944" y="1921314"/>
              <a:ext cx="103188" cy="60325"/>
            </a:xfrm>
            <a:custGeom>
              <a:avLst/>
              <a:gdLst>
                <a:gd name="T0" fmla="*/ 2147483647 w 239"/>
                <a:gd name="T1" fmla="*/ 0 h 56"/>
                <a:gd name="T2" fmla="*/ 2147483647 w 239"/>
                <a:gd name="T3" fmla="*/ 2147483647 h 56"/>
                <a:gd name="T4" fmla="*/ 2147483647 w 239"/>
                <a:gd name="T5" fmla="*/ 2147483647 h 56"/>
                <a:gd name="T6" fmla="*/ 2147483647 w 239"/>
                <a:gd name="T7" fmla="*/ 2147483647 h 56"/>
                <a:gd name="T8" fmla="*/ 2147483647 w 239"/>
                <a:gd name="T9" fmla="*/ 2147483647 h 56"/>
                <a:gd name="T10" fmla="*/ 2147483647 w 239"/>
                <a:gd name="T11" fmla="*/ 2147483647 h 56"/>
                <a:gd name="T12" fmla="*/ 2147483647 w 239"/>
                <a:gd name="T13" fmla="*/ 2147483647 h 56"/>
                <a:gd name="T14" fmla="*/ 2147483647 w 239"/>
                <a:gd name="T15" fmla="*/ 2147483647 h 56"/>
                <a:gd name="T16" fmla="*/ 0 w 239"/>
                <a:gd name="T17" fmla="*/ 2147483647 h 56"/>
                <a:gd name="T18" fmla="*/ 2147483647 w 239"/>
                <a:gd name="T19" fmla="*/ 2147483647 h 56"/>
                <a:gd name="T20" fmla="*/ 2147483647 w 239"/>
                <a:gd name="T21" fmla="*/ 2147483647 h 56"/>
                <a:gd name="T22" fmla="*/ 2147483647 w 239"/>
                <a:gd name="T23" fmla="*/ 2147483647 h 56"/>
                <a:gd name="T24" fmla="*/ 2147483647 w 239"/>
                <a:gd name="T25" fmla="*/ 2147483647 h 56"/>
                <a:gd name="T26" fmla="*/ 2147483647 w 239"/>
                <a:gd name="T27" fmla="*/ 2147483647 h 56"/>
                <a:gd name="T28" fmla="*/ 2147483647 w 239"/>
                <a:gd name="T29" fmla="*/ 2147483647 h 56"/>
                <a:gd name="T30" fmla="*/ 2147483647 w 239"/>
                <a:gd name="T31" fmla="*/ 2147483647 h 56"/>
                <a:gd name="T32" fmla="*/ 2147483647 w 239"/>
                <a:gd name="T33" fmla="*/ 2147483647 h 56"/>
                <a:gd name="T34" fmla="*/ 2147483647 w 239"/>
                <a:gd name="T35" fmla="*/ 2147483647 h 56"/>
                <a:gd name="T36" fmla="*/ 2147483647 w 239"/>
                <a:gd name="T37" fmla="*/ 2147483647 h 56"/>
                <a:gd name="T38" fmla="*/ 2147483647 w 239"/>
                <a:gd name="T39" fmla="*/ 2147483647 h 56"/>
                <a:gd name="T40" fmla="*/ 2147483647 w 239"/>
                <a:gd name="T41" fmla="*/ 2147483647 h 56"/>
                <a:gd name="T42" fmla="*/ 2147483647 w 239"/>
                <a:gd name="T43" fmla="*/ 2147483647 h 56"/>
                <a:gd name="T44" fmla="*/ 2147483647 w 239"/>
                <a:gd name="T45" fmla="*/ 2147483647 h 56"/>
                <a:gd name="T46" fmla="*/ 2147483647 w 239"/>
                <a:gd name="T47" fmla="*/ 2147483647 h 56"/>
                <a:gd name="T48" fmla="*/ 2147483647 w 239"/>
                <a:gd name="T49" fmla="*/ 2147483647 h 56"/>
                <a:gd name="T50" fmla="*/ 2147483647 w 239"/>
                <a:gd name="T51" fmla="*/ 2147483647 h 56"/>
                <a:gd name="T52" fmla="*/ 2147483647 w 239"/>
                <a:gd name="T53" fmla="*/ 2147483647 h 56"/>
                <a:gd name="T54" fmla="*/ 2147483647 w 239"/>
                <a:gd name="T55" fmla="*/ 2147483647 h 56"/>
                <a:gd name="T56" fmla="*/ 2147483647 w 239"/>
                <a:gd name="T57" fmla="*/ 2147483647 h 56"/>
                <a:gd name="T58" fmla="*/ 2147483647 w 239"/>
                <a:gd name="T59" fmla="*/ 2147483647 h 56"/>
                <a:gd name="T60" fmla="*/ 2147483647 w 239"/>
                <a:gd name="T61" fmla="*/ 2147483647 h 56"/>
                <a:gd name="T62" fmla="*/ 2147483647 w 239"/>
                <a:gd name="T63" fmla="*/ 2147483647 h 56"/>
                <a:gd name="T64" fmla="*/ 2147483647 w 239"/>
                <a:gd name="T65" fmla="*/ 2147483647 h 56"/>
                <a:gd name="T66" fmla="*/ 2147483647 w 239"/>
                <a:gd name="T67" fmla="*/ 2147483647 h 56"/>
                <a:gd name="T68" fmla="*/ 2147483647 w 239"/>
                <a:gd name="T69" fmla="*/ 2147483647 h 56"/>
                <a:gd name="T70" fmla="*/ 2147483647 w 239"/>
                <a:gd name="T71" fmla="*/ 2147483647 h 56"/>
                <a:gd name="T72" fmla="*/ 2147483647 w 239"/>
                <a:gd name="T73" fmla="*/ 2147483647 h 56"/>
                <a:gd name="T74" fmla="*/ 2147483647 w 239"/>
                <a:gd name="T75" fmla="*/ 2147483647 h 56"/>
                <a:gd name="T76" fmla="*/ 2147483647 w 239"/>
                <a:gd name="T77" fmla="*/ 2147483647 h 56"/>
                <a:gd name="T78" fmla="*/ 2147483647 w 239"/>
                <a:gd name="T79" fmla="*/ 2147483647 h 56"/>
                <a:gd name="T80" fmla="*/ 2147483647 w 239"/>
                <a:gd name="T81" fmla="*/ 2147483647 h 56"/>
                <a:gd name="T82" fmla="*/ 2147483647 w 239"/>
                <a:gd name="T83" fmla="*/ 2147483647 h 56"/>
                <a:gd name="T84" fmla="*/ 2147483647 w 239"/>
                <a:gd name="T85" fmla="*/ 2147483647 h 56"/>
                <a:gd name="T86" fmla="*/ 2147483647 w 239"/>
                <a:gd name="T87" fmla="*/ 0 h 56"/>
                <a:gd name="T88" fmla="*/ 2147483647 w 239"/>
                <a:gd name="T89" fmla="*/ 2147483647 h 56"/>
                <a:gd name="T90" fmla="*/ 2147483647 w 239"/>
                <a:gd name="T91" fmla="*/ 2147483647 h 56"/>
                <a:gd name="T92" fmla="*/ 2147483647 w 239"/>
                <a:gd name="T93" fmla="*/ 2147483647 h 56"/>
                <a:gd name="T94" fmla="*/ 2147483647 w 239"/>
                <a:gd name="T95" fmla="*/ 2147483647 h 56"/>
                <a:gd name="T96" fmla="*/ 2147483647 w 239"/>
                <a:gd name="T97" fmla="*/ 2147483647 h 56"/>
                <a:gd name="T98" fmla="*/ 2147483647 w 239"/>
                <a:gd name="T99" fmla="*/ 2147483647 h 56"/>
                <a:gd name="T100" fmla="*/ 2147483647 w 239"/>
                <a:gd name="T101" fmla="*/ 2147483647 h 56"/>
                <a:gd name="T102" fmla="*/ 2147483647 w 239"/>
                <a:gd name="T103" fmla="*/ 2147483647 h 56"/>
                <a:gd name="T104" fmla="*/ 2147483647 w 239"/>
                <a:gd name="T105" fmla="*/ 2147483647 h 56"/>
                <a:gd name="T106" fmla="*/ 2147483647 w 239"/>
                <a:gd name="T107" fmla="*/ 0 h 5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39" h="56">
                  <a:moveTo>
                    <a:pt x="41" y="0"/>
                  </a:moveTo>
                  <a:lnTo>
                    <a:pt x="30" y="3"/>
                  </a:lnTo>
                  <a:lnTo>
                    <a:pt x="23" y="5"/>
                  </a:lnTo>
                  <a:lnTo>
                    <a:pt x="19" y="7"/>
                  </a:lnTo>
                  <a:lnTo>
                    <a:pt x="15" y="9"/>
                  </a:lnTo>
                  <a:lnTo>
                    <a:pt x="13" y="13"/>
                  </a:lnTo>
                  <a:lnTo>
                    <a:pt x="10" y="15"/>
                  </a:lnTo>
                  <a:lnTo>
                    <a:pt x="7" y="17"/>
                  </a:lnTo>
                  <a:lnTo>
                    <a:pt x="0" y="19"/>
                  </a:lnTo>
                  <a:lnTo>
                    <a:pt x="2" y="24"/>
                  </a:lnTo>
                  <a:lnTo>
                    <a:pt x="5" y="27"/>
                  </a:lnTo>
                  <a:lnTo>
                    <a:pt x="7" y="30"/>
                  </a:lnTo>
                  <a:lnTo>
                    <a:pt x="10" y="33"/>
                  </a:lnTo>
                  <a:lnTo>
                    <a:pt x="17" y="36"/>
                  </a:lnTo>
                  <a:lnTo>
                    <a:pt x="24" y="38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153" y="38"/>
                  </a:lnTo>
                  <a:lnTo>
                    <a:pt x="155" y="41"/>
                  </a:lnTo>
                  <a:lnTo>
                    <a:pt x="156" y="44"/>
                  </a:lnTo>
                  <a:lnTo>
                    <a:pt x="159" y="46"/>
                  </a:lnTo>
                  <a:lnTo>
                    <a:pt x="162" y="48"/>
                  </a:lnTo>
                  <a:lnTo>
                    <a:pt x="167" y="51"/>
                  </a:lnTo>
                  <a:lnTo>
                    <a:pt x="174" y="54"/>
                  </a:lnTo>
                  <a:lnTo>
                    <a:pt x="188" y="56"/>
                  </a:lnTo>
                  <a:lnTo>
                    <a:pt x="200" y="56"/>
                  </a:lnTo>
                  <a:lnTo>
                    <a:pt x="204" y="55"/>
                  </a:lnTo>
                  <a:lnTo>
                    <a:pt x="210" y="54"/>
                  </a:lnTo>
                  <a:lnTo>
                    <a:pt x="214" y="52"/>
                  </a:lnTo>
                  <a:lnTo>
                    <a:pt x="220" y="49"/>
                  </a:lnTo>
                  <a:lnTo>
                    <a:pt x="230" y="43"/>
                  </a:lnTo>
                  <a:lnTo>
                    <a:pt x="239" y="38"/>
                  </a:lnTo>
                  <a:lnTo>
                    <a:pt x="232" y="37"/>
                  </a:lnTo>
                  <a:lnTo>
                    <a:pt x="225" y="36"/>
                  </a:lnTo>
                  <a:lnTo>
                    <a:pt x="219" y="34"/>
                  </a:lnTo>
                  <a:lnTo>
                    <a:pt x="213" y="32"/>
                  </a:lnTo>
                  <a:lnTo>
                    <a:pt x="201" y="26"/>
                  </a:lnTo>
                  <a:lnTo>
                    <a:pt x="190" y="19"/>
                  </a:lnTo>
                  <a:lnTo>
                    <a:pt x="178" y="13"/>
                  </a:lnTo>
                  <a:lnTo>
                    <a:pt x="167" y="6"/>
                  </a:lnTo>
                  <a:lnTo>
                    <a:pt x="160" y="4"/>
                  </a:lnTo>
                  <a:lnTo>
                    <a:pt x="154" y="2"/>
                  </a:lnTo>
                  <a:lnTo>
                    <a:pt x="147" y="1"/>
                  </a:lnTo>
                  <a:lnTo>
                    <a:pt x="140" y="0"/>
                  </a:lnTo>
                  <a:lnTo>
                    <a:pt x="134" y="1"/>
                  </a:lnTo>
                  <a:lnTo>
                    <a:pt x="127" y="4"/>
                  </a:lnTo>
                  <a:lnTo>
                    <a:pt x="124" y="6"/>
                  </a:lnTo>
                  <a:lnTo>
                    <a:pt x="122" y="8"/>
                  </a:lnTo>
                  <a:lnTo>
                    <a:pt x="121" y="10"/>
                  </a:lnTo>
                  <a:lnTo>
                    <a:pt x="120" y="13"/>
                  </a:lnTo>
                  <a:lnTo>
                    <a:pt x="100" y="8"/>
                  </a:lnTo>
                  <a:lnTo>
                    <a:pt x="80" y="4"/>
                  </a:lnTo>
                  <a:lnTo>
                    <a:pt x="61" y="1"/>
                  </a:lnTo>
                  <a:lnTo>
                    <a:pt x="41" y="0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8" name="Freeform 495"/>
            <p:cNvSpPr>
              <a:spLocks/>
            </p:cNvSpPr>
            <p:nvPr>
              <p:custDataLst>
                <p:tags r:id="rId333"/>
              </p:custDataLst>
            </p:nvPr>
          </p:nvSpPr>
          <p:spPr bwMode="auto">
            <a:xfrm>
              <a:off x="7825419" y="1935602"/>
              <a:ext cx="82550" cy="57150"/>
            </a:xfrm>
            <a:custGeom>
              <a:avLst/>
              <a:gdLst>
                <a:gd name="T0" fmla="*/ 2147483647 w 187"/>
                <a:gd name="T1" fmla="*/ 2147483647 h 80"/>
                <a:gd name="T2" fmla="*/ 2147483647 w 187"/>
                <a:gd name="T3" fmla="*/ 0 h 80"/>
                <a:gd name="T4" fmla="*/ 2147483647 w 187"/>
                <a:gd name="T5" fmla="*/ 2147483647 h 80"/>
                <a:gd name="T6" fmla="*/ 2147483647 w 187"/>
                <a:gd name="T7" fmla="*/ 2147483647 h 80"/>
                <a:gd name="T8" fmla="*/ 2147483647 w 187"/>
                <a:gd name="T9" fmla="*/ 2147483647 h 80"/>
                <a:gd name="T10" fmla="*/ 2147483647 w 187"/>
                <a:gd name="T11" fmla="*/ 2147483647 h 80"/>
                <a:gd name="T12" fmla="*/ 2147483647 w 187"/>
                <a:gd name="T13" fmla="*/ 2147483647 h 80"/>
                <a:gd name="T14" fmla="*/ 2147483647 w 187"/>
                <a:gd name="T15" fmla="*/ 2147483647 h 80"/>
                <a:gd name="T16" fmla="*/ 2147483647 w 187"/>
                <a:gd name="T17" fmla="*/ 2147483647 h 80"/>
                <a:gd name="T18" fmla="*/ 2147483647 w 187"/>
                <a:gd name="T19" fmla="*/ 2147483647 h 80"/>
                <a:gd name="T20" fmla="*/ 2147483647 w 187"/>
                <a:gd name="T21" fmla="*/ 2147483647 h 80"/>
                <a:gd name="T22" fmla="*/ 2147483647 w 187"/>
                <a:gd name="T23" fmla="*/ 2147483647 h 80"/>
                <a:gd name="T24" fmla="*/ 2147483647 w 187"/>
                <a:gd name="T25" fmla="*/ 2147483647 h 80"/>
                <a:gd name="T26" fmla="*/ 2147483647 w 187"/>
                <a:gd name="T27" fmla="*/ 2147483647 h 80"/>
                <a:gd name="T28" fmla="*/ 2147483647 w 187"/>
                <a:gd name="T29" fmla="*/ 2147483647 h 80"/>
                <a:gd name="T30" fmla="*/ 2147483647 w 187"/>
                <a:gd name="T31" fmla="*/ 2147483647 h 80"/>
                <a:gd name="T32" fmla="*/ 2147483647 w 187"/>
                <a:gd name="T33" fmla="*/ 2147483647 h 80"/>
                <a:gd name="T34" fmla="*/ 2147483647 w 187"/>
                <a:gd name="T35" fmla="*/ 2147483647 h 80"/>
                <a:gd name="T36" fmla="*/ 2147483647 w 187"/>
                <a:gd name="T37" fmla="*/ 2147483647 h 80"/>
                <a:gd name="T38" fmla="*/ 2147483647 w 187"/>
                <a:gd name="T39" fmla="*/ 2147483647 h 80"/>
                <a:gd name="T40" fmla="*/ 2147483647 w 187"/>
                <a:gd name="T41" fmla="*/ 2147483647 h 80"/>
                <a:gd name="T42" fmla="*/ 2147483647 w 187"/>
                <a:gd name="T43" fmla="*/ 2147483647 h 80"/>
                <a:gd name="T44" fmla="*/ 2147483647 w 187"/>
                <a:gd name="T45" fmla="*/ 2147483647 h 80"/>
                <a:gd name="T46" fmla="*/ 2147483647 w 187"/>
                <a:gd name="T47" fmla="*/ 2147483647 h 80"/>
                <a:gd name="T48" fmla="*/ 2147483647 w 187"/>
                <a:gd name="T49" fmla="*/ 2147483647 h 80"/>
                <a:gd name="T50" fmla="*/ 2147483647 w 187"/>
                <a:gd name="T51" fmla="*/ 2147483647 h 80"/>
                <a:gd name="T52" fmla="*/ 2147483647 w 187"/>
                <a:gd name="T53" fmla="*/ 2147483647 h 80"/>
                <a:gd name="T54" fmla="*/ 2147483647 w 187"/>
                <a:gd name="T55" fmla="*/ 2147483647 h 80"/>
                <a:gd name="T56" fmla="*/ 2147483647 w 187"/>
                <a:gd name="T57" fmla="*/ 2147483647 h 80"/>
                <a:gd name="T58" fmla="*/ 2147483647 w 187"/>
                <a:gd name="T59" fmla="*/ 2147483647 h 80"/>
                <a:gd name="T60" fmla="*/ 2147483647 w 187"/>
                <a:gd name="T61" fmla="*/ 2147483647 h 80"/>
                <a:gd name="T62" fmla="*/ 2147483647 w 187"/>
                <a:gd name="T63" fmla="*/ 2147483647 h 80"/>
                <a:gd name="T64" fmla="*/ 2147483647 w 187"/>
                <a:gd name="T65" fmla="*/ 2147483647 h 80"/>
                <a:gd name="T66" fmla="*/ 0 w 187"/>
                <a:gd name="T67" fmla="*/ 2147483647 h 80"/>
                <a:gd name="T68" fmla="*/ 2147483647 w 187"/>
                <a:gd name="T69" fmla="*/ 2147483647 h 80"/>
                <a:gd name="T70" fmla="*/ 2147483647 w 187"/>
                <a:gd name="T71" fmla="*/ 2147483647 h 80"/>
                <a:gd name="T72" fmla="*/ 2147483647 w 187"/>
                <a:gd name="T73" fmla="*/ 2147483647 h 80"/>
                <a:gd name="T74" fmla="*/ 2147483647 w 187"/>
                <a:gd name="T75" fmla="*/ 2147483647 h 80"/>
                <a:gd name="T76" fmla="*/ 2147483647 w 187"/>
                <a:gd name="T77" fmla="*/ 2147483647 h 80"/>
                <a:gd name="T78" fmla="*/ 2147483647 w 187"/>
                <a:gd name="T79" fmla="*/ 2147483647 h 80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87" h="80">
                  <a:moveTo>
                    <a:pt x="14" y="19"/>
                  </a:moveTo>
                  <a:lnTo>
                    <a:pt x="41" y="0"/>
                  </a:lnTo>
                  <a:lnTo>
                    <a:pt x="44" y="3"/>
                  </a:lnTo>
                  <a:lnTo>
                    <a:pt x="50" y="6"/>
                  </a:lnTo>
                  <a:lnTo>
                    <a:pt x="58" y="9"/>
                  </a:lnTo>
                  <a:lnTo>
                    <a:pt x="67" y="12"/>
                  </a:lnTo>
                  <a:lnTo>
                    <a:pt x="89" y="19"/>
                  </a:lnTo>
                  <a:lnTo>
                    <a:pt x="114" y="26"/>
                  </a:lnTo>
                  <a:lnTo>
                    <a:pt x="139" y="33"/>
                  </a:lnTo>
                  <a:lnTo>
                    <a:pt x="161" y="38"/>
                  </a:lnTo>
                  <a:lnTo>
                    <a:pt x="177" y="42"/>
                  </a:lnTo>
                  <a:lnTo>
                    <a:pt x="187" y="43"/>
                  </a:lnTo>
                  <a:lnTo>
                    <a:pt x="187" y="56"/>
                  </a:lnTo>
                  <a:lnTo>
                    <a:pt x="187" y="68"/>
                  </a:lnTo>
                  <a:lnTo>
                    <a:pt x="170" y="70"/>
                  </a:lnTo>
                  <a:lnTo>
                    <a:pt x="151" y="71"/>
                  </a:lnTo>
                  <a:lnTo>
                    <a:pt x="133" y="71"/>
                  </a:lnTo>
                  <a:lnTo>
                    <a:pt x="116" y="70"/>
                  </a:lnTo>
                  <a:lnTo>
                    <a:pt x="85" y="69"/>
                  </a:lnTo>
                  <a:lnTo>
                    <a:pt x="61" y="68"/>
                  </a:lnTo>
                  <a:lnTo>
                    <a:pt x="55" y="69"/>
                  </a:lnTo>
                  <a:lnTo>
                    <a:pt x="51" y="70"/>
                  </a:lnTo>
                  <a:lnTo>
                    <a:pt x="45" y="72"/>
                  </a:lnTo>
                  <a:lnTo>
                    <a:pt x="41" y="74"/>
                  </a:lnTo>
                  <a:lnTo>
                    <a:pt x="33" y="78"/>
                  </a:lnTo>
                  <a:lnTo>
                    <a:pt x="28" y="80"/>
                  </a:lnTo>
                  <a:lnTo>
                    <a:pt x="22" y="79"/>
                  </a:lnTo>
                  <a:lnTo>
                    <a:pt x="18" y="76"/>
                  </a:lnTo>
                  <a:lnTo>
                    <a:pt x="14" y="72"/>
                  </a:lnTo>
                  <a:lnTo>
                    <a:pt x="9" y="67"/>
                  </a:lnTo>
                  <a:lnTo>
                    <a:pt x="6" y="62"/>
                  </a:lnTo>
                  <a:lnTo>
                    <a:pt x="3" y="57"/>
                  </a:lnTo>
                  <a:lnTo>
                    <a:pt x="2" y="53"/>
                  </a:lnTo>
                  <a:lnTo>
                    <a:pt x="0" y="50"/>
                  </a:lnTo>
                  <a:lnTo>
                    <a:pt x="2" y="44"/>
                  </a:lnTo>
                  <a:lnTo>
                    <a:pt x="3" y="40"/>
                  </a:lnTo>
                  <a:lnTo>
                    <a:pt x="5" y="36"/>
                  </a:lnTo>
                  <a:lnTo>
                    <a:pt x="7" y="31"/>
                  </a:lnTo>
                  <a:lnTo>
                    <a:pt x="13" y="24"/>
                  </a:lnTo>
                  <a:lnTo>
                    <a:pt x="14" y="19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49" name="Freeform 496"/>
            <p:cNvSpPr>
              <a:spLocks/>
            </p:cNvSpPr>
            <p:nvPr>
              <p:custDataLst>
                <p:tags r:id="rId334"/>
              </p:custDataLst>
            </p:nvPr>
          </p:nvSpPr>
          <p:spPr bwMode="auto">
            <a:xfrm>
              <a:off x="8352469" y="2061014"/>
              <a:ext cx="79375" cy="58738"/>
            </a:xfrm>
            <a:custGeom>
              <a:avLst/>
              <a:gdLst>
                <a:gd name="T0" fmla="*/ 2147483647 w 183"/>
                <a:gd name="T1" fmla="*/ 0 h 73"/>
                <a:gd name="T2" fmla="*/ 2147483647 w 183"/>
                <a:gd name="T3" fmla="*/ 0 h 73"/>
                <a:gd name="T4" fmla="*/ 2147483647 w 183"/>
                <a:gd name="T5" fmla="*/ 2147483647 h 73"/>
                <a:gd name="T6" fmla="*/ 2147483647 w 183"/>
                <a:gd name="T7" fmla="*/ 2147483647 h 73"/>
                <a:gd name="T8" fmla="*/ 2147483647 w 183"/>
                <a:gd name="T9" fmla="*/ 2147483647 h 73"/>
                <a:gd name="T10" fmla="*/ 2147483647 w 183"/>
                <a:gd name="T11" fmla="*/ 2147483647 h 73"/>
                <a:gd name="T12" fmla="*/ 2147483647 w 183"/>
                <a:gd name="T13" fmla="*/ 2147483647 h 73"/>
                <a:gd name="T14" fmla="*/ 2147483647 w 183"/>
                <a:gd name="T15" fmla="*/ 2147483647 h 73"/>
                <a:gd name="T16" fmla="*/ 2147483647 w 183"/>
                <a:gd name="T17" fmla="*/ 2147483647 h 73"/>
                <a:gd name="T18" fmla="*/ 2147483647 w 183"/>
                <a:gd name="T19" fmla="*/ 2147483647 h 73"/>
                <a:gd name="T20" fmla="*/ 2147483647 w 183"/>
                <a:gd name="T21" fmla="*/ 2147483647 h 73"/>
                <a:gd name="T22" fmla="*/ 2147483647 w 183"/>
                <a:gd name="T23" fmla="*/ 2147483647 h 73"/>
                <a:gd name="T24" fmla="*/ 2147483647 w 183"/>
                <a:gd name="T25" fmla="*/ 2147483647 h 73"/>
                <a:gd name="T26" fmla="*/ 2147483647 w 183"/>
                <a:gd name="T27" fmla="*/ 2147483647 h 73"/>
                <a:gd name="T28" fmla="*/ 2147483647 w 183"/>
                <a:gd name="T29" fmla="*/ 2147483647 h 73"/>
                <a:gd name="T30" fmla="*/ 2147483647 w 183"/>
                <a:gd name="T31" fmla="*/ 2147483647 h 73"/>
                <a:gd name="T32" fmla="*/ 2147483647 w 183"/>
                <a:gd name="T33" fmla="*/ 2147483647 h 73"/>
                <a:gd name="T34" fmla="*/ 2147483647 w 183"/>
                <a:gd name="T35" fmla="*/ 2147483647 h 73"/>
                <a:gd name="T36" fmla="*/ 2147483647 w 183"/>
                <a:gd name="T37" fmla="*/ 2147483647 h 73"/>
                <a:gd name="T38" fmla="*/ 2147483647 w 183"/>
                <a:gd name="T39" fmla="*/ 2147483647 h 73"/>
                <a:gd name="T40" fmla="*/ 2147483647 w 183"/>
                <a:gd name="T41" fmla="*/ 2147483647 h 73"/>
                <a:gd name="T42" fmla="*/ 2147483647 w 183"/>
                <a:gd name="T43" fmla="*/ 2147483647 h 73"/>
                <a:gd name="T44" fmla="*/ 2147483647 w 183"/>
                <a:gd name="T45" fmla="*/ 2147483647 h 73"/>
                <a:gd name="T46" fmla="*/ 2147483647 w 183"/>
                <a:gd name="T47" fmla="*/ 2147483647 h 73"/>
                <a:gd name="T48" fmla="*/ 2147483647 w 183"/>
                <a:gd name="T49" fmla="*/ 2147483647 h 73"/>
                <a:gd name="T50" fmla="*/ 0 w 183"/>
                <a:gd name="T51" fmla="*/ 2147483647 h 73"/>
                <a:gd name="T52" fmla="*/ 2147483647 w 183"/>
                <a:gd name="T53" fmla="*/ 2147483647 h 73"/>
                <a:gd name="T54" fmla="*/ 2147483647 w 183"/>
                <a:gd name="T55" fmla="*/ 2147483647 h 73"/>
                <a:gd name="T56" fmla="*/ 2147483647 w 183"/>
                <a:gd name="T57" fmla="*/ 2147483647 h 73"/>
                <a:gd name="T58" fmla="*/ 2147483647 w 183"/>
                <a:gd name="T59" fmla="*/ 2147483647 h 73"/>
                <a:gd name="T60" fmla="*/ 2147483647 w 183"/>
                <a:gd name="T61" fmla="*/ 2147483647 h 73"/>
                <a:gd name="T62" fmla="*/ 2147483647 w 183"/>
                <a:gd name="T63" fmla="*/ 0 h 73"/>
                <a:gd name="T64" fmla="*/ 2147483647 w 183"/>
                <a:gd name="T65" fmla="*/ 0 h 73"/>
                <a:gd name="T66" fmla="*/ 2147483647 w 183"/>
                <a:gd name="T67" fmla="*/ 0 h 7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83" h="73">
                  <a:moveTo>
                    <a:pt x="50" y="0"/>
                  </a:moveTo>
                  <a:lnTo>
                    <a:pt x="63" y="0"/>
                  </a:lnTo>
                  <a:lnTo>
                    <a:pt x="75" y="1"/>
                  </a:lnTo>
                  <a:lnTo>
                    <a:pt x="86" y="4"/>
                  </a:lnTo>
                  <a:lnTo>
                    <a:pt x="97" y="7"/>
                  </a:lnTo>
                  <a:lnTo>
                    <a:pt x="106" y="10"/>
                  </a:lnTo>
                  <a:lnTo>
                    <a:pt x="116" y="15"/>
                  </a:lnTo>
                  <a:lnTo>
                    <a:pt x="124" y="19"/>
                  </a:lnTo>
                  <a:lnTo>
                    <a:pt x="131" y="25"/>
                  </a:lnTo>
                  <a:lnTo>
                    <a:pt x="159" y="49"/>
                  </a:lnTo>
                  <a:lnTo>
                    <a:pt x="183" y="73"/>
                  </a:lnTo>
                  <a:lnTo>
                    <a:pt x="137" y="73"/>
                  </a:lnTo>
                  <a:lnTo>
                    <a:pt x="128" y="72"/>
                  </a:lnTo>
                  <a:lnTo>
                    <a:pt x="117" y="70"/>
                  </a:lnTo>
                  <a:lnTo>
                    <a:pt x="104" y="66"/>
                  </a:lnTo>
                  <a:lnTo>
                    <a:pt x="90" y="62"/>
                  </a:lnTo>
                  <a:lnTo>
                    <a:pt x="73" y="56"/>
                  </a:lnTo>
                  <a:lnTo>
                    <a:pt x="58" y="50"/>
                  </a:lnTo>
                  <a:lnTo>
                    <a:pt x="42" y="44"/>
                  </a:lnTo>
                  <a:lnTo>
                    <a:pt x="28" y="37"/>
                  </a:lnTo>
                  <a:lnTo>
                    <a:pt x="16" y="30"/>
                  </a:lnTo>
                  <a:lnTo>
                    <a:pt x="7" y="23"/>
                  </a:lnTo>
                  <a:lnTo>
                    <a:pt x="4" y="19"/>
                  </a:lnTo>
                  <a:lnTo>
                    <a:pt x="2" y="16"/>
                  </a:lnTo>
                  <a:lnTo>
                    <a:pt x="1" y="14"/>
                  </a:lnTo>
                  <a:lnTo>
                    <a:pt x="0" y="11"/>
                  </a:lnTo>
                  <a:lnTo>
                    <a:pt x="1" y="8"/>
                  </a:lnTo>
                  <a:lnTo>
                    <a:pt x="3" y="6"/>
                  </a:lnTo>
                  <a:lnTo>
                    <a:pt x="7" y="4"/>
                  </a:lnTo>
                  <a:lnTo>
                    <a:pt x="13" y="3"/>
                  </a:lnTo>
                  <a:lnTo>
                    <a:pt x="19" y="1"/>
                  </a:lnTo>
                  <a:lnTo>
                    <a:pt x="28" y="0"/>
                  </a:lnTo>
                  <a:lnTo>
                    <a:pt x="38" y="0"/>
                  </a:lnTo>
                  <a:lnTo>
                    <a:pt x="50" y="0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50" name="Freeform 497"/>
            <p:cNvSpPr>
              <a:spLocks/>
            </p:cNvSpPr>
            <p:nvPr>
              <p:custDataLst>
                <p:tags r:id="rId335"/>
              </p:custDataLst>
            </p:nvPr>
          </p:nvSpPr>
          <p:spPr bwMode="auto">
            <a:xfrm>
              <a:off x="8419144" y="2078477"/>
              <a:ext cx="33338" cy="57150"/>
            </a:xfrm>
            <a:custGeom>
              <a:avLst/>
              <a:gdLst>
                <a:gd name="T0" fmla="*/ 0 w 79"/>
                <a:gd name="T1" fmla="*/ 2147483647 h 42"/>
                <a:gd name="T2" fmla="*/ 2147483647 w 79"/>
                <a:gd name="T3" fmla="*/ 2147483647 h 42"/>
                <a:gd name="T4" fmla="*/ 2147483647 w 79"/>
                <a:gd name="T5" fmla="*/ 2147483647 h 42"/>
                <a:gd name="T6" fmla="*/ 2147483647 w 79"/>
                <a:gd name="T7" fmla="*/ 0 h 42"/>
                <a:gd name="T8" fmla="*/ 2147483647 w 79"/>
                <a:gd name="T9" fmla="*/ 0 h 42"/>
                <a:gd name="T10" fmla="*/ 2147483647 w 79"/>
                <a:gd name="T11" fmla="*/ 2147483647 h 42"/>
                <a:gd name="T12" fmla="*/ 2147483647 w 79"/>
                <a:gd name="T13" fmla="*/ 2147483647 h 42"/>
                <a:gd name="T14" fmla="*/ 2147483647 w 79"/>
                <a:gd name="T15" fmla="*/ 2147483647 h 42"/>
                <a:gd name="T16" fmla="*/ 2147483647 w 79"/>
                <a:gd name="T17" fmla="*/ 2147483647 h 42"/>
                <a:gd name="T18" fmla="*/ 2147483647 w 79"/>
                <a:gd name="T19" fmla="*/ 2147483647 h 42"/>
                <a:gd name="T20" fmla="*/ 2147483647 w 79"/>
                <a:gd name="T21" fmla="*/ 2147483647 h 42"/>
                <a:gd name="T22" fmla="*/ 2147483647 w 79"/>
                <a:gd name="T23" fmla="*/ 2147483647 h 42"/>
                <a:gd name="T24" fmla="*/ 2147483647 w 79"/>
                <a:gd name="T25" fmla="*/ 2147483647 h 42"/>
                <a:gd name="T26" fmla="*/ 2147483647 w 79"/>
                <a:gd name="T27" fmla="*/ 2147483647 h 42"/>
                <a:gd name="T28" fmla="*/ 2147483647 w 79"/>
                <a:gd name="T29" fmla="*/ 2147483647 h 42"/>
                <a:gd name="T30" fmla="*/ 2147483647 w 79"/>
                <a:gd name="T31" fmla="*/ 2147483647 h 42"/>
                <a:gd name="T32" fmla="*/ 2147483647 w 79"/>
                <a:gd name="T33" fmla="*/ 2147483647 h 42"/>
                <a:gd name="T34" fmla="*/ 2147483647 w 79"/>
                <a:gd name="T35" fmla="*/ 2147483647 h 42"/>
                <a:gd name="T36" fmla="*/ 2147483647 w 79"/>
                <a:gd name="T37" fmla="*/ 2147483647 h 42"/>
                <a:gd name="T38" fmla="*/ 2147483647 w 79"/>
                <a:gd name="T39" fmla="*/ 2147483647 h 42"/>
                <a:gd name="T40" fmla="*/ 2147483647 w 79"/>
                <a:gd name="T41" fmla="*/ 2147483647 h 42"/>
                <a:gd name="T42" fmla="*/ 2147483647 w 79"/>
                <a:gd name="T43" fmla="*/ 2147483647 h 42"/>
                <a:gd name="T44" fmla="*/ 2147483647 w 79"/>
                <a:gd name="T45" fmla="*/ 2147483647 h 42"/>
                <a:gd name="T46" fmla="*/ 0 w 79"/>
                <a:gd name="T47" fmla="*/ 2147483647 h 42"/>
                <a:gd name="T48" fmla="*/ 0 w 79"/>
                <a:gd name="T49" fmla="*/ 2147483647 h 4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79" h="42">
                  <a:moveTo>
                    <a:pt x="0" y="6"/>
                  </a:moveTo>
                  <a:lnTo>
                    <a:pt x="23" y="2"/>
                  </a:lnTo>
                  <a:lnTo>
                    <a:pt x="41" y="1"/>
                  </a:lnTo>
                  <a:lnTo>
                    <a:pt x="60" y="0"/>
                  </a:lnTo>
                  <a:lnTo>
                    <a:pt x="79" y="0"/>
                  </a:lnTo>
                  <a:lnTo>
                    <a:pt x="79" y="9"/>
                  </a:lnTo>
                  <a:lnTo>
                    <a:pt x="79" y="18"/>
                  </a:lnTo>
                  <a:lnTo>
                    <a:pt x="79" y="22"/>
                  </a:lnTo>
                  <a:lnTo>
                    <a:pt x="75" y="27"/>
                  </a:lnTo>
                  <a:lnTo>
                    <a:pt x="72" y="31"/>
                  </a:lnTo>
                  <a:lnTo>
                    <a:pt x="68" y="35"/>
                  </a:lnTo>
                  <a:lnTo>
                    <a:pt x="62" y="38"/>
                  </a:lnTo>
                  <a:lnTo>
                    <a:pt x="57" y="40"/>
                  </a:lnTo>
                  <a:lnTo>
                    <a:pt x="51" y="42"/>
                  </a:lnTo>
                  <a:lnTo>
                    <a:pt x="46" y="42"/>
                  </a:lnTo>
                  <a:lnTo>
                    <a:pt x="40" y="42"/>
                  </a:lnTo>
                  <a:lnTo>
                    <a:pt x="35" y="41"/>
                  </a:lnTo>
                  <a:lnTo>
                    <a:pt x="29" y="39"/>
                  </a:lnTo>
                  <a:lnTo>
                    <a:pt x="25" y="37"/>
                  </a:lnTo>
                  <a:lnTo>
                    <a:pt x="16" y="32"/>
                  </a:lnTo>
                  <a:lnTo>
                    <a:pt x="11" y="26"/>
                  </a:lnTo>
                  <a:lnTo>
                    <a:pt x="5" y="20"/>
                  </a:lnTo>
                  <a:lnTo>
                    <a:pt x="2" y="14"/>
                  </a:lnTo>
                  <a:lnTo>
                    <a:pt x="0" y="9"/>
                  </a:lnTo>
                  <a:lnTo>
                    <a:pt x="0" y="6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410" name="Freeform 498"/>
            <p:cNvSpPr>
              <a:spLocks/>
            </p:cNvSpPr>
            <p:nvPr>
              <p:custDataLst>
                <p:tags r:id="rId336"/>
              </p:custDataLst>
            </p:nvPr>
          </p:nvSpPr>
          <p:spPr bwMode="auto">
            <a:xfrm>
              <a:off x="8449062" y="2089996"/>
              <a:ext cx="52666" cy="59038"/>
            </a:xfrm>
            <a:custGeom>
              <a:avLst/>
              <a:gdLst>
                <a:gd name="T0" fmla="*/ 113 w 113"/>
                <a:gd name="T1" fmla="*/ 39 h 52"/>
                <a:gd name="T2" fmla="*/ 112 w 113"/>
                <a:gd name="T3" fmla="*/ 42 h 52"/>
                <a:gd name="T4" fmla="*/ 109 w 113"/>
                <a:gd name="T5" fmla="*/ 45 h 52"/>
                <a:gd name="T6" fmla="*/ 106 w 113"/>
                <a:gd name="T7" fmla="*/ 47 h 52"/>
                <a:gd name="T8" fmla="*/ 103 w 113"/>
                <a:gd name="T9" fmla="*/ 49 h 52"/>
                <a:gd name="T10" fmla="*/ 94 w 113"/>
                <a:gd name="T11" fmla="*/ 51 h 52"/>
                <a:gd name="T12" fmla="*/ 85 w 113"/>
                <a:gd name="T13" fmla="*/ 52 h 52"/>
                <a:gd name="T14" fmla="*/ 66 w 113"/>
                <a:gd name="T15" fmla="*/ 52 h 52"/>
                <a:gd name="T16" fmla="*/ 53 w 113"/>
                <a:gd name="T17" fmla="*/ 51 h 52"/>
                <a:gd name="T18" fmla="*/ 47 w 113"/>
                <a:gd name="T19" fmla="*/ 51 h 52"/>
                <a:gd name="T20" fmla="*/ 39 w 113"/>
                <a:gd name="T21" fmla="*/ 48 h 52"/>
                <a:gd name="T22" fmla="*/ 30 w 113"/>
                <a:gd name="T23" fmla="*/ 45 h 52"/>
                <a:gd name="T24" fmla="*/ 21 w 113"/>
                <a:gd name="T25" fmla="*/ 41 h 52"/>
                <a:gd name="T26" fmla="*/ 13 w 113"/>
                <a:gd name="T27" fmla="*/ 36 h 52"/>
                <a:gd name="T28" fmla="*/ 6 w 113"/>
                <a:gd name="T29" fmla="*/ 31 h 52"/>
                <a:gd name="T30" fmla="*/ 4 w 113"/>
                <a:gd name="T31" fmla="*/ 28 h 52"/>
                <a:gd name="T32" fmla="*/ 2 w 113"/>
                <a:gd name="T33" fmla="*/ 25 h 52"/>
                <a:gd name="T34" fmla="*/ 1 w 113"/>
                <a:gd name="T35" fmla="*/ 22 h 52"/>
                <a:gd name="T36" fmla="*/ 0 w 113"/>
                <a:gd name="T37" fmla="*/ 20 h 52"/>
                <a:gd name="T38" fmla="*/ 1 w 113"/>
                <a:gd name="T39" fmla="*/ 15 h 52"/>
                <a:gd name="T40" fmla="*/ 1 w 113"/>
                <a:gd name="T41" fmla="*/ 11 h 52"/>
                <a:gd name="T42" fmla="*/ 3 w 113"/>
                <a:gd name="T43" fmla="*/ 8 h 52"/>
                <a:gd name="T44" fmla="*/ 5 w 113"/>
                <a:gd name="T45" fmla="*/ 5 h 52"/>
                <a:gd name="T46" fmla="*/ 7 w 113"/>
                <a:gd name="T47" fmla="*/ 3 h 52"/>
                <a:gd name="T48" fmla="*/ 10 w 113"/>
                <a:gd name="T49" fmla="*/ 2 h 52"/>
                <a:gd name="T50" fmla="*/ 14 w 113"/>
                <a:gd name="T51" fmla="*/ 1 h 52"/>
                <a:gd name="T52" fmla="*/ 17 w 113"/>
                <a:gd name="T53" fmla="*/ 0 h 52"/>
                <a:gd name="T54" fmla="*/ 26 w 113"/>
                <a:gd name="T55" fmla="*/ 0 h 52"/>
                <a:gd name="T56" fmla="*/ 36 w 113"/>
                <a:gd name="T57" fmla="*/ 2 h 52"/>
                <a:gd name="T58" fmla="*/ 46 w 113"/>
                <a:gd name="T59" fmla="*/ 5 h 52"/>
                <a:gd name="T60" fmla="*/ 57 w 113"/>
                <a:gd name="T61" fmla="*/ 9 h 52"/>
                <a:gd name="T62" fmla="*/ 77 w 113"/>
                <a:gd name="T63" fmla="*/ 18 h 52"/>
                <a:gd name="T64" fmla="*/ 95 w 113"/>
                <a:gd name="T65" fmla="*/ 29 h 52"/>
                <a:gd name="T66" fmla="*/ 108 w 113"/>
                <a:gd name="T67" fmla="*/ 36 h 52"/>
                <a:gd name="T68" fmla="*/ 113 w 113"/>
                <a:gd name="T69" fmla="*/ 3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13" h="52">
                  <a:moveTo>
                    <a:pt x="113" y="39"/>
                  </a:moveTo>
                  <a:lnTo>
                    <a:pt x="112" y="42"/>
                  </a:lnTo>
                  <a:lnTo>
                    <a:pt x="109" y="45"/>
                  </a:lnTo>
                  <a:lnTo>
                    <a:pt x="106" y="47"/>
                  </a:lnTo>
                  <a:lnTo>
                    <a:pt x="103" y="49"/>
                  </a:lnTo>
                  <a:lnTo>
                    <a:pt x="94" y="51"/>
                  </a:lnTo>
                  <a:lnTo>
                    <a:pt x="85" y="52"/>
                  </a:lnTo>
                  <a:lnTo>
                    <a:pt x="66" y="52"/>
                  </a:lnTo>
                  <a:lnTo>
                    <a:pt x="53" y="51"/>
                  </a:lnTo>
                  <a:lnTo>
                    <a:pt x="47" y="51"/>
                  </a:lnTo>
                  <a:lnTo>
                    <a:pt x="39" y="48"/>
                  </a:lnTo>
                  <a:lnTo>
                    <a:pt x="30" y="45"/>
                  </a:lnTo>
                  <a:lnTo>
                    <a:pt x="21" y="41"/>
                  </a:lnTo>
                  <a:lnTo>
                    <a:pt x="13" y="36"/>
                  </a:lnTo>
                  <a:lnTo>
                    <a:pt x="6" y="31"/>
                  </a:lnTo>
                  <a:lnTo>
                    <a:pt x="4" y="28"/>
                  </a:lnTo>
                  <a:lnTo>
                    <a:pt x="2" y="25"/>
                  </a:lnTo>
                  <a:lnTo>
                    <a:pt x="1" y="22"/>
                  </a:lnTo>
                  <a:lnTo>
                    <a:pt x="0" y="20"/>
                  </a:lnTo>
                  <a:lnTo>
                    <a:pt x="1" y="15"/>
                  </a:lnTo>
                  <a:lnTo>
                    <a:pt x="1" y="11"/>
                  </a:lnTo>
                  <a:lnTo>
                    <a:pt x="3" y="8"/>
                  </a:lnTo>
                  <a:lnTo>
                    <a:pt x="5" y="5"/>
                  </a:lnTo>
                  <a:lnTo>
                    <a:pt x="7" y="3"/>
                  </a:lnTo>
                  <a:lnTo>
                    <a:pt x="10" y="2"/>
                  </a:lnTo>
                  <a:lnTo>
                    <a:pt x="14" y="1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36" y="2"/>
                  </a:lnTo>
                  <a:lnTo>
                    <a:pt x="46" y="5"/>
                  </a:lnTo>
                  <a:lnTo>
                    <a:pt x="57" y="9"/>
                  </a:lnTo>
                  <a:lnTo>
                    <a:pt x="77" y="18"/>
                  </a:lnTo>
                  <a:lnTo>
                    <a:pt x="95" y="29"/>
                  </a:lnTo>
                  <a:lnTo>
                    <a:pt x="108" y="36"/>
                  </a:lnTo>
                  <a:lnTo>
                    <a:pt x="113" y="3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11" name="Freeform 499"/>
            <p:cNvSpPr>
              <a:spLocks/>
            </p:cNvSpPr>
            <p:nvPr>
              <p:custDataLst>
                <p:tags r:id="rId337"/>
              </p:custDataLst>
            </p:nvPr>
          </p:nvSpPr>
          <p:spPr bwMode="auto">
            <a:xfrm>
              <a:off x="8220842" y="2063007"/>
              <a:ext cx="62242" cy="59038"/>
            </a:xfrm>
            <a:custGeom>
              <a:avLst/>
              <a:gdLst>
                <a:gd name="T0" fmla="*/ 0 w 139"/>
                <a:gd name="T1" fmla="*/ 8 h 40"/>
                <a:gd name="T2" fmla="*/ 8 w 139"/>
                <a:gd name="T3" fmla="*/ 9 h 40"/>
                <a:gd name="T4" fmla="*/ 19 w 139"/>
                <a:gd name="T5" fmla="*/ 8 h 40"/>
                <a:gd name="T6" fmla="*/ 30 w 139"/>
                <a:gd name="T7" fmla="*/ 7 h 40"/>
                <a:gd name="T8" fmla="*/ 42 w 139"/>
                <a:gd name="T9" fmla="*/ 5 h 40"/>
                <a:gd name="T10" fmla="*/ 53 w 139"/>
                <a:gd name="T11" fmla="*/ 2 h 40"/>
                <a:gd name="T12" fmla="*/ 64 w 139"/>
                <a:gd name="T13" fmla="*/ 1 h 40"/>
                <a:gd name="T14" fmla="*/ 73 w 139"/>
                <a:gd name="T15" fmla="*/ 0 h 40"/>
                <a:gd name="T16" fmla="*/ 80 w 139"/>
                <a:gd name="T17" fmla="*/ 2 h 40"/>
                <a:gd name="T18" fmla="*/ 139 w 139"/>
                <a:gd name="T19" fmla="*/ 39 h 40"/>
                <a:gd name="T20" fmla="*/ 133 w 139"/>
                <a:gd name="T21" fmla="*/ 40 h 40"/>
                <a:gd name="T22" fmla="*/ 125 w 139"/>
                <a:gd name="T23" fmla="*/ 39 h 40"/>
                <a:gd name="T24" fmla="*/ 116 w 139"/>
                <a:gd name="T25" fmla="*/ 38 h 40"/>
                <a:gd name="T26" fmla="*/ 106 w 139"/>
                <a:gd name="T27" fmla="*/ 36 h 40"/>
                <a:gd name="T28" fmla="*/ 86 w 139"/>
                <a:gd name="T29" fmla="*/ 30 h 40"/>
                <a:gd name="T30" fmla="*/ 64 w 139"/>
                <a:gd name="T31" fmla="*/ 24 h 40"/>
                <a:gd name="T32" fmla="*/ 44 w 139"/>
                <a:gd name="T33" fmla="*/ 16 h 40"/>
                <a:gd name="T34" fmla="*/ 26 w 139"/>
                <a:gd name="T35" fmla="*/ 11 h 40"/>
                <a:gd name="T36" fmla="*/ 17 w 139"/>
                <a:gd name="T37" fmla="*/ 9 h 40"/>
                <a:gd name="T38" fmla="*/ 11 w 139"/>
                <a:gd name="T39" fmla="*/ 7 h 40"/>
                <a:gd name="T40" fmla="*/ 4 w 139"/>
                <a:gd name="T41" fmla="*/ 7 h 40"/>
                <a:gd name="T42" fmla="*/ 0 w 139"/>
                <a:gd name="T43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9" h="40">
                  <a:moveTo>
                    <a:pt x="0" y="8"/>
                  </a:moveTo>
                  <a:lnTo>
                    <a:pt x="8" y="9"/>
                  </a:lnTo>
                  <a:lnTo>
                    <a:pt x="19" y="8"/>
                  </a:lnTo>
                  <a:lnTo>
                    <a:pt x="30" y="7"/>
                  </a:lnTo>
                  <a:lnTo>
                    <a:pt x="42" y="5"/>
                  </a:lnTo>
                  <a:lnTo>
                    <a:pt x="53" y="2"/>
                  </a:lnTo>
                  <a:lnTo>
                    <a:pt x="64" y="1"/>
                  </a:lnTo>
                  <a:lnTo>
                    <a:pt x="73" y="0"/>
                  </a:lnTo>
                  <a:lnTo>
                    <a:pt x="80" y="2"/>
                  </a:lnTo>
                  <a:lnTo>
                    <a:pt x="139" y="39"/>
                  </a:lnTo>
                  <a:lnTo>
                    <a:pt x="133" y="40"/>
                  </a:lnTo>
                  <a:lnTo>
                    <a:pt x="125" y="39"/>
                  </a:lnTo>
                  <a:lnTo>
                    <a:pt x="116" y="38"/>
                  </a:lnTo>
                  <a:lnTo>
                    <a:pt x="106" y="36"/>
                  </a:lnTo>
                  <a:lnTo>
                    <a:pt x="86" y="30"/>
                  </a:lnTo>
                  <a:lnTo>
                    <a:pt x="64" y="24"/>
                  </a:lnTo>
                  <a:lnTo>
                    <a:pt x="44" y="16"/>
                  </a:lnTo>
                  <a:lnTo>
                    <a:pt x="26" y="11"/>
                  </a:lnTo>
                  <a:lnTo>
                    <a:pt x="17" y="9"/>
                  </a:lnTo>
                  <a:lnTo>
                    <a:pt x="11" y="7"/>
                  </a:lnTo>
                  <a:lnTo>
                    <a:pt x="4" y="7"/>
                  </a:lnTo>
                  <a:lnTo>
                    <a:pt x="0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53" name="Freeform 500"/>
            <p:cNvSpPr>
              <a:spLocks/>
            </p:cNvSpPr>
            <p:nvPr>
              <p:custDataLst>
                <p:tags r:id="rId338"/>
              </p:custDataLst>
            </p:nvPr>
          </p:nvSpPr>
          <p:spPr bwMode="auto">
            <a:xfrm>
              <a:off x="8520744" y="2003864"/>
              <a:ext cx="139700" cy="57150"/>
            </a:xfrm>
            <a:custGeom>
              <a:avLst/>
              <a:gdLst>
                <a:gd name="T0" fmla="*/ 2147483647 w 325"/>
                <a:gd name="T1" fmla="*/ 2147483647 h 71"/>
                <a:gd name="T2" fmla="*/ 2147483647 w 325"/>
                <a:gd name="T3" fmla="*/ 2147483647 h 71"/>
                <a:gd name="T4" fmla="*/ 2147483647 w 325"/>
                <a:gd name="T5" fmla="*/ 0 h 71"/>
                <a:gd name="T6" fmla="*/ 2147483647 w 325"/>
                <a:gd name="T7" fmla="*/ 2147483647 h 71"/>
                <a:gd name="T8" fmla="*/ 2147483647 w 325"/>
                <a:gd name="T9" fmla="*/ 2147483647 h 71"/>
                <a:gd name="T10" fmla="*/ 2147483647 w 325"/>
                <a:gd name="T11" fmla="*/ 2147483647 h 71"/>
                <a:gd name="T12" fmla="*/ 2147483647 w 325"/>
                <a:gd name="T13" fmla="*/ 2147483647 h 71"/>
                <a:gd name="T14" fmla="*/ 2147483647 w 325"/>
                <a:gd name="T15" fmla="*/ 2147483647 h 71"/>
                <a:gd name="T16" fmla="*/ 2147483647 w 325"/>
                <a:gd name="T17" fmla="*/ 2147483647 h 71"/>
                <a:gd name="T18" fmla="*/ 2147483647 w 325"/>
                <a:gd name="T19" fmla="*/ 2147483647 h 71"/>
                <a:gd name="T20" fmla="*/ 2147483647 w 325"/>
                <a:gd name="T21" fmla="*/ 2147483647 h 71"/>
                <a:gd name="T22" fmla="*/ 2147483647 w 325"/>
                <a:gd name="T23" fmla="*/ 2147483647 h 71"/>
                <a:gd name="T24" fmla="*/ 2147483647 w 325"/>
                <a:gd name="T25" fmla="*/ 2147483647 h 71"/>
                <a:gd name="T26" fmla="*/ 2147483647 w 325"/>
                <a:gd name="T27" fmla="*/ 2147483647 h 71"/>
                <a:gd name="T28" fmla="*/ 2147483647 w 325"/>
                <a:gd name="T29" fmla="*/ 2147483647 h 71"/>
                <a:gd name="T30" fmla="*/ 2147483647 w 325"/>
                <a:gd name="T31" fmla="*/ 2147483647 h 71"/>
                <a:gd name="T32" fmla="*/ 2147483647 w 325"/>
                <a:gd name="T33" fmla="*/ 2147483647 h 71"/>
                <a:gd name="T34" fmla="*/ 2147483647 w 325"/>
                <a:gd name="T35" fmla="*/ 2147483647 h 71"/>
                <a:gd name="T36" fmla="*/ 2147483647 w 325"/>
                <a:gd name="T37" fmla="*/ 2147483647 h 71"/>
                <a:gd name="T38" fmla="*/ 2147483647 w 325"/>
                <a:gd name="T39" fmla="*/ 2147483647 h 71"/>
                <a:gd name="T40" fmla="*/ 2147483647 w 325"/>
                <a:gd name="T41" fmla="*/ 2147483647 h 71"/>
                <a:gd name="T42" fmla="*/ 2147483647 w 325"/>
                <a:gd name="T43" fmla="*/ 2147483647 h 71"/>
                <a:gd name="T44" fmla="*/ 2147483647 w 325"/>
                <a:gd name="T45" fmla="*/ 2147483647 h 71"/>
                <a:gd name="T46" fmla="*/ 2147483647 w 325"/>
                <a:gd name="T47" fmla="*/ 2147483647 h 71"/>
                <a:gd name="T48" fmla="*/ 2147483647 w 325"/>
                <a:gd name="T49" fmla="*/ 2147483647 h 71"/>
                <a:gd name="T50" fmla="*/ 2147483647 w 325"/>
                <a:gd name="T51" fmla="*/ 2147483647 h 71"/>
                <a:gd name="T52" fmla="*/ 2147483647 w 325"/>
                <a:gd name="T53" fmla="*/ 2147483647 h 71"/>
                <a:gd name="T54" fmla="*/ 2147483647 w 325"/>
                <a:gd name="T55" fmla="*/ 2147483647 h 71"/>
                <a:gd name="T56" fmla="*/ 2147483647 w 325"/>
                <a:gd name="T57" fmla="*/ 2147483647 h 71"/>
                <a:gd name="T58" fmla="*/ 2147483647 w 325"/>
                <a:gd name="T59" fmla="*/ 2147483647 h 71"/>
                <a:gd name="T60" fmla="*/ 2147483647 w 325"/>
                <a:gd name="T61" fmla="*/ 2147483647 h 71"/>
                <a:gd name="T62" fmla="*/ 0 w 325"/>
                <a:gd name="T63" fmla="*/ 2147483647 h 7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5" h="71">
                  <a:moveTo>
                    <a:pt x="0" y="12"/>
                  </a:moveTo>
                  <a:lnTo>
                    <a:pt x="10" y="7"/>
                  </a:lnTo>
                  <a:lnTo>
                    <a:pt x="20" y="3"/>
                  </a:lnTo>
                  <a:lnTo>
                    <a:pt x="31" y="1"/>
                  </a:lnTo>
                  <a:lnTo>
                    <a:pt x="42" y="0"/>
                  </a:lnTo>
                  <a:lnTo>
                    <a:pt x="53" y="0"/>
                  </a:lnTo>
                  <a:lnTo>
                    <a:pt x="62" y="2"/>
                  </a:lnTo>
                  <a:lnTo>
                    <a:pt x="73" y="4"/>
                  </a:lnTo>
                  <a:lnTo>
                    <a:pt x="83" y="6"/>
                  </a:lnTo>
                  <a:lnTo>
                    <a:pt x="92" y="10"/>
                  </a:lnTo>
                  <a:lnTo>
                    <a:pt x="101" y="14"/>
                  </a:lnTo>
                  <a:lnTo>
                    <a:pt x="110" y="18"/>
                  </a:lnTo>
                  <a:lnTo>
                    <a:pt x="116" y="23"/>
                  </a:lnTo>
                  <a:lnTo>
                    <a:pt x="122" y="29"/>
                  </a:lnTo>
                  <a:lnTo>
                    <a:pt x="127" y="33"/>
                  </a:lnTo>
                  <a:lnTo>
                    <a:pt x="130" y="38"/>
                  </a:lnTo>
                  <a:lnTo>
                    <a:pt x="133" y="43"/>
                  </a:lnTo>
                  <a:lnTo>
                    <a:pt x="136" y="34"/>
                  </a:lnTo>
                  <a:lnTo>
                    <a:pt x="138" y="25"/>
                  </a:lnTo>
                  <a:lnTo>
                    <a:pt x="139" y="15"/>
                  </a:lnTo>
                  <a:lnTo>
                    <a:pt x="139" y="6"/>
                  </a:lnTo>
                  <a:lnTo>
                    <a:pt x="161" y="7"/>
                  </a:lnTo>
                  <a:lnTo>
                    <a:pt x="188" y="9"/>
                  </a:lnTo>
                  <a:lnTo>
                    <a:pt x="216" y="13"/>
                  </a:lnTo>
                  <a:lnTo>
                    <a:pt x="245" y="19"/>
                  </a:lnTo>
                  <a:lnTo>
                    <a:pt x="258" y="23"/>
                  </a:lnTo>
                  <a:lnTo>
                    <a:pt x="271" y="28"/>
                  </a:lnTo>
                  <a:lnTo>
                    <a:pt x="283" y="32"/>
                  </a:lnTo>
                  <a:lnTo>
                    <a:pt x="295" y="37"/>
                  </a:lnTo>
                  <a:lnTo>
                    <a:pt x="305" y="43"/>
                  </a:lnTo>
                  <a:lnTo>
                    <a:pt x="314" y="48"/>
                  </a:lnTo>
                  <a:lnTo>
                    <a:pt x="320" y="55"/>
                  </a:lnTo>
                  <a:lnTo>
                    <a:pt x="325" y="61"/>
                  </a:lnTo>
                  <a:lnTo>
                    <a:pt x="316" y="64"/>
                  </a:lnTo>
                  <a:lnTo>
                    <a:pt x="305" y="67"/>
                  </a:lnTo>
                  <a:lnTo>
                    <a:pt x="294" y="68"/>
                  </a:lnTo>
                  <a:lnTo>
                    <a:pt x="283" y="70"/>
                  </a:lnTo>
                  <a:lnTo>
                    <a:pt x="259" y="71"/>
                  </a:lnTo>
                  <a:lnTo>
                    <a:pt x="234" y="71"/>
                  </a:lnTo>
                  <a:lnTo>
                    <a:pt x="210" y="70"/>
                  </a:lnTo>
                  <a:lnTo>
                    <a:pt x="186" y="69"/>
                  </a:lnTo>
                  <a:lnTo>
                    <a:pt x="167" y="68"/>
                  </a:lnTo>
                  <a:lnTo>
                    <a:pt x="152" y="67"/>
                  </a:lnTo>
                  <a:lnTo>
                    <a:pt x="133" y="69"/>
                  </a:lnTo>
                  <a:lnTo>
                    <a:pt x="104" y="71"/>
                  </a:lnTo>
                  <a:lnTo>
                    <a:pt x="90" y="71"/>
                  </a:lnTo>
                  <a:lnTo>
                    <a:pt x="78" y="70"/>
                  </a:lnTo>
                  <a:lnTo>
                    <a:pt x="72" y="68"/>
                  </a:lnTo>
                  <a:lnTo>
                    <a:pt x="69" y="67"/>
                  </a:lnTo>
                  <a:lnTo>
                    <a:pt x="67" y="64"/>
                  </a:lnTo>
                  <a:lnTo>
                    <a:pt x="66" y="61"/>
                  </a:lnTo>
                  <a:lnTo>
                    <a:pt x="58" y="61"/>
                  </a:lnTo>
                  <a:lnTo>
                    <a:pt x="51" y="60"/>
                  </a:lnTo>
                  <a:lnTo>
                    <a:pt x="46" y="59"/>
                  </a:lnTo>
                  <a:lnTo>
                    <a:pt x="42" y="57"/>
                  </a:lnTo>
                  <a:lnTo>
                    <a:pt x="35" y="53"/>
                  </a:lnTo>
                  <a:lnTo>
                    <a:pt x="31" y="49"/>
                  </a:lnTo>
                  <a:lnTo>
                    <a:pt x="25" y="45"/>
                  </a:lnTo>
                  <a:lnTo>
                    <a:pt x="20" y="41"/>
                  </a:lnTo>
                  <a:lnTo>
                    <a:pt x="16" y="39"/>
                  </a:lnTo>
                  <a:lnTo>
                    <a:pt x="12" y="38"/>
                  </a:lnTo>
                  <a:lnTo>
                    <a:pt x="6" y="37"/>
                  </a:lnTo>
                  <a:lnTo>
                    <a:pt x="0" y="37"/>
                  </a:lnTo>
                  <a:lnTo>
                    <a:pt x="0" y="22"/>
                  </a:lnTo>
                  <a:lnTo>
                    <a:pt x="0" y="12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413" name="Freeform 501"/>
            <p:cNvSpPr>
              <a:spLocks/>
            </p:cNvSpPr>
            <p:nvPr>
              <p:custDataLst>
                <p:tags r:id="rId339"/>
              </p:custDataLst>
            </p:nvPr>
          </p:nvSpPr>
          <p:spPr bwMode="auto">
            <a:xfrm>
              <a:off x="8680474" y="2012404"/>
              <a:ext cx="95757" cy="57351"/>
            </a:xfrm>
            <a:custGeom>
              <a:avLst/>
              <a:gdLst>
                <a:gd name="T0" fmla="*/ 87 w 220"/>
                <a:gd name="T1" fmla="*/ 25 h 72"/>
                <a:gd name="T2" fmla="*/ 92 w 220"/>
                <a:gd name="T3" fmla="*/ 26 h 72"/>
                <a:gd name="T4" fmla="*/ 98 w 220"/>
                <a:gd name="T5" fmla="*/ 27 h 72"/>
                <a:gd name="T6" fmla="*/ 101 w 220"/>
                <a:gd name="T7" fmla="*/ 28 h 72"/>
                <a:gd name="T8" fmla="*/ 104 w 220"/>
                <a:gd name="T9" fmla="*/ 27 h 72"/>
                <a:gd name="T10" fmla="*/ 109 w 220"/>
                <a:gd name="T11" fmla="*/ 27 h 72"/>
                <a:gd name="T12" fmla="*/ 113 w 220"/>
                <a:gd name="T13" fmla="*/ 25 h 72"/>
                <a:gd name="T14" fmla="*/ 114 w 220"/>
                <a:gd name="T15" fmla="*/ 26 h 72"/>
                <a:gd name="T16" fmla="*/ 115 w 220"/>
                <a:gd name="T17" fmla="*/ 26 h 72"/>
                <a:gd name="T18" fmla="*/ 116 w 220"/>
                <a:gd name="T19" fmla="*/ 25 h 72"/>
                <a:gd name="T20" fmla="*/ 117 w 220"/>
                <a:gd name="T21" fmla="*/ 25 h 72"/>
                <a:gd name="T22" fmla="*/ 119 w 220"/>
                <a:gd name="T23" fmla="*/ 22 h 72"/>
                <a:gd name="T24" fmla="*/ 120 w 220"/>
                <a:gd name="T25" fmla="*/ 17 h 72"/>
                <a:gd name="T26" fmla="*/ 120 w 220"/>
                <a:gd name="T27" fmla="*/ 7 h 72"/>
                <a:gd name="T28" fmla="*/ 120 w 220"/>
                <a:gd name="T29" fmla="*/ 0 h 72"/>
                <a:gd name="T30" fmla="*/ 125 w 220"/>
                <a:gd name="T31" fmla="*/ 5 h 72"/>
                <a:gd name="T32" fmla="*/ 131 w 220"/>
                <a:gd name="T33" fmla="*/ 10 h 72"/>
                <a:gd name="T34" fmla="*/ 137 w 220"/>
                <a:gd name="T35" fmla="*/ 15 h 72"/>
                <a:gd name="T36" fmla="*/ 143 w 220"/>
                <a:gd name="T37" fmla="*/ 19 h 72"/>
                <a:gd name="T38" fmla="*/ 156 w 220"/>
                <a:gd name="T39" fmla="*/ 25 h 72"/>
                <a:gd name="T40" fmla="*/ 170 w 220"/>
                <a:gd name="T41" fmla="*/ 30 h 72"/>
                <a:gd name="T42" fmla="*/ 183 w 220"/>
                <a:gd name="T43" fmla="*/ 35 h 72"/>
                <a:gd name="T44" fmla="*/ 196 w 220"/>
                <a:gd name="T45" fmla="*/ 41 h 72"/>
                <a:gd name="T46" fmla="*/ 203 w 220"/>
                <a:gd name="T47" fmla="*/ 44 h 72"/>
                <a:gd name="T48" fmla="*/ 209 w 220"/>
                <a:gd name="T49" fmla="*/ 47 h 72"/>
                <a:gd name="T50" fmla="*/ 214 w 220"/>
                <a:gd name="T51" fmla="*/ 51 h 72"/>
                <a:gd name="T52" fmla="*/ 220 w 220"/>
                <a:gd name="T53" fmla="*/ 55 h 72"/>
                <a:gd name="T54" fmla="*/ 206 w 220"/>
                <a:gd name="T55" fmla="*/ 56 h 72"/>
                <a:gd name="T56" fmla="*/ 194 w 220"/>
                <a:gd name="T57" fmla="*/ 57 h 72"/>
                <a:gd name="T58" fmla="*/ 182 w 220"/>
                <a:gd name="T59" fmla="*/ 58 h 72"/>
                <a:gd name="T60" fmla="*/ 171 w 220"/>
                <a:gd name="T61" fmla="*/ 60 h 72"/>
                <a:gd name="T62" fmla="*/ 151 w 220"/>
                <a:gd name="T63" fmla="*/ 65 h 72"/>
                <a:gd name="T64" fmla="*/ 134 w 220"/>
                <a:gd name="T65" fmla="*/ 70 h 72"/>
                <a:gd name="T66" fmla="*/ 126 w 220"/>
                <a:gd name="T67" fmla="*/ 71 h 72"/>
                <a:gd name="T68" fmla="*/ 117 w 220"/>
                <a:gd name="T69" fmla="*/ 72 h 72"/>
                <a:gd name="T70" fmla="*/ 110 w 220"/>
                <a:gd name="T71" fmla="*/ 72 h 72"/>
                <a:gd name="T72" fmla="*/ 103 w 220"/>
                <a:gd name="T73" fmla="*/ 72 h 72"/>
                <a:gd name="T74" fmla="*/ 95 w 220"/>
                <a:gd name="T75" fmla="*/ 70 h 72"/>
                <a:gd name="T76" fmla="*/ 88 w 220"/>
                <a:gd name="T77" fmla="*/ 66 h 72"/>
                <a:gd name="T78" fmla="*/ 81 w 220"/>
                <a:gd name="T79" fmla="*/ 61 h 72"/>
                <a:gd name="T80" fmla="*/ 74 w 220"/>
                <a:gd name="T81" fmla="*/ 55 h 72"/>
                <a:gd name="T82" fmla="*/ 59 w 220"/>
                <a:gd name="T83" fmla="*/ 53 h 72"/>
                <a:gd name="T84" fmla="*/ 45 w 220"/>
                <a:gd name="T85" fmla="*/ 50 h 72"/>
                <a:gd name="T86" fmla="*/ 33 w 220"/>
                <a:gd name="T87" fmla="*/ 47 h 72"/>
                <a:gd name="T88" fmla="*/ 22 w 220"/>
                <a:gd name="T89" fmla="*/ 43 h 72"/>
                <a:gd name="T90" fmla="*/ 18 w 220"/>
                <a:gd name="T91" fmla="*/ 41 h 72"/>
                <a:gd name="T92" fmla="*/ 13 w 220"/>
                <a:gd name="T93" fmla="*/ 38 h 72"/>
                <a:gd name="T94" fmla="*/ 9 w 220"/>
                <a:gd name="T95" fmla="*/ 35 h 72"/>
                <a:gd name="T96" fmla="*/ 7 w 220"/>
                <a:gd name="T97" fmla="*/ 31 h 72"/>
                <a:gd name="T98" fmla="*/ 3 w 220"/>
                <a:gd name="T99" fmla="*/ 27 h 72"/>
                <a:gd name="T100" fmla="*/ 2 w 220"/>
                <a:gd name="T101" fmla="*/ 23 h 72"/>
                <a:gd name="T102" fmla="*/ 1 w 220"/>
                <a:gd name="T103" fmla="*/ 18 h 72"/>
                <a:gd name="T104" fmla="*/ 0 w 220"/>
                <a:gd name="T105" fmla="*/ 13 h 72"/>
                <a:gd name="T106" fmla="*/ 23 w 220"/>
                <a:gd name="T107" fmla="*/ 17 h 72"/>
                <a:gd name="T108" fmla="*/ 44 w 220"/>
                <a:gd name="T109" fmla="*/ 21 h 72"/>
                <a:gd name="T110" fmla="*/ 64 w 220"/>
                <a:gd name="T111" fmla="*/ 24 h 72"/>
                <a:gd name="T112" fmla="*/ 87 w 220"/>
                <a:gd name="T113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0" h="72">
                  <a:moveTo>
                    <a:pt x="87" y="25"/>
                  </a:moveTo>
                  <a:lnTo>
                    <a:pt x="92" y="26"/>
                  </a:lnTo>
                  <a:lnTo>
                    <a:pt x="98" y="27"/>
                  </a:lnTo>
                  <a:lnTo>
                    <a:pt x="101" y="28"/>
                  </a:lnTo>
                  <a:lnTo>
                    <a:pt x="104" y="27"/>
                  </a:lnTo>
                  <a:lnTo>
                    <a:pt x="109" y="27"/>
                  </a:lnTo>
                  <a:lnTo>
                    <a:pt x="113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9" y="22"/>
                  </a:lnTo>
                  <a:lnTo>
                    <a:pt x="120" y="17"/>
                  </a:lnTo>
                  <a:lnTo>
                    <a:pt x="120" y="7"/>
                  </a:lnTo>
                  <a:lnTo>
                    <a:pt x="120" y="0"/>
                  </a:lnTo>
                  <a:lnTo>
                    <a:pt x="125" y="5"/>
                  </a:lnTo>
                  <a:lnTo>
                    <a:pt x="131" y="10"/>
                  </a:lnTo>
                  <a:lnTo>
                    <a:pt x="137" y="15"/>
                  </a:lnTo>
                  <a:lnTo>
                    <a:pt x="143" y="19"/>
                  </a:lnTo>
                  <a:lnTo>
                    <a:pt x="156" y="25"/>
                  </a:lnTo>
                  <a:lnTo>
                    <a:pt x="170" y="30"/>
                  </a:lnTo>
                  <a:lnTo>
                    <a:pt x="183" y="35"/>
                  </a:lnTo>
                  <a:lnTo>
                    <a:pt x="196" y="41"/>
                  </a:lnTo>
                  <a:lnTo>
                    <a:pt x="203" y="44"/>
                  </a:lnTo>
                  <a:lnTo>
                    <a:pt x="209" y="47"/>
                  </a:lnTo>
                  <a:lnTo>
                    <a:pt x="214" y="51"/>
                  </a:lnTo>
                  <a:lnTo>
                    <a:pt x="220" y="55"/>
                  </a:lnTo>
                  <a:lnTo>
                    <a:pt x="206" y="56"/>
                  </a:lnTo>
                  <a:lnTo>
                    <a:pt x="194" y="57"/>
                  </a:lnTo>
                  <a:lnTo>
                    <a:pt x="182" y="58"/>
                  </a:lnTo>
                  <a:lnTo>
                    <a:pt x="171" y="60"/>
                  </a:lnTo>
                  <a:lnTo>
                    <a:pt x="151" y="65"/>
                  </a:lnTo>
                  <a:lnTo>
                    <a:pt x="134" y="70"/>
                  </a:lnTo>
                  <a:lnTo>
                    <a:pt x="126" y="71"/>
                  </a:lnTo>
                  <a:lnTo>
                    <a:pt x="117" y="72"/>
                  </a:lnTo>
                  <a:lnTo>
                    <a:pt x="110" y="72"/>
                  </a:lnTo>
                  <a:lnTo>
                    <a:pt x="103" y="72"/>
                  </a:lnTo>
                  <a:lnTo>
                    <a:pt x="95" y="70"/>
                  </a:lnTo>
                  <a:lnTo>
                    <a:pt x="88" y="66"/>
                  </a:lnTo>
                  <a:lnTo>
                    <a:pt x="81" y="61"/>
                  </a:lnTo>
                  <a:lnTo>
                    <a:pt x="74" y="55"/>
                  </a:lnTo>
                  <a:lnTo>
                    <a:pt x="59" y="53"/>
                  </a:lnTo>
                  <a:lnTo>
                    <a:pt x="45" y="50"/>
                  </a:lnTo>
                  <a:lnTo>
                    <a:pt x="33" y="47"/>
                  </a:lnTo>
                  <a:lnTo>
                    <a:pt x="22" y="43"/>
                  </a:lnTo>
                  <a:lnTo>
                    <a:pt x="18" y="41"/>
                  </a:lnTo>
                  <a:lnTo>
                    <a:pt x="13" y="38"/>
                  </a:lnTo>
                  <a:lnTo>
                    <a:pt x="9" y="35"/>
                  </a:lnTo>
                  <a:lnTo>
                    <a:pt x="7" y="31"/>
                  </a:lnTo>
                  <a:lnTo>
                    <a:pt x="3" y="27"/>
                  </a:lnTo>
                  <a:lnTo>
                    <a:pt x="2" y="23"/>
                  </a:lnTo>
                  <a:lnTo>
                    <a:pt x="1" y="18"/>
                  </a:lnTo>
                  <a:lnTo>
                    <a:pt x="0" y="13"/>
                  </a:lnTo>
                  <a:lnTo>
                    <a:pt x="23" y="17"/>
                  </a:lnTo>
                  <a:lnTo>
                    <a:pt x="44" y="21"/>
                  </a:lnTo>
                  <a:lnTo>
                    <a:pt x="64" y="24"/>
                  </a:lnTo>
                  <a:lnTo>
                    <a:pt x="87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14" name="Freeform 502"/>
            <p:cNvSpPr>
              <a:spLocks/>
            </p:cNvSpPr>
            <p:nvPr>
              <p:custDataLst>
                <p:tags r:id="rId340"/>
              </p:custDataLst>
            </p:nvPr>
          </p:nvSpPr>
          <p:spPr bwMode="auto">
            <a:xfrm>
              <a:off x="8642171" y="2059634"/>
              <a:ext cx="62242" cy="59038"/>
            </a:xfrm>
            <a:custGeom>
              <a:avLst/>
              <a:gdLst>
                <a:gd name="T0" fmla="*/ 146 w 146"/>
                <a:gd name="T1" fmla="*/ 25 h 30"/>
                <a:gd name="T2" fmla="*/ 140 w 146"/>
                <a:gd name="T3" fmla="*/ 16 h 30"/>
                <a:gd name="T4" fmla="*/ 137 w 146"/>
                <a:gd name="T5" fmla="*/ 9 h 30"/>
                <a:gd name="T6" fmla="*/ 133 w 146"/>
                <a:gd name="T7" fmla="*/ 4 h 30"/>
                <a:gd name="T8" fmla="*/ 128 w 146"/>
                <a:gd name="T9" fmla="*/ 1 h 30"/>
                <a:gd name="T10" fmla="*/ 126 w 146"/>
                <a:gd name="T11" fmla="*/ 1 h 30"/>
                <a:gd name="T12" fmla="*/ 124 w 146"/>
                <a:gd name="T13" fmla="*/ 1 h 30"/>
                <a:gd name="T14" fmla="*/ 120 w 146"/>
                <a:gd name="T15" fmla="*/ 2 h 30"/>
                <a:gd name="T16" fmla="*/ 118 w 146"/>
                <a:gd name="T17" fmla="*/ 3 h 30"/>
                <a:gd name="T18" fmla="*/ 113 w 146"/>
                <a:gd name="T19" fmla="*/ 9 h 30"/>
                <a:gd name="T20" fmla="*/ 105 w 146"/>
                <a:gd name="T21" fmla="*/ 19 h 30"/>
                <a:gd name="T22" fmla="*/ 72 w 146"/>
                <a:gd name="T23" fmla="*/ 19 h 30"/>
                <a:gd name="T24" fmla="*/ 63 w 146"/>
                <a:gd name="T25" fmla="*/ 18 h 30"/>
                <a:gd name="T26" fmla="*/ 55 w 146"/>
                <a:gd name="T27" fmla="*/ 17 h 30"/>
                <a:gd name="T28" fmla="*/ 47 w 146"/>
                <a:gd name="T29" fmla="*/ 14 h 30"/>
                <a:gd name="T30" fmla="*/ 40 w 146"/>
                <a:gd name="T31" fmla="*/ 12 h 30"/>
                <a:gd name="T32" fmla="*/ 29 w 146"/>
                <a:gd name="T33" fmla="*/ 6 h 30"/>
                <a:gd name="T34" fmla="*/ 19 w 146"/>
                <a:gd name="T35" fmla="*/ 0 h 30"/>
                <a:gd name="T36" fmla="*/ 14 w 146"/>
                <a:gd name="T37" fmla="*/ 9 h 30"/>
                <a:gd name="T38" fmla="*/ 10 w 146"/>
                <a:gd name="T39" fmla="*/ 15 h 30"/>
                <a:gd name="T40" fmla="*/ 4 w 146"/>
                <a:gd name="T41" fmla="*/ 20 h 30"/>
                <a:gd name="T42" fmla="*/ 0 w 146"/>
                <a:gd name="T43" fmla="*/ 25 h 30"/>
                <a:gd name="T44" fmla="*/ 33 w 146"/>
                <a:gd name="T45" fmla="*/ 25 h 30"/>
                <a:gd name="T46" fmla="*/ 57 w 146"/>
                <a:gd name="T47" fmla="*/ 25 h 30"/>
                <a:gd name="T48" fmla="*/ 77 w 146"/>
                <a:gd name="T49" fmla="*/ 25 h 30"/>
                <a:gd name="T50" fmla="*/ 99 w 146"/>
                <a:gd name="T51" fmla="*/ 25 h 30"/>
                <a:gd name="T52" fmla="*/ 110 w 146"/>
                <a:gd name="T53" fmla="*/ 26 h 30"/>
                <a:gd name="T54" fmla="*/ 123 w 146"/>
                <a:gd name="T55" fmla="*/ 29 h 30"/>
                <a:gd name="T56" fmla="*/ 128 w 146"/>
                <a:gd name="T57" fmla="*/ 30 h 30"/>
                <a:gd name="T58" fmla="*/ 135 w 146"/>
                <a:gd name="T59" fmla="*/ 30 h 30"/>
                <a:gd name="T60" fmla="*/ 140 w 146"/>
                <a:gd name="T61" fmla="*/ 28 h 30"/>
                <a:gd name="T62" fmla="*/ 146 w 146"/>
                <a:gd name="T63" fmla="*/ 2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6" h="30">
                  <a:moveTo>
                    <a:pt x="146" y="25"/>
                  </a:moveTo>
                  <a:lnTo>
                    <a:pt x="140" y="16"/>
                  </a:lnTo>
                  <a:lnTo>
                    <a:pt x="137" y="9"/>
                  </a:lnTo>
                  <a:lnTo>
                    <a:pt x="133" y="4"/>
                  </a:lnTo>
                  <a:lnTo>
                    <a:pt x="128" y="1"/>
                  </a:lnTo>
                  <a:lnTo>
                    <a:pt x="126" y="1"/>
                  </a:lnTo>
                  <a:lnTo>
                    <a:pt x="124" y="1"/>
                  </a:lnTo>
                  <a:lnTo>
                    <a:pt x="120" y="2"/>
                  </a:lnTo>
                  <a:lnTo>
                    <a:pt x="118" y="3"/>
                  </a:lnTo>
                  <a:lnTo>
                    <a:pt x="113" y="9"/>
                  </a:lnTo>
                  <a:lnTo>
                    <a:pt x="105" y="19"/>
                  </a:lnTo>
                  <a:lnTo>
                    <a:pt x="72" y="19"/>
                  </a:lnTo>
                  <a:lnTo>
                    <a:pt x="63" y="18"/>
                  </a:lnTo>
                  <a:lnTo>
                    <a:pt x="55" y="17"/>
                  </a:lnTo>
                  <a:lnTo>
                    <a:pt x="47" y="14"/>
                  </a:lnTo>
                  <a:lnTo>
                    <a:pt x="40" y="12"/>
                  </a:lnTo>
                  <a:lnTo>
                    <a:pt x="29" y="6"/>
                  </a:lnTo>
                  <a:lnTo>
                    <a:pt x="19" y="0"/>
                  </a:lnTo>
                  <a:lnTo>
                    <a:pt x="14" y="9"/>
                  </a:lnTo>
                  <a:lnTo>
                    <a:pt x="10" y="15"/>
                  </a:lnTo>
                  <a:lnTo>
                    <a:pt x="4" y="20"/>
                  </a:lnTo>
                  <a:lnTo>
                    <a:pt x="0" y="25"/>
                  </a:lnTo>
                  <a:lnTo>
                    <a:pt x="33" y="25"/>
                  </a:lnTo>
                  <a:lnTo>
                    <a:pt x="57" y="25"/>
                  </a:lnTo>
                  <a:lnTo>
                    <a:pt x="77" y="25"/>
                  </a:lnTo>
                  <a:lnTo>
                    <a:pt x="99" y="25"/>
                  </a:lnTo>
                  <a:lnTo>
                    <a:pt x="110" y="26"/>
                  </a:lnTo>
                  <a:lnTo>
                    <a:pt x="123" y="29"/>
                  </a:lnTo>
                  <a:lnTo>
                    <a:pt x="128" y="30"/>
                  </a:lnTo>
                  <a:lnTo>
                    <a:pt x="135" y="30"/>
                  </a:lnTo>
                  <a:lnTo>
                    <a:pt x="140" y="28"/>
                  </a:lnTo>
                  <a:lnTo>
                    <a:pt x="146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15" name="Freeform 503"/>
            <p:cNvSpPr>
              <a:spLocks/>
            </p:cNvSpPr>
            <p:nvPr>
              <p:custDataLst>
                <p:tags r:id="rId341"/>
              </p:custDataLst>
            </p:nvPr>
          </p:nvSpPr>
          <p:spPr bwMode="auto">
            <a:xfrm>
              <a:off x="8621424" y="2056260"/>
              <a:ext cx="20747" cy="59038"/>
            </a:xfrm>
            <a:custGeom>
              <a:avLst/>
              <a:gdLst>
                <a:gd name="T0" fmla="*/ 0 w 53"/>
                <a:gd name="T1" fmla="*/ 9 h 9"/>
                <a:gd name="T2" fmla="*/ 17 w 53"/>
                <a:gd name="T3" fmla="*/ 9 h 9"/>
                <a:gd name="T4" fmla="*/ 29 w 53"/>
                <a:gd name="T5" fmla="*/ 9 h 9"/>
                <a:gd name="T6" fmla="*/ 40 w 53"/>
                <a:gd name="T7" fmla="*/ 9 h 9"/>
                <a:gd name="T8" fmla="*/ 53 w 53"/>
                <a:gd name="T9" fmla="*/ 9 h 9"/>
                <a:gd name="T10" fmla="*/ 46 w 53"/>
                <a:gd name="T11" fmla="*/ 6 h 9"/>
                <a:gd name="T12" fmla="*/ 38 w 53"/>
                <a:gd name="T13" fmla="*/ 3 h 9"/>
                <a:gd name="T14" fmla="*/ 31 w 53"/>
                <a:gd name="T15" fmla="*/ 1 h 9"/>
                <a:gd name="T16" fmla="*/ 25 w 53"/>
                <a:gd name="T17" fmla="*/ 0 h 9"/>
                <a:gd name="T18" fmla="*/ 19 w 53"/>
                <a:gd name="T19" fmla="*/ 0 h 9"/>
                <a:gd name="T20" fmla="*/ 14 w 53"/>
                <a:gd name="T21" fmla="*/ 0 h 9"/>
                <a:gd name="T22" fmla="*/ 9 w 53"/>
                <a:gd name="T23" fmla="*/ 1 h 9"/>
                <a:gd name="T24" fmla="*/ 6 w 53"/>
                <a:gd name="T2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9">
                  <a:moveTo>
                    <a:pt x="0" y="9"/>
                  </a:moveTo>
                  <a:lnTo>
                    <a:pt x="17" y="9"/>
                  </a:lnTo>
                  <a:lnTo>
                    <a:pt x="29" y="9"/>
                  </a:lnTo>
                  <a:lnTo>
                    <a:pt x="40" y="9"/>
                  </a:lnTo>
                  <a:lnTo>
                    <a:pt x="53" y="9"/>
                  </a:lnTo>
                  <a:lnTo>
                    <a:pt x="46" y="6"/>
                  </a:lnTo>
                  <a:lnTo>
                    <a:pt x="38" y="3"/>
                  </a:lnTo>
                  <a:lnTo>
                    <a:pt x="31" y="1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9" y="1"/>
                  </a:lnTo>
                  <a:lnTo>
                    <a:pt x="6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16" name="Line 504"/>
            <p:cNvSpPr>
              <a:spLocks noChangeShapeType="1"/>
            </p:cNvSpPr>
            <p:nvPr>
              <p:custDataLst>
                <p:tags r:id="rId342"/>
              </p:custDataLst>
            </p:nvPr>
          </p:nvSpPr>
          <p:spPr bwMode="auto">
            <a:xfrm flipV="1">
              <a:off x="8623020" y="2054574"/>
              <a:ext cx="0" cy="168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58" name="Freeform 505"/>
            <p:cNvSpPr>
              <a:spLocks/>
            </p:cNvSpPr>
            <p:nvPr>
              <p:custDataLst>
                <p:tags r:id="rId343"/>
              </p:custDataLst>
            </p:nvPr>
          </p:nvSpPr>
          <p:spPr bwMode="auto">
            <a:xfrm>
              <a:off x="7792082" y="1983227"/>
              <a:ext cx="11112" cy="55562"/>
            </a:xfrm>
            <a:custGeom>
              <a:avLst/>
              <a:gdLst>
                <a:gd name="T0" fmla="*/ 0 w 26"/>
                <a:gd name="T1" fmla="*/ 2147483647 h 25"/>
                <a:gd name="T2" fmla="*/ 2147483647 w 26"/>
                <a:gd name="T3" fmla="*/ 2147483647 h 25"/>
                <a:gd name="T4" fmla="*/ 2147483647 w 26"/>
                <a:gd name="T5" fmla="*/ 2147483647 h 25"/>
                <a:gd name="T6" fmla="*/ 2147483647 w 26"/>
                <a:gd name="T7" fmla="*/ 2147483647 h 25"/>
                <a:gd name="T8" fmla="*/ 2147483647 w 26"/>
                <a:gd name="T9" fmla="*/ 2147483647 h 25"/>
                <a:gd name="T10" fmla="*/ 2147483647 w 26"/>
                <a:gd name="T11" fmla="*/ 2147483647 h 25"/>
                <a:gd name="T12" fmla="*/ 2147483647 w 26"/>
                <a:gd name="T13" fmla="*/ 0 h 25"/>
                <a:gd name="T14" fmla="*/ 2147483647 w 26"/>
                <a:gd name="T15" fmla="*/ 2147483647 h 25"/>
                <a:gd name="T16" fmla="*/ 2147483647 w 26"/>
                <a:gd name="T17" fmla="*/ 2147483647 h 25"/>
                <a:gd name="T18" fmla="*/ 2147483647 w 26"/>
                <a:gd name="T19" fmla="*/ 2147483647 h 25"/>
                <a:gd name="T20" fmla="*/ 0 w 26"/>
                <a:gd name="T21" fmla="*/ 2147483647 h 2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6" h="25">
                  <a:moveTo>
                    <a:pt x="0" y="25"/>
                  </a:moveTo>
                  <a:lnTo>
                    <a:pt x="5" y="17"/>
                  </a:lnTo>
                  <a:lnTo>
                    <a:pt x="13" y="8"/>
                  </a:lnTo>
                  <a:lnTo>
                    <a:pt x="16" y="5"/>
                  </a:lnTo>
                  <a:lnTo>
                    <a:pt x="20" y="2"/>
                  </a:lnTo>
                  <a:lnTo>
                    <a:pt x="23" y="1"/>
                  </a:lnTo>
                  <a:lnTo>
                    <a:pt x="26" y="0"/>
                  </a:lnTo>
                  <a:lnTo>
                    <a:pt x="26" y="25"/>
                  </a:lnTo>
                  <a:lnTo>
                    <a:pt x="20" y="25"/>
                  </a:lnTo>
                  <a:lnTo>
                    <a:pt x="13" y="25"/>
                  </a:lnTo>
                  <a:lnTo>
                    <a:pt x="0" y="25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418" name="Freeform 506"/>
            <p:cNvSpPr>
              <a:spLocks/>
            </p:cNvSpPr>
            <p:nvPr>
              <p:custDataLst>
                <p:tags r:id="rId344"/>
              </p:custDataLst>
            </p:nvPr>
          </p:nvSpPr>
          <p:spPr bwMode="auto">
            <a:xfrm>
              <a:off x="8541627" y="2054574"/>
              <a:ext cx="9576" cy="57351"/>
            </a:xfrm>
            <a:custGeom>
              <a:avLst/>
              <a:gdLst>
                <a:gd name="T0" fmla="*/ 33 w 33"/>
                <a:gd name="T1" fmla="*/ 25 h 25"/>
                <a:gd name="T2" fmla="*/ 33 w 33"/>
                <a:gd name="T3" fmla="*/ 12 h 25"/>
                <a:gd name="T4" fmla="*/ 33 w 33"/>
                <a:gd name="T5" fmla="*/ 0 h 25"/>
                <a:gd name="T6" fmla="*/ 0 w 33"/>
                <a:gd name="T7" fmla="*/ 0 h 25"/>
                <a:gd name="T8" fmla="*/ 9 w 33"/>
                <a:gd name="T9" fmla="*/ 9 h 25"/>
                <a:gd name="T10" fmla="*/ 16 w 33"/>
                <a:gd name="T11" fmla="*/ 17 h 25"/>
                <a:gd name="T12" fmla="*/ 20 w 33"/>
                <a:gd name="T13" fmla="*/ 20 h 25"/>
                <a:gd name="T14" fmla="*/ 24 w 33"/>
                <a:gd name="T15" fmla="*/ 23 h 25"/>
                <a:gd name="T16" fmla="*/ 28 w 33"/>
                <a:gd name="T17" fmla="*/ 24 h 25"/>
                <a:gd name="T18" fmla="*/ 33 w 33"/>
                <a:gd name="T1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25">
                  <a:moveTo>
                    <a:pt x="33" y="25"/>
                  </a:moveTo>
                  <a:lnTo>
                    <a:pt x="33" y="12"/>
                  </a:lnTo>
                  <a:lnTo>
                    <a:pt x="33" y="0"/>
                  </a:lnTo>
                  <a:lnTo>
                    <a:pt x="0" y="0"/>
                  </a:lnTo>
                  <a:lnTo>
                    <a:pt x="9" y="9"/>
                  </a:lnTo>
                  <a:lnTo>
                    <a:pt x="16" y="17"/>
                  </a:lnTo>
                  <a:lnTo>
                    <a:pt x="20" y="20"/>
                  </a:lnTo>
                  <a:lnTo>
                    <a:pt x="24" y="23"/>
                  </a:lnTo>
                  <a:lnTo>
                    <a:pt x="28" y="24"/>
                  </a:lnTo>
                  <a:lnTo>
                    <a:pt x="33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19" name="Freeform 507"/>
            <p:cNvSpPr>
              <a:spLocks/>
            </p:cNvSpPr>
            <p:nvPr>
              <p:custDataLst>
                <p:tags r:id="rId345"/>
              </p:custDataLst>
            </p:nvPr>
          </p:nvSpPr>
          <p:spPr bwMode="auto">
            <a:xfrm>
              <a:off x="8495344" y="2017464"/>
              <a:ext cx="9576" cy="57351"/>
            </a:xfrm>
            <a:custGeom>
              <a:avLst/>
              <a:gdLst>
                <a:gd name="T0" fmla="*/ 0 w 20"/>
                <a:gd name="T1" fmla="*/ 0 h 18"/>
                <a:gd name="T2" fmla="*/ 13 w 20"/>
                <a:gd name="T3" fmla="*/ 18 h 18"/>
                <a:gd name="T4" fmla="*/ 16 w 20"/>
                <a:gd name="T5" fmla="*/ 11 h 18"/>
                <a:gd name="T6" fmla="*/ 20 w 20"/>
                <a:gd name="T7" fmla="*/ 0 h 18"/>
                <a:gd name="T8" fmla="*/ 0 w 20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13" y="18"/>
                  </a:lnTo>
                  <a:lnTo>
                    <a:pt x="16" y="11"/>
                  </a:lnTo>
                  <a:lnTo>
                    <a:pt x="2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20" name="Freeform 508"/>
            <p:cNvSpPr>
              <a:spLocks/>
            </p:cNvSpPr>
            <p:nvPr>
              <p:custDataLst>
                <p:tags r:id="rId346"/>
              </p:custDataLst>
            </p:nvPr>
          </p:nvSpPr>
          <p:spPr bwMode="auto">
            <a:xfrm>
              <a:off x="8994875" y="2587602"/>
              <a:ext cx="12768" cy="59037"/>
            </a:xfrm>
            <a:custGeom>
              <a:avLst/>
              <a:gdLst>
                <a:gd name="T0" fmla="*/ 0 w 33"/>
                <a:gd name="T1" fmla="*/ 31 h 31"/>
                <a:gd name="T2" fmla="*/ 0 w 33"/>
                <a:gd name="T3" fmla="*/ 0 h 31"/>
                <a:gd name="T4" fmla="*/ 9 w 33"/>
                <a:gd name="T5" fmla="*/ 0 h 31"/>
                <a:gd name="T6" fmla="*/ 16 w 33"/>
                <a:gd name="T7" fmla="*/ 0 h 31"/>
                <a:gd name="T8" fmla="*/ 24 w 33"/>
                <a:gd name="T9" fmla="*/ 0 h 31"/>
                <a:gd name="T10" fmla="*/ 33 w 33"/>
                <a:gd name="T11" fmla="*/ 0 h 31"/>
                <a:gd name="T12" fmla="*/ 30 w 33"/>
                <a:gd name="T13" fmla="*/ 2 h 31"/>
                <a:gd name="T14" fmla="*/ 29 w 33"/>
                <a:gd name="T15" fmla="*/ 5 h 31"/>
                <a:gd name="T16" fmla="*/ 28 w 33"/>
                <a:gd name="T17" fmla="*/ 9 h 31"/>
                <a:gd name="T18" fmla="*/ 28 w 33"/>
                <a:gd name="T19" fmla="*/ 13 h 31"/>
                <a:gd name="T20" fmla="*/ 28 w 33"/>
                <a:gd name="T21" fmla="*/ 17 h 31"/>
                <a:gd name="T22" fmla="*/ 29 w 33"/>
                <a:gd name="T23" fmla="*/ 21 h 31"/>
                <a:gd name="T24" fmla="*/ 30 w 33"/>
                <a:gd name="T25" fmla="*/ 26 h 31"/>
                <a:gd name="T26" fmla="*/ 33 w 33"/>
                <a:gd name="T27" fmla="*/ 31 h 31"/>
                <a:gd name="T28" fmla="*/ 0 w 33"/>
                <a:gd name="T2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3" h="31">
                  <a:moveTo>
                    <a:pt x="0" y="31"/>
                  </a:moveTo>
                  <a:lnTo>
                    <a:pt x="0" y="0"/>
                  </a:lnTo>
                  <a:lnTo>
                    <a:pt x="9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9" y="5"/>
                  </a:lnTo>
                  <a:lnTo>
                    <a:pt x="28" y="9"/>
                  </a:lnTo>
                  <a:lnTo>
                    <a:pt x="28" y="13"/>
                  </a:lnTo>
                  <a:lnTo>
                    <a:pt x="28" y="17"/>
                  </a:lnTo>
                  <a:lnTo>
                    <a:pt x="29" y="21"/>
                  </a:lnTo>
                  <a:lnTo>
                    <a:pt x="30" y="26"/>
                  </a:lnTo>
                  <a:lnTo>
                    <a:pt x="33" y="31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62" name="Freeform 509"/>
            <p:cNvSpPr>
              <a:spLocks/>
            </p:cNvSpPr>
            <p:nvPr>
              <p:custDataLst>
                <p:tags r:id="rId347"/>
              </p:custDataLst>
            </p:nvPr>
          </p:nvSpPr>
          <p:spPr bwMode="auto">
            <a:xfrm>
              <a:off x="9289094" y="2110227"/>
              <a:ext cx="55563" cy="58737"/>
            </a:xfrm>
            <a:custGeom>
              <a:avLst/>
              <a:gdLst>
                <a:gd name="T0" fmla="*/ 2147483647 w 129"/>
                <a:gd name="T1" fmla="*/ 2147483647 h 56"/>
                <a:gd name="T2" fmla="*/ 2147483647 w 129"/>
                <a:gd name="T3" fmla="*/ 2147483647 h 56"/>
                <a:gd name="T4" fmla="*/ 2147483647 w 129"/>
                <a:gd name="T5" fmla="*/ 2147483647 h 56"/>
                <a:gd name="T6" fmla="*/ 0 w 129"/>
                <a:gd name="T7" fmla="*/ 2147483647 h 56"/>
                <a:gd name="T8" fmla="*/ 2147483647 w 129"/>
                <a:gd name="T9" fmla="*/ 2147483647 h 56"/>
                <a:gd name="T10" fmla="*/ 2147483647 w 129"/>
                <a:gd name="T11" fmla="*/ 2147483647 h 56"/>
                <a:gd name="T12" fmla="*/ 2147483647 w 129"/>
                <a:gd name="T13" fmla="*/ 2147483647 h 56"/>
                <a:gd name="T14" fmla="*/ 2147483647 w 129"/>
                <a:gd name="T15" fmla="*/ 2147483647 h 56"/>
                <a:gd name="T16" fmla="*/ 2147483647 w 129"/>
                <a:gd name="T17" fmla="*/ 2147483647 h 56"/>
                <a:gd name="T18" fmla="*/ 2147483647 w 129"/>
                <a:gd name="T19" fmla="*/ 2147483647 h 56"/>
                <a:gd name="T20" fmla="*/ 2147483647 w 129"/>
                <a:gd name="T21" fmla="*/ 2147483647 h 56"/>
                <a:gd name="T22" fmla="*/ 2147483647 w 129"/>
                <a:gd name="T23" fmla="*/ 2147483647 h 56"/>
                <a:gd name="T24" fmla="*/ 2147483647 w 129"/>
                <a:gd name="T25" fmla="*/ 0 h 56"/>
                <a:gd name="T26" fmla="*/ 2147483647 w 129"/>
                <a:gd name="T27" fmla="*/ 2147483647 h 56"/>
                <a:gd name="T28" fmla="*/ 2147483647 w 129"/>
                <a:gd name="T29" fmla="*/ 2147483647 h 56"/>
                <a:gd name="T30" fmla="*/ 2147483647 w 129"/>
                <a:gd name="T31" fmla="*/ 2147483647 h 56"/>
                <a:gd name="T32" fmla="*/ 2147483647 w 129"/>
                <a:gd name="T33" fmla="*/ 2147483647 h 56"/>
                <a:gd name="T34" fmla="*/ 2147483647 w 129"/>
                <a:gd name="T35" fmla="*/ 2147483647 h 56"/>
                <a:gd name="T36" fmla="*/ 2147483647 w 129"/>
                <a:gd name="T37" fmla="*/ 2147483647 h 56"/>
                <a:gd name="T38" fmla="*/ 2147483647 w 129"/>
                <a:gd name="T39" fmla="*/ 2147483647 h 56"/>
                <a:gd name="T40" fmla="*/ 2147483647 w 129"/>
                <a:gd name="T41" fmla="*/ 2147483647 h 56"/>
                <a:gd name="T42" fmla="*/ 2147483647 w 129"/>
                <a:gd name="T43" fmla="*/ 2147483647 h 56"/>
                <a:gd name="T44" fmla="*/ 2147483647 w 129"/>
                <a:gd name="T45" fmla="*/ 2147483647 h 56"/>
                <a:gd name="T46" fmla="*/ 2147483647 w 129"/>
                <a:gd name="T47" fmla="*/ 2147483647 h 56"/>
                <a:gd name="T48" fmla="*/ 2147483647 w 129"/>
                <a:gd name="T49" fmla="*/ 2147483647 h 56"/>
                <a:gd name="T50" fmla="*/ 2147483647 w 129"/>
                <a:gd name="T51" fmla="*/ 2147483647 h 56"/>
                <a:gd name="T52" fmla="*/ 2147483647 w 129"/>
                <a:gd name="T53" fmla="*/ 2147483647 h 56"/>
                <a:gd name="T54" fmla="*/ 2147483647 w 129"/>
                <a:gd name="T55" fmla="*/ 2147483647 h 56"/>
                <a:gd name="T56" fmla="*/ 2147483647 w 129"/>
                <a:gd name="T57" fmla="*/ 2147483647 h 56"/>
                <a:gd name="T58" fmla="*/ 2147483647 w 129"/>
                <a:gd name="T59" fmla="*/ 2147483647 h 56"/>
                <a:gd name="T60" fmla="*/ 2147483647 w 129"/>
                <a:gd name="T61" fmla="*/ 2147483647 h 56"/>
                <a:gd name="T62" fmla="*/ 2147483647 w 129"/>
                <a:gd name="T63" fmla="*/ 2147483647 h 56"/>
                <a:gd name="T64" fmla="*/ 2147483647 w 129"/>
                <a:gd name="T65" fmla="*/ 2147483647 h 56"/>
                <a:gd name="T66" fmla="*/ 2147483647 w 129"/>
                <a:gd name="T67" fmla="*/ 2147483647 h 56"/>
                <a:gd name="T68" fmla="*/ 2147483647 w 129"/>
                <a:gd name="T69" fmla="*/ 2147483647 h 56"/>
                <a:gd name="T70" fmla="*/ 2147483647 w 129"/>
                <a:gd name="T71" fmla="*/ 2147483647 h 56"/>
                <a:gd name="T72" fmla="*/ 2147483647 w 129"/>
                <a:gd name="T73" fmla="*/ 2147483647 h 5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29" h="56">
                  <a:moveTo>
                    <a:pt x="3" y="44"/>
                  </a:moveTo>
                  <a:lnTo>
                    <a:pt x="1" y="42"/>
                  </a:lnTo>
                  <a:lnTo>
                    <a:pt x="1" y="40"/>
                  </a:lnTo>
                  <a:lnTo>
                    <a:pt x="0" y="37"/>
                  </a:lnTo>
                  <a:lnTo>
                    <a:pt x="1" y="33"/>
                  </a:lnTo>
                  <a:lnTo>
                    <a:pt x="2" y="25"/>
                  </a:lnTo>
                  <a:lnTo>
                    <a:pt x="3" y="18"/>
                  </a:lnTo>
                  <a:lnTo>
                    <a:pt x="9" y="13"/>
                  </a:lnTo>
                  <a:lnTo>
                    <a:pt x="16" y="9"/>
                  </a:lnTo>
                  <a:lnTo>
                    <a:pt x="21" y="6"/>
                  </a:lnTo>
                  <a:lnTo>
                    <a:pt x="27" y="5"/>
                  </a:lnTo>
                  <a:lnTo>
                    <a:pt x="39" y="3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4" y="8"/>
                  </a:lnTo>
                  <a:lnTo>
                    <a:pt x="69" y="11"/>
                  </a:lnTo>
                  <a:lnTo>
                    <a:pt x="73" y="14"/>
                  </a:lnTo>
                  <a:lnTo>
                    <a:pt x="83" y="18"/>
                  </a:lnTo>
                  <a:lnTo>
                    <a:pt x="93" y="21"/>
                  </a:lnTo>
                  <a:lnTo>
                    <a:pt x="103" y="25"/>
                  </a:lnTo>
                  <a:lnTo>
                    <a:pt x="113" y="29"/>
                  </a:lnTo>
                  <a:lnTo>
                    <a:pt x="117" y="32"/>
                  </a:lnTo>
                  <a:lnTo>
                    <a:pt x="121" y="35"/>
                  </a:lnTo>
                  <a:lnTo>
                    <a:pt x="126" y="38"/>
                  </a:lnTo>
                  <a:lnTo>
                    <a:pt x="129" y="44"/>
                  </a:lnTo>
                  <a:lnTo>
                    <a:pt x="119" y="48"/>
                  </a:lnTo>
                  <a:lnTo>
                    <a:pt x="109" y="51"/>
                  </a:lnTo>
                  <a:lnTo>
                    <a:pt x="99" y="53"/>
                  </a:lnTo>
                  <a:lnTo>
                    <a:pt x="90" y="54"/>
                  </a:lnTo>
                  <a:lnTo>
                    <a:pt x="70" y="56"/>
                  </a:lnTo>
                  <a:lnTo>
                    <a:pt x="49" y="56"/>
                  </a:lnTo>
                  <a:lnTo>
                    <a:pt x="40" y="55"/>
                  </a:lnTo>
                  <a:lnTo>
                    <a:pt x="31" y="54"/>
                  </a:lnTo>
                  <a:lnTo>
                    <a:pt x="23" y="52"/>
                  </a:lnTo>
                  <a:lnTo>
                    <a:pt x="16" y="50"/>
                  </a:lnTo>
                  <a:lnTo>
                    <a:pt x="6" y="46"/>
                  </a:lnTo>
                  <a:lnTo>
                    <a:pt x="3" y="44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422" name="Freeform 510"/>
            <p:cNvSpPr>
              <a:spLocks/>
            </p:cNvSpPr>
            <p:nvPr>
              <p:custDataLst>
                <p:tags r:id="rId348"/>
              </p:custDataLst>
            </p:nvPr>
          </p:nvSpPr>
          <p:spPr bwMode="auto">
            <a:xfrm>
              <a:off x="9425780" y="2462779"/>
              <a:ext cx="14363" cy="57351"/>
            </a:xfrm>
            <a:custGeom>
              <a:avLst/>
              <a:gdLst>
                <a:gd name="T0" fmla="*/ 21 w 41"/>
                <a:gd name="T1" fmla="*/ 42 h 42"/>
                <a:gd name="T2" fmla="*/ 0 w 41"/>
                <a:gd name="T3" fmla="*/ 30 h 42"/>
                <a:gd name="T4" fmla="*/ 0 w 41"/>
                <a:gd name="T5" fmla="*/ 6 h 42"/>
                <a:gd name="T6" fmla="*/ 7 w 41"/>
                <a:gd name="T7" fmla="*/ 5 h 42"/>
                <a:gd name="T8" fmla="*/ 14 w 41"/>
                <a:gd name="T9" fmla="*/ 3 h 42"/>
                <a:gd name="T10" fmla="*/ 24 w 41"/>
                <a:gd name="T11" fmla="*/ 1 h 42"/>
                <a:gd name="T12" fmla="*/ 34 w 41"/>
                <a:gd name="T13" fmla="*/ 0 h 42"/>
                <a:gd name="T14" fmla="*/ 34 w 41"/>
                <a:gd name="T15" fmla="*/ 18 h 42"/>
                <a:gd name="T16" fmla="*/ 41 w 41"/>
                <a:gd name="T17" fmla="*/ 18 h 42"/>
                <a:gd name="T18" fmla="*/ 21 w 41"/>
                <a:gd name="T19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2">
                  <a:moveTo>
                    <a:pt x="21" y="42"/>
                  </a:moveTo>
                  <a:lnTo>
                    <a:pt x="0" y="30"/>
                  </a:lnTo>
                  <a:lnTo>
                    <a:pt x="0" y="6"/>
                  </a:lnTo>
                  <a:lnTo>
                    <a:pt x="7" y="5"/>
                  </a:lnTo>
                  <a:lnTo>
                    <a:pt x="14" y="3"/>
                  </a:lnTo>
                  <a:lnTo>
                    <a:pt x="24" y="1"/>
                  </a:lnTo>
                  <a:lnTo>
                    <a:pt x="34" y="0"/>
                  </a:lnTo>
                  <a:lnTo>
                    <a:pt x="34" y="18"/>
                  </a:lnTo>
                  <a:lnTo>
                    <a:pt x="41" y="18"/>
                  </a:lnTo>
                  <a:lnTo>
                    <a:pt x="21" y="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23" name="Freeform 511"/>
            <p:cNvSpPr>
              <a:spLocks/>
            </p:cNvSpPr>
            <p:nvPr>
              <p:custDataLst>
                <p:tags r:id="rId349"/>
              </p:custDataLst>
            </p:nvPr>
          </p:nvSpPr>
          <p:spPr bwMode="auto">
            <a:xfrm>
              <a:off x="9574202" y="2575794"/>
              <a:ext cx="43091" cy="60725"/>
            </a:xfrm>
            <a:custGeom>
              <a:avLst/>
              <a:gdLst>
                <a:gd name="T0" fmla="*/ 60 w 93"/>
                <a:gd name="T1" fmla="*/ 9 h 39"/>
                <a:gd name="T2" fmla="*/ 67 w 93"/>
                <a:gd name="T3" fmla="*/ 18 h 39"/>
                <a:gd name="T4" fmla="*/ 77 w 93"/>
                <a:gd name="T5" fmla="*/ 28 h 39"/>
                <a:gd name="T6" fmla="*/ 81 w 93"/>
                <a:gd name="T7" fmla="*/ 33 h 39"/>
                <a:gd name="T8" fmla="*/ 86 w 93"/>
                <a:gd name="T9" fmla="*/ 36 h 39"/>
                <a:gd name="T10" fmla="*/ 90 w 93"/>
                <a:gd name="T11" fmla="*/ 38 h 39"/>
                <a:gd name="T12" fmla="*/ 93 w 93"/>
                <a:gd name="T13" fmla="*/ 39 h 39"/>
                <a:gd name="T14" fmla="*/ 60 w 93"/>
                <a:gd name="T15" fmla="*/ 39 h 39"/>
                <a:gd name="T16" fmla="*/ 50 w 93"/>
                <a:gd name="T17" fmla="*/ 36 h 39"/>
                <a:gd name="T18" fmla="*/ 43 w 93"/>
                <a:gd name="T19" fmla="*/ 32 h 39"/>
                <a:gd name="T20" fmla="*/ 36 w 93"/>
                <a:gd name="T21" fmla="*/ 28 h 39"/>
                <a:gd name="T22" fmla="*/ 30 w 93"/>
                <a:gd name="T23" fmla="*/ 23 h 39"/>
                <a:gd name="T24" fmla="*/ 24 w 93"/>
                <a:gd name="T25" fmla="*/ 18 h 39"/>
                <a:gd name="T26" fmla="*/ 16 w 93"/>
                <a:gd name="T27" fmla="*/ 13 h 39"/>
                <a:gd name="T28" fmla="*/ 9 w 93"/>
                <a:gd name="T29" fmla="*/ 7 h 39"/>
                <a:gd name="T30" fmla="*/ 0 w 93"/>
                <a:gd name="T31" fmla="*/ 3 h 39"/>
                <a:gd name="T32" fmla="*/ 11 w 93"/>
                <a:gd name="T33" fmla="*/ 1 h 39"/>
                <a:gd name="T34" fmla="*/ 20 w 93"/>
                <a:gd name="T35" fmla="*/ 0 h 39"/>
                <a:gd name="T36" fmla="*/ 26 w 93"/>
                <a:gd name="T37" fmla="*/ 0 h 39"/>
                <a:gd name="T38" fmla="*/ 33 w 93"/>
                <a:gd name="T39" fmla="*/ 1 h 39"/>
                <a:gd name="T40" fmla="*/ 44 w 93"/>
                <a:gd name="T41" fmla="*/ 4 h 39"/>
                <a:gd name="T42" fmla="*/ 60 w 93"/>
                <a:gd name="T4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3" h="39">
                  <a:moveTo>
                    <a:pt x="60" y="9"/>
                  </a:moveTo>
                  <a:lnTo>
                    <a:pt x="67" y="18"/>
                  </a:lnTo>
                  <a:lnTo>
                    <a:pt x="77" y="28"/>
                  </a:lnTo>
                  <a:lnTo>
                    <a:pt x="81" y="33"/>
                  </a:lnTo>
                  <a:lnTo>
                    <a:pt x="86" y="36"/>
                  </a:lnTo>
                  <a:lnTo>
                    <a:pt x="90" y="38"/>
                  </a:lnTo>
                  <a:lnTo>
                    <a:pt x="93" y="39"/>
                  </a:lnTo>
                  <a:lnTo>
                    <a:pt x="60" y="39"/>
                  </a:lnTo>
                  <a:lnTo>
                    <a:pt x="50" y="36"/>
                  </a:lnTo>
                  <a:lnTo>
                    <a:pt x="43" y="32"/>
                  </a:lnTo>
                  <a:lnTo>
                    <a:pt x="36" y="28"/>
                  </a:lnTo>
                  <a:lnTo>
                    <a:pt x="30" y="23"/>
                  </a:lnTo>
                  <a:lnTo>
                    <a:pt x="24" y="18"/>
                  </a:lnTo>
                  <a:lnTo>
                    <a:pt x="16" y="13"/>
                  </a:lnTo>
                  <a:lnTo>
                    <a:pt x="9" y="7"/>
                  </a:lnTo>
                  <a:lnTo>
                    <a:pt x="0" y="3"/>
                  </a:lnTo>
                  <a:lnTo>
                    <a:pt x="11" y="1"/>
                  </a:lnTo>
                  <a:lnTo>
                    <a:pt x="20" y="0"/>
                  </a:lnTo>
                  <a:lnTo>
                    <a:pt x="26" y="0"/>
                  </a:lnTo>
                  <a:lnTo>
                    <a:pt x="33" y="1"/>
                  </a:lnTo>
                  <a:lnTo>
                    <a:pt x="44" y="4"/>
                  </a:lnTo>
                  <a:lnTo>
                    <a:pt x="60" y="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24" name="Freeform 512"/>
            <p:cNvSpPr>
              <a:spLocks/>
            </p:cNvSpPr>
            <p:nvPr>
              <p:custDataLst>
                <p:tags r:id="rId350"/>
              </p:custDataLst>
            </p:nvPr>
          </p:nvSpPr>
          <p:spPr bwMode="auto">
            <a:xfrm>
              <a:off x="9625273" y="2590976"/>
              <a:ext cx="19151" cy="59037"/>
            </a:xfrm>
            <a:custGeom>
              <a:avLst/>
              <a:gdLst>
                <a:gd name="T0" fmla="*/ 39 w 39"/>
                <a:gd name="T1" fmla="*/ 19 h 19"/>
                <a:gd name="T2" fmla="*/ 13 w 39"/>
                <a:gd name="T3" fmla="*/ 19 h 19"/>
                <a:gd name="T4" fmla="*/ 8 w 39"/>
                <a:gd name="T5" fmla="*/ 19 h 19"/>
                <a:gd name="T6" fmla="*/ 5 w 39"/>
                <a:gd name="T7" fmla="*/ 17 h 19"/>
                <a:gd name="T8" fmla="*/ 3 w 39"/>
                <a:gd name="T9" fmla="*/ 14 h 19"/>
                <a:gd name="T10" fmla="*/ 2 w 39"/>
                <a:gd name="T11" fmla="*/ 11 h 19"/>
                <a:gd name="T12" fmla="*/ 0 w 39"/>
                <a:gd name="T13" fmla="*/ 5 h 19"/>
                <a:gd name="T14" fmla="*/ 0 w 39"/>
                <a:gd name="T15" fmla="*/ 0 h 19"/>
                <a:gd name="T16" fmla="*/ 13 w 39"/>
                <a:gd name="T17" fmla="*/ 4 h 19"/>
                <a:gd name="T18" fmla="*/ 22 w 39"/>
                <a:gd name="T19" fmla="*/ 9 h 19"/>
                <a:gd name="T20" fmla="*/ 30 w 39"/>
                <a:gd name="T21" fmla="*/ 14 h 19"/>
                <a:gd name="T22" fmla="*/ 39 w 39"/>
                <a:gd name="T23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9">
                  <a:moveTo>
                    <a:pt x="39" y="19"/>
                  </a:moveTo>
                  <a:lnTo>
                    <a:pt x="13" y="19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2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4"/>
                  </a:lnTo>
                  <a:lnTo>
                    <a:pt x="22" y="9"/>
                  </a:lnTo>
                  <a:lnTo>
                    <a:pt x="30" y="14"/>
                  </a:lnTo>
                  <a:lnTo>
                    <a:pt x="39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25" name="Freeform 513"/>
            <p:cNvSpPr>
              <a:spLocks/>
            </p:cNvSpPr>
            <p:nvPr>
              <p:custDataLst>
                <p:tags r:id="rId351"/>
              </p:custDataLst>
            </p:nvPr>
          </p:nvSpPr>
          <p:spPr bwMode="auto">
            <a:xfrm>
              <a:off x="9491213" y="2717485"/>
              <a:ext cx="14364" cy="57351"/>
            </a:xfrm>
            <a:custGeom>
              <a:avLst/>
              <a:gdLst>
                <a:gd name="T0" fmla="*/ 0 w 26"/>
                <a:gd name="T1" fmla="*/ 36 h 36"/>
                <a:gd name="T2" fmla="*/ 3 w 26"/>
                <a:gd name="T3" fmla="*/ 31 h 36"/>
                <a:gd name="T4" fmla="*/ 10 w 26"/>
                <a:gd name="T5" fmla="*/ 20 h 36"/>
                <a:gd name="T6" fmla="*/ 18 w 26"/>
                <a:gd name="T7" fmla="*/ 8 h 36"/>
                <a:gd name="T8" fmla="*/ 26 w 26"/>
                <a:gd name="T9" fmla="*/ 0 h 36"/>
                <a:gd name="T10" fmla="*/ 26 w 26"/>
                <a:gd name="T11" fmla="*/ 9 h 36"/>
                <a:gd name="T12" fmla="*/ 26 w 26"/>
                <a:gd name="T13" fmla="*/ 18 h 36"/>
                <a:gd name="T14" fmla="*/ 25 w 26"/>
                <a:gd name="T15" fmla="*/ 22 h 36"/>
                <a:gd name="T16" fmla="*/ 24 w 26"/>
                <a:gd name="T17" fmla="*/ 26 h 36"/>
                <a:gd name="T18" fmla="*/ 21 w 26"/>
                <a:gd name="T19" fmla="*/ 29 h 36"/>
                <a:gd name="T20" fmla="*/ 17 w 26"/>
                <a:gd name="T21" fmla="*/ 32 h 36"/>
                <a:gd name="T22" fmla="*/ 14 w 26"/>
                <a:gd name="T23" fmla="*/ 34 h 36"/>
                <a:gd name="T24" fmla="*/ 10 w 26"/>
                <a:gd name="T25" fmla="*/ 35 h 36"/>
                <a:gd name="T26" fmla="*/ 4 w 26"/>
                <a:gd name="T27" fmla="*/ 36 h 36"/>
                <a:gd name="T28" fmla="*/ 0 w 26"/>
                <a:gd name="T29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36">
                  <a:moveTo>
                    <a:pt x="0" y="36"/>
                  </a:moveTo>
                  <a:lnTo>
                    <a:pt x="3" y="31"/>
                  </a:lnTo>
                  <a:lnTo>
                    <a:pt x="10" y="20"/>
                  </a:lnTo>
                  <a:lnTo>
                    <a:pt x="18" y="8"/>
                  </a:lnTo>
                  <a:lnTo>
                    <a:pt x="26" y="0"/>
                  </a:lnTo>
                  <a:lnTo>
                    <a:pt x="26" y="9"/>
                  </a:lnTo>
                  <a:lnTo>
                    <a:pt x="26" y="18"/>
                  </a:lnTo>
                  <a:lnTo>
                    <a:pt x="25" y="22"/>
                  </a:lnTo>
                  <a:lnTo>
                    <a:pt x="24" y="26"/>
                  </a:lnTo>
                  <a:lnTo>
                    <a:pt x="21" y="29"/>
                  </a:lnTo>
                  <a:lnTo>
                    <a:pt x="17" y="32"/>
                  </a:lnTo>
                  <a:lnTo>
                    <a:pt x="14" y="34"/>
                  </a:lnTo>
                  <a:lnTo>
                    <a:pt x="10" y="35"/>
                  </a:lnTo>
                  <a:lnTo>
                    <a:pt x="4" y="36"/>
                  </a:lnTo>
                  <a:lnTo>
                    <a:pt x="0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26" name="Freeform 514"/>
            <p:cNvSpPr>
              <a:spLocks/>
            </p:cNvSpPr>
            <p:nvPr>
              <p:custDataLst>
                <p:tags r:id="rId352"/>
              </p:custDataLst>
            </p:nvPr>
          </p:nvSpPr>
          <p:spPr bwMode="auto">
            <a:xfrm>
              <a:off x="9502385" y="2746161"/>
              <a:ext cx="3192" cy="60725"/>
            </a:xfrm>
            <a:custGeom>
              <a:avLst/>
              <a:gdLst>
                <a:gd name="T0" fmla="*/ 0 w 6"/>
                <a:gd name="T1" fmla="*/ 37 h 37"/>
                <a:gd name="T2" fmla="*/ 0 w 6"/>
                <a:gd name="T3" fmla="*/ 0 h 37"/>
                <a:gd name="T4" fmla="*/ 6 w 6"/>
                <a:gd name="T5" fmla="*/ 0 h 37"/>
                <a:gd name="T6" fmla="*/ 6 w 6"/>
                <a:gd name="T7" fmla="*/ 31 h 37"/>
                <a:gd name="T8" fmla="*/ 0 w 6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7">
                  <a:moveTo>
                    <a:pt x="0" y="37"/>
                  </a:moveTo>
                  <a:lnTo>
                    <a:pt x="0" y="0"/>
                  </a:lnTo>
                  <a:lnTo>
                    <a:pt x="6" y="0"/>
                  </a:lnTo>
                  <a:lnTo>
                    <a:pt x="6" y="31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27" name="Freeform 515"/>
            <p:cNvSpPr>
              <a:spLocks/>
            </p:cNvSpPr>
            <p:nvPr>
              <p:custDataLst>
                <p:tags r:id="rId353"/>
              </p:custDataLst>
            </p:nvPr>
          </p:nvSpPr>
          <p:spPr bwMode="auto">
            <a:xfrm>
              <a:off x="9489618" y="2828813"/>
              <a:ext cx="9576" cy="55665"/>
            </a:xfrm>
            <a:custGeom>
              <a:avLst/>
              <a:gdLst>
                <a:gd name="T0" fmla="*/ 0 w 20"/>
                <a:gd name="T1" fmla="*/ 31 h 43"/>
                <a:gd name="T2" fmla="*/ 0 w 20"/>
                <a:gd name="T3" fmla="*/ 25 h 43"/>
                <a:gd name="T4" fmla="*/ 0 w 20"/>
                <a:gd name="T5" fmla="*/ 18 h 43"/>
                <a:gd name="T6" fmla="*/ 2 w 20"/>
                <a:gd name="T7" fmla="*/ 9 h 43"/>
                <a:gd name="T8" fmla="*/ 7 w 20"/>
                <a:gd name="T9" fmla="*/ 0 h 43"/>
                <a:gd name="T10" fmla="*/ 11 w 20"/>
                <a:gd name="T11" fmla="*/ 7 h 43"/>
                <a:gd name="T12" fmla="*/ 16 w 20"/>
                <a:gd name="T13" fmla="*/ 12 h 43"/>
                <a:gd name="T14" fmla="*/ 17 w 20"/>
                <a:gd name="T15" fmla="*/ 14 h 43"/>
                <a:gd name="T16" fmla="*/ 19 w 20"/>
                <a:gd name="T17" fmla="*/ 18 h 43"/>
                <a:gd name="T18" fmla="*/ 19 w 20"/>
                <a:gd name="T19" fmla="*/ 21 h 43"/>
                <a:gd name="T20" fmla="*/ 20 w 20"/>
                <a:gd name="T21" fmla="*/ 25 h 43"/>
                <a:gd name="T22" fmla="*/ 19 w 20"/>
                <a:gd name="T23" fmla="*/ 27 h 43"/>
                <a:gd name="T24" fmla="*/ 18 w 20"/>
                <a:gd name="T25" fmla="*/ 30 h 43"/>
                <a:gd name="T26" fmla="*/ 16 w 20"/>
                <a:gd name="T27" fmla="*/ 33 h 43"/>
                <a:gd name="T28" fmla="*/ 12 w 20"/>
                <a:gd name="T29" fmla="*/ 36 h 43"/>
                <a:gd name="T30" fmla="*/ 9 w 20"/>
                <a:gd name="T31" fmla="*/ 39 h 43"/>
                <a:gd name="T32" fmla="*/ 6 w 20"/>
                <a:gd name="T33" fmla="*/ 41 h 43"/>
                <a:gd name="T34" fmla="*/ 2 w 20"/>
                <a:gd name="T35" fmla="*/ 42 h 43"/>
                <a:gd name="T36" fmla="*/ 0 w 20"/>
                <a:gd name="T37" fmla="*/ 43 h 43"/>
                <a:gd name="T38" fmla="*/ 0 w 20"/>
                <a:gd name="T39" fmla="*/ 3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0" h="43">
                  <a:moveTo>
                    <a:pt x="0" y="31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2" y="9"/>
                  </a:lnTo>
                  <a:lnTo>
                    <a:pt x="7" y="0"/>
                  </a:lnTo>
                  <a:lnTo>
                    <a:pt x="11" y="7"/>
                  </a:lnTo>
                  <a:lnTo>
                    <a:pt x="16" y="12"/>
                  </a:lnTo>
                  <a:lnTo>
                    <a:pt x="17" y="14"/>
                  </a:lnTo>
                  <a:lnTo>
                    <a:pt x="19" y="18"/>
                  </a:lnTo>
                  <a:lnTo>
                    <a:pt x="19" y="21"/>
                  </a:lnTo>
                  <a:lnTo>
                    <a:pt x="20" y="25"/>
                  </a:lnTo>
                  <a:lnTo>
                    <a:pt x="19" y="27"/>
                  </a:lnTo>
                  <a:lnTo>
                    <a:pt x="18" y="30"/>
                  </a:lnTo>
                  <a:lnTo>
                    <a:pt x="16" y="33"/>
                  </a:lnTo>
                  <a:lnTo>
                    <a:pt x="12" y="36"/>
                  </a:lnTo>
                  <a:lnTo>
                    <a:pt x="9" y="39"/>
                  </a:lnTo>
                  <a:lnTo>
                    <a:pt x="6" y="41"/>
                  </a:lnTo>
                  <a:lnTo>
                    <a:pt x="2" y="42"/>
                  </a:lnTo>
                  <a:lnTo>
                    <a:pt x="0" y="4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28" name="Freeform 516"/>
            <p:cNvSpPr>
              <a:spLocks/>
            </p:cNvSpPr>
            <p:nvPr>
              <p:custDataLst>
                <p:tags r:id="rId354"/>
              </p:custDataLst>
            </p:nvPr>
          </p:nvSpPr>
          <p:spPr bwMode="auto">
            <a:xfrm>
              <a:off x="9467275" y="2864237"/>
              <a:ext cx="0" cy="59037"/>
            </a:xfrm>
            <a:custGeom>
              <a:avLst/>
              <a:gdLst>
                <a:gd name="T0" fmla="*/ 30 h 30"/>
                <a:gd name="T1" fmla="*/ 25 h 30"/>
                <a:gd name="T2" fmla="*/ 18 h 30"/>
                <a:gd name="T3" fmla="*/ 9 h 30"/>
                <a:gd name="T4" fmla="*/ 0 h 30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30">
                  <a:moveTo>
                    <a:pt x="0" y="30"/>
                  </a:moveTo>
                  <a:lnTo>
                    <a:pt x="0" y="25"/>
                  </a:lnTo>
                  <a:lnTo>
                    <a:pt x="0" y="18"/>
                  </a:ln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29" name="Freeform 517"/>
            <p:cNvSpPr>
              <a:spLocks/>
            </p:cNvSpPr>
            <p:nvPr>
              <p:custDataLst>
                <p:tags r:id="rId355"/>
              </p:custDataLst>
            </p:nvPr>
          </p:nvSpPr>
          <p:spPr bwMode="auto">
            <a:xfrm>
              <a:off x="9467275" y="2864237"/>
              <a:ext cx="7979" cy="59037"/>
            </a:xfrm>
            <a:custGeom>
              <a:avLst/>
              <a:gdLst>
                <a:gd name="T0" fmla="*/ 0 w 20"/>
                <a:gd name="T1" fmla="*/ 0 h 24"/>
                <a:gd name="T2" fmla="*/ 20 w 20"/>
                <a:gd name="T3" fmla="*/ 0 h 24"/>
                <a:gd name="T4" fmla="*/ 0 w 20"/>
                <a:gd name="T5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24">
                  <a:moveTo>
                    <a:pt x="0" y="0"/>
                  </a:moveTo>
                  <a:lnTo>
                    <a:pt x="20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30" name="Freeform 518"/>
            <p:cNvSpPr>
              <a:spLocks/>
            </p:cNvSpPr>
            <p:nvPr>
              <p:custDataLst>
                <p:tags r:id="rId356"/>
              </p:custDataLst>
            </p:nvPr>
          </p:nvSpPr>
          <p:spPr bwMode="auto">
            <a:xfrm>
              <a:off x="9221499" y="2450971"/>
              <a:ext cx="17555" cy="60725"/>
            </a:xfrm>
            <a:custGeom>
              <a:avLst/>
              <a:gdLst>
                <a:gd name="T0" fmla="*/ 0 w 46"/>
                <a:gd name="T1" fmla="*/ 0 h 19"/>
                <a:gd name="T2" fmla="*/ 9 w 46"/>
                <a:gd name="T3" fmla="*/ 3 h 19"/>
                <a:gd name="T4" fmla="*/ 14 w 46"/>
                <a:gd name="T5" fmla="*/ 5 h 19"/>
                <a:gd name="T6" fmla="*/ 19 w 46"/>
                <a:gd name="T7" fmla="*/ 8 h 19"/>
                <a:gd name="T8" fmla="*/ 23 w 46"/>
                <a:gd name="T9" fmla="*/ 10 h 19"/>
                <a:gd name="T10" fmla="*/ 26 w 46"/>
                <a:gd name="T11" fmla="*/ 12 h 19"/>
                <a:gd name="T12" fmla="*/ 32 w 46"/>
                <a:gd name="T13" fmla="*/ 14 h 19"/>
                <a:gd name="T14" fmla="*/ 37 w 46"/>
                <a:gd name="T15" fmla="*/ 17 h 19"/>
                <a:gd name="T16" fmla="*/ 46 w 46"/>
                <a:gd name="T17" fmla="*/ 19 h 19"/>
                <a:gd name="T18" fmla="*/ 33 w 46"/>
                <a:gd name="T19" fmla="*/ 19 h 19"/>
                <a:gd name="T20" fmla="*/ 24 w 46"/>
                <a:gd name="T21" fmla="*/ 19 h 19"/>
                <a:gd name="T22" fmla="*/ 18 w 46"/>
                <a:gd name="T23" fmla="*/ 18 h 19"/>
                <a:gd name="T24" fmla="*/ 13 w 46"/>
                <a:gd name="T25" fmla="*/ 17 h 19"/>
                <a:gd name="T26" fmla="*/ 10 w 46"/>
                <a:gd name="T27" fmla="*/ 14 h 19"/>
                <a:gd name="T28" fmla="*/ 7 w 46"/>
                <a:gd name="T29" fmla="*/ 11 h 19"/>
                <a:gd name="T30" fmla="*/ 4 w 46"/>
                <a:gd name="T31" fmla="*/ 7 h 19"/>
                <a:gd name="T32" fmla="*/ 0 w 46"/>
                <a:gd name="T3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9">
                  <a:moveTo>
                    <a:pt x="0" y="0"/>
                  </a:moveTo>
                  <a:lnTo>
                    <a:pt x="9" y="3"/>
                  </a:lnTo>
                  <a:lnTo>
                    <a:pt x="14" y="5"/>
                  </a:lnTo>
                  <a:lnTo>
                    <a:pt x="19" y="8"/>
                  </a:lnTo>
                  <a:lnTo>
                    <a:pt x="23" y="10"/>
                  </a:lnTo>
                  <a:lnTo>
                    <a:pt x="26" y="12"/>
                  </a:lnTo>
                  <a:lnTo>
                    <a:pt x="32" y="14"/>
                  </a:lnTo>
                  <a:lnTo>
                    <a:pt x="37" y="17"/>
                  </a:lnTo>
                  <a:lnTo>
                    <a:pt x="46" y="19"/>
                  </a:lnTo>
                  <a:lnTo>
                    <a:pt x="33" y="19"/>
                  </a:lnTo>
                  <a:lnTo>
                    <a:pt x="24" y="19"/>
                  </a:lnTo>
                  <a:lnTo>
                    <a:pt x="18" y="18"/>
                  </a:lnTo>
                  <a:lnTo>
                    <a:pt x="13" y="17"/>
                  </a:lnTo>
                  <a:lnTo>
                    <a:pt x="10" y="14"/>
                  </a:lnTo>
                  <a:lnTo>
                    <a:pt x="7" y="11"/>
                  </a:lnTo>
                  <a:lnTo>
                    <a:pt x="4" y="7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72" name="Freeform 519"/>
            <p:cNvSpPr>
              <a:spLocks/>
            </p:cNvSpPr>
            <p:nvPr>
              <p:custDataLst>
                <p:tags r:id="rId357"/>
              </p:custDataLst>
            </p:nvPr>
          </p:nvSpPr>
          <p:spPr bwMode="auto">
            <a:xfrm>
              <a:off x="6536369" y="2591239"/>
              <a:ext cx="47625" cy="58738"/>
            </a:xfrm>
            <a:custGeom>
              <a:avLst/>
              <a:gdLst>
                <a:gd name="T0" fmla="*/ 2147483647 w 100"/>
                <a:gd name="T1" fmla="*/ 0 h 55"/>
                <a:gd name="T2" fmla="*/ 2147483647 w 100"/>
                <a:gd name="T3" fmla="*/ 2147483647 h 55"/>
                <a:gd name="T4" fmla="*/ 2147483647 w 100"/>
                <a:gd name="T5" fmla="*/ 2147483647 h 55"/>
                <a:gd name="T6" fmla="*/ 2147483647 w 100"/>
                <a:gd name="T7" fmla="*/ 2147483647 h 55"/>
                <a:gd name="T8" fmla="*/ 0 w 100"/>
                <a:gd name="T9" fmla="*/ 2147483647 h 55"/>
                <a:gd name="T10" fmla="*/ 2147483647 w 100"/>
                <a:gd name="T11" fmla="*/ 2147483647 h 55"/>
                <a:gd name="T12" fmla="*/ 2147483647 w 100"/>
                <a:gd name="T13" fmla="*/ 2147483647 h 55"/>
                <a:gd name="T14" fmla="*/ 2147483647 w 100"/>
                <a:gd name="T15" fmla="*/ 2147483647 h 55"/>
                <a:gd name="T16" fmla="*/ 2147483647 w 100"/>
                <a:gd name="T17" fmla="*/ 2147483647 h 55"/>
                <a:gd name="T18" fmla="*/ 2147483647 w 100"/>
                <a:gd name="T19" fmla="*/ 2147483647 h 55"/>
                <a:gd name="T20" fmla="*/ 2147483647 w 100"/>
                <a:gd name="T21" fmla="*/ 0 h 5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100" h="55">
                  <a:moveTo>
                    <a:pt x="33" y="0"/>
                  </a:moveTo>
                  <a:lnTo>
                    <a:pt x="100" y="12"/>
                  </a:lnTo>
                  <a:lnTo>
                    <a:pt x="100" y="55"/>
                  </a:lnTo>
                  <a:lnTo>
                    <a:pt x="13" y="55"/>
                  </a:lnTo>
                  <a:lnTo>
                    <a:pt x="0" y="43"/>
                  </a:lnTo>
                  <a:lnTo>
                    <a:pt x="1" y="38"/>
                  </a:lnTo>
                  <a:lnTo>
                    <a:pt x="4" y="32"/>
                  </a:lnTo>
                  <a:lnTo>
                    <a:pt x="10" y="25"/>
                  </a:lnTo>
                  <a:lnTo>
                    <a:pt x="16" y="18"/>
                  </a:lnTo>
                  <a:lnTo>
                    <a:pt x="27" y="5"/>
                  </a:lnTo>
                  <a:lnTo>
                    <a:pt x="33" y="0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73" name="Freeform 520"/>
            <p:cNvSpPr>
              <a:spLocks/>
            </p:cNvSpPr>
            <p:nvPr>
              <p:custDataLst>
                <p:tags r:id="rId358"/>
              </p:custDataLst>
            </p:nvPr>
          </p:nvSpPr>
          <p:spPr bwMode="auto">
            <a:xfrm>
              <a:off x="6985632" y="2183252"/>
              <a:ext cx="42862" cy="58737"/>
            </a:xfrm>
            <a:custGeom>
              <a:avLst/>
              <a:gdLst>
                <a:gd name="T0" fmla="*/ 2147483647 w 99"/>
                <a:gd name="T1" fmla="*/ 2147483647 h 51"/>
                <a:gd name="T2" fmla="*/ 2147483647 w 99"/>
                <a:gd name="T3" fmla="*/ 2147483647 h 51"/>
                <a:gd name="T4" fmla="*/ 2147483647 w 99"/>
                <a:gd name="T5" fmla="*/ 0 h 51"/>
                <a:gd name="T6" fmla="*/ 2147483647 w 99"/>
                <a:gd name="T7" fmla="*/ 0 h 51"/>
                <a:gd name="T8" fmla="*/ 2147483647 w 99"/>
                <a:gd name="T9" fmla="*/ 2147483647 h 51"/>
                <a:gd name="T10" fmla="*/ 2147483647 w 99"/>
                <a:gd name="T11" fmla="*/ 2147483647 h 51"/>
                <a:gd name="T12" fmla="*/ 2147483647 w 99"/>
                <a:gd name="T13" fmla="*/ 2147483647 h 51"/>
                <a:gd name="T14" fmla="*/ 2147483647 w 99"/>
                <a:gd name="T15" fmla="*/ 2147483647 h 51"/>
                <a:gd name="T16" fmla="*/ 2147483647 w 99"/>
                <a:gd name="T17" fmla="*/ 2147483647 h 51"/>
                <a:gd name="T18" fmla="*/ 2147483647 w 99"/>
                <a:gd name="T19" fmla="*/ 2147483647 h 51"/>
                <a:gd name="T20" fmla="*/ 2147483647 w 99"/>
                <a:gd name="T21" fmla="*/ 2147483647 h 51"/>
                <a:gd name="T22" fmla="*/ 2147483647 w 99"/>
                <a:gd name="T23" fmla="*/ 2147483647 h 51"/>
                <a:gd name="T24" fmla="*/ 2147483647 w 99"/>
                <a:gd name="T25" fmla="*/ 2147483647 h 51"/>
                <a:gd name="T26" fmla="*/ 2147483647 w 99"/>
                <a:gd name="T27" fmla="*/ 2147483647 h 51"/>
                <a:gd name="T28" fmla="*/ 2147483647 w 99"/>
                <a:gd name="T29" fmla="*/ 2147483647 h 51"/>
                <a:gd name="T30" fmla="*/ 2147483647 w 99"/>
                <a:gd name="T31" fmla="*/ 2147483647 h 51"/>
                <a:gd name="T32" fmla="*/ 2147483647 w 99"/>
                <a:gd name="T33" fmla="*/ 2147483647 h 51"/>
                <a:gd name="T34" fmla="*/ 2147483647 w 99"/>
                <a:gd name="T35" fmla="*/ 2147483647 h 51"/>
                <a:gd name="T36" fmla="*/ 2147483647 w 99"/>
                <a:gd name="T37" fmla="*/ 2147483647 h 51"/>
                <a:gd name="T38" fmla="*/ 2147483647 w 99"/>
                <a:gd name="T39" fmla="*/ 2147483647 h 51"/>
                <a:gd name="T40" fmla="*/ 2147483647 w 99"/>
                <a:gd name="T41" fmla="*/ 2147483647 h 51"/>
                <a:gd name="T42" fmla="*/ 2147483647 w 99"/>
                <a:gd name="T43" fmla="*/ 2147483647 h 51"/>
                <a:gd name="T44" fmla="*/ 2147483647 w 99"/>
                <a:gd name="T45" fmla="*/ 2147483647 h 51"/>
                <a:gd name="T46" fmla="*/ 2147483647 w 99"/>
                <a:gd name="T47" fmla="*/ 2147483647 h 51"/>
                <a:gd name="T48" fmla="*/ 2147483647 w 99"/>
                <a:gd name="T49" fmla="*/ 2147483647 h 51"/>
                <a:gd name="T50" fmla="*/ 2147483647 w 99"/>
                <a:gd name="T51" fmla="*/ 2147483647 h 51"/>
                <a:gd name="T52" fmla="*/ 2147483647 w 99"/>
                <a:gd name="T53" fmla="*/ 2147483647 h 51"/>
                <a:gd name="T54" fmla="*/ 0 w 99"/>
                <a:gd name="T55" fmla="*/ 2147483647 h 51"/>
                <a:gd name="T56" fmla="*/ 2147483647 w 99"/>
                <a:gd name="T57" fmla="*/ 2147483647 h 51"/>
                <a:gd name="T58" fmla="*/ 2147483647 w 99"/>
                <a:gd name="T59" fmla="*/ 2147483647 h 51"/>
                <a:gd name="T60" fmla="*/ 2147483647 w 99"/>
                <a:gd name="T61" fmla="*/ 2147483647 h 51"/>
                <a:gd name="T62" fmla="*/ 2147483647 w 99"/>
                <a:gd name="T63" fmla="*/ 2147483647 h 51"/>
                <a:gd name="T64" fmla="*/ 2147483647 w 99"/>
                <a:gd name="T65" fmla="*/ 2147483647 h 51"/>
                <a:gd name="T66" fmla="*/ 2147483647 w 99"/>
                <a:gd name="T67" fmla="*/ 2147483647 h 51"/>
                <a:gd name="T68" fmla="*/ 2147483647 w 99"/>
                <a:gd name="T69" fmla="*/ 2147483647 h 51"/>
                <a:gd name="T70" fmla="*/ 2147483647 w 99"/>
                <a:gd name="T71" fmla="*/ 2147483647 h 51"/>
                <a:gd name="T72" fmla="*/ 2147483647 w 99"/>
                <a:gd name="T73" fmla="*/ 2147483647 h 51"/>
                <a:gd name="T74" fmla="*/ 2147483647 w 99"/>
                <a:gd name="T75" fmla="*/ 2147483647 h 51"/>
                <a:gd name="T76" fmla="*/ 2147483647 w 99"/>
                <a:gd name="T77" fmla="*/ 2147483647 h 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99" h="51">
                  <a:moveTo>
                    <a:pt x="53" y="2"/>
                  </a:moveTo>
                  <a:lnTo>
                    <a:pt x="58" y="1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69" y="1"/>
                  </a:lnTo>
                  <a:lnTo>
                    <a:pt x="74" y="5"/>
                  </a:lnTo>
                  <a:lnTo>
                    <a:pt x="79" y="11"/>
                  </a:lnTo>
                  <a:lnTo>
                    <a:pt x="83" y="18"/>
                  </a:lnTo>
                  <a:lnTo>
                    <a:pt x="87" y="25"/>
                  </a:lnTo>
                  <a:lnTo>
                    <a:pt x="91" y="28"/>
                  </a:lnTo>
                  <a:lnTo>
                    <a:pt x="93" y="30"/>
                  </a:lnTo>
                  <a:lnTo>
                    <a:pt x="96" y="32"/>
                  </a:lnTo>
                  <a:lnTo>
                    <a:pt x="99" y="34"/>
                  </a:lnTo>
                  <a:lnTo>
                    <a:pt x="99" y="37"/>
                  </a:lnTo>
                  <a:lnTo>
                    <a:pt x="97" y="40"/>
                  </a:lnTo>
                  <a:lnTo>
                    <a:pt x="95" y="43"/>
                  </a:lnTo>
                  <a:lnTo>
                    <a:pt x="91" y="45"/>
                  </a:lnTo>
                  <a:lnTo>
                    <a:pt x="86" y="47"/>
                  </a:lnTo>
                  <a:lnTo>
                    <a:pt x="81" y="48"/>
                  </a:lnTo>
                  <a:lnTo>
                    <a:pt x="74" y="50"/>
                  </a:lnTo>
                  <a:lnTo>
                    <a:pt x="68" y="50"/>
                  </a:lnTo>
                  <a:lnTo>
                    <a:pt x="52" y="51"/>
                  </a:lnTo>
                  <a:lnTo>
                    <a:pt x="36" y="49"/>
                  </a:lnTo>
                  <a:lnTo>
                    <a:pt x="27" y="48"/>
                  </a:lnTo>
                  <a:lnTo>
                    <a:pt x="18" y="45"/>
                  </a:lnTo>
                  <a:lnTo>
                    <a:pt x="9" y="43"/>
                  </a:lnTo>
                  <a:lnTo>
                    <a:pt x="1" y="40"/>
                  </a:lnTo>
                  <a:lnTo>
                    <a:pt x="0" y="39"/>
                  </a:lnTo>
                  <a:lnTo>
                    <a:pt x="1" y="37"/>
                  </a:lnTo>
                  <a:lnTo>
                    <a:pt x="3" y="35"/>
                  </a:lnTo>
                  <a:lnTo>
                    <a:pt x="6" y="33"/>
                  </a:lnTo>
                  <a:lnTo>
                    <a:pt x="14" y="29"/>
                  </a:lnTo>
                  <a:lnTo>
                    <a:pt x="25" y="24"/>
                  </a:lnTo>
                  <a:lnTo>
                    <a:pt x="35" y="19"/>
                  </a:lnTo>
                  <a:lnTo>
                    <a:pt x="45" y="12"/>
                  </a:lnTo>
                  <a:lnTo>
                    <a:pt x="48" y="10"/>
                  </a:lnTo>
                  <a:lnTo>
                    <a:pt x="51" y="7"/>
                  </a:lnTo>
                  <a:lnTo>
                    <a:pt x="52" y="5"/>
                  </a:lnTo>
                  <a:lnTo>
                    <a:pt x="53" y="2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74" name="Freeform 521"/>
            <p:cNvSpPr>
              <a:spLocks/>
            </p:cNvSpPr>
            <p:nvPr>
              <p:custDataLst>
                <p:tags r:id="rId359"/>
              </p:custDataLst>
            </p:nvPr>
          </p:nvSpPr>
          <p:spPr bwMode="auto">
            <a:xfrm>
              <a:off x="7020557" y="1995927"/>
              <a:ext cx="228600" cy="163512"/>
            </a:xfrm>
            <a:custGeom>
              <a:avLst/>
              <a:gdLst>
                <a:gd name="T0" fmla="*/ 2147483647 w 525"/>
                <a:gd name="T1" fmla="*/ 2147483647 h 311"/>
                <a:gd name="T2" fmla="*/ 2147483647 w 525"/>
                <a:gd name="T3" fmla="*/ 2147483647 h 311"/>
                <a:gd name="T4" fmla="*/ 2147483647 w 525"/>
                <a:gd name="T5" fmla="*/ 2147483647 h 311"/>
                <a:gd name="T6" fmla="*/ 2147483647 w 525"/>
                <a:gd name="T7" fmla="*/ 2147483647 h 311"/>
                <a:gd name="T8" fmla="*/ 2147483647 w 525"/>
                <a:gd name="T9" fmla="*/ 2147483647 h 311"/>
                <a:gd name="T10" fmla="*/ 2147483647 w 525"/>
                <a:gd name="T11" fmla="*/ 2147483647 h 311"/>
                <a:gd name="T12" fmla="*/ 2147483647 w 525"/>
                <a:gd name="T13" fmla="*/ 2147483647 h 311"/>
                <a:gd name="T14" fmla="*/ 2147483647 w 525"/>
                <a:gd name="T15" fmla="*/ 2147483647 h 311"/>
                <a:gd name="T16" fmla="*/ 2147483647 w 525"/>
                <a:gd name="T17" fmla="*/ 2147483647 h 311"/>
                <a:gd name="T18" fmla="*/ 2147483647 w 525"/>
                <a:gd name="T19" fmla="*/ 2147483647 h 311"/>
                <a:gd name="T20" fmla="*/ 2147483647 w 525"/>
                <a:gd name="T21" fmla="*/ 2147483647 h 311"/>
                <a:gd name="T22" fmla="*/ 2147483647 w 525"/>
                <a:gd name="T23" fmla="*/ 2147483647 h 311"/>
                <a:gd name="T24" fmla="*/ 2147483647 w 525"/>
                <a:gd name="T25" fmla="*/ 2147483647 h 311"/>
                <a:gd name="T26" fmla="*/ 2147483647 w 525"/>
                <a:gd name="T27" fmla="*/ 2147483647 h 311"/>
                <a:gd name="T28" fmla="*/ 2147483647 w 525"/>
                <a:gd name="T29" fmla="*/ 2147483647 h 311"/>
                <a:gd name="T30" fmla="*/ 2147483647 w 525"/>
                <a:gd name="T31" fmla="*/ 2147483647 h 311"/>
                <a:gd name="T32" fmla="*/ 2147483647 w 525"/>
                <a:gd name="T33" fmla="*/ 2147483647 h 311"/>
                <a:gd name="T34" fmla="*/ 2147483647 w 525"/>
                <a:gd name="T35" fmla="*/ 2147483647 h 311"/>
                <a:gd name="T36" fmla="*/ 2147483647 w 525"/>
                <a:gd name="T37" fmla="*/ 2147483647 h 311"/>
                <a:gd name="T38" fmla="*/ 2147483647 w 525"/>
                <a:gd name="T39" fmla="*/ 2147483647 h 311"/>
                <a:gd name="T40" fmla="*/ 2147483647 w 525"/>
                <a:gd name="T41" fmla="*/ 2147483647 h 311"/>
                <a:gd name="T42" fmla="*/ 2147483647 w 525"/>
                <a:gd name="T43" fmla="*/ 2147483647 h 311"/>
                <a:gd name="T44" fmla="*/ 2147483647 w 525"/>
                <a:gd name="T45" fmla="*/ 2147483647 h 311"/>
                <a:gd name="T46" fmla="*/ 2147483647 w 525"/>
                <a:gd name="T47" fmla="*/ 2147483647 h 311"/>
                <a:gd name="T48" fmla="*/ 2147483647 w 525"/>
                <a:gd name="T49" fmla="*/ 2147483647 h 311"/>
                <a:gd name="T50" fmla="*/ 2147483647 w 525"/>
                <a:gd name="T51" fmla="*/ 2147483647 h 311"/>
                <a:gd name="T52" fmla="*/ 2147483647 w 525"/>
                <a:gd name="T53" fmla="*/ 2147483647 h 311"/>
                <a:gd name="T54" fmla="*/ 2147483647 w 525"/>
                <a:gd name="T55" fmla="*/ 2147483647 h 311"/>
                <a:gd name="T56" fmla="*/ 2147483647 w 525"/>
                <a:gd name="T57" fmla="*/ 2147483647 h 311"/>
                <a:gd name="T58" fmla="*/ 2147483647 w 525"/>
                <a:gd name="T59" fmla="*/ 2147483647 h 311"/>
                <a:gd name="T60" fmla="*/ 2147483647 w 525"/>
                <a:gd name="T61" fmla="*/ 2147483647 h 311"/>
                <a:gd name="T62" fmla="*/ 2147483647 w 525"/>
                <a:gd name="T63" fmla="*/ 2147483647 h 311"/>
                <a:gd name="T64" fmla="*/ 2147483647 w 525"/>
                <a:gd name="T65" fmla="*/ 2147483647 h 311"/>
                <a:gd name="T66" fmla="*/ 2147483647 w 525"/>
                <a:gd name="T67" fmla="*/ 2147483647 h 311"/>
                <a:gd name="T68" fmla="*/ 2147483647 w 525"/>
                <a:gd name="T69" fmla="*/ 2147483647 h 311"/>
                <a:gd name="T70" fmla="*/ 2147483647 w 525"/>
                <a:gd name="T71" fmla="*/ 2147483647 h 311"/>
                <a:gd name="T72" fmla="*/ 2147483647 w 525"/>
                <a:gd name="T73" fmla="*/ 2147483647 h 311"/>
                <a:gd name="T74" fmla="*/ 2147483647 w 525"/>
                <a:gd name="T75" fmla="*/ 2147483647 h 311"/>
                <a:gd name="T76" fmla="*/ 0 w 525"/>
                <a:gd name="T77" fmla="*/ 2147483647 h 311"/>
                <a:gd name="T78" fmla="*/ 2147483647 w 525"/>
                <a:gd name="T79" fmla="*/ 2147483647 h 311"/>
                <a:gd name="T80" fmla="*/ 2147483647 w 525"/>
                <a:gd name="T81" fmla="*/ 2147483647 h 311"/>
                <a:gd name="T82" fmla="*/ 2147483647 w 525"/>
                <a:gd name="T83" fmla="*/ 2147483647 h 311"/>
                <a:gd name="T84" fmla="*/ 2147483647 w 525"/>
                <a:gd name="T85" fmla="*/ 2147483647 h 311"/>
                <a:gd name="T86" fmla="*/ 2147483647 w 525"/>
                <a:gd name="T87" fmla="*/ 2147483647 h 311"/>
                <a:gd name="T88" fmla="*/ 2147483647 w 525"/>
                <a:gd name="T89" fmla="*/ 2147483647 h 311"/>
                <a:gd name="T90" fmla="*/ 2147483647 w 525"/>
                <a:gd name="T91" fmla="*/ 2147483647 h 311"/>
                <a:gd name="T92" fmla="*/ 2147483647 w 525"/>
                <a:gd name="T93" fmla="*/ 2147483647 h 311"/>
                <a:gd name="T94" fmla="*/ 2147483647 w 525"/>
                <a:gd name="T95" fmla="*/ 2147483647 h 311"/>
                <a:gd name="T96" fmla="*/ 2147483647 w 525"/>
                <a:gd name="T97" fmla="*/ 2147483647 h 311"/>
                <a:gd name="T98" fmla="*/ 2147483647 w 525"/>
                <a:gd name="T99" fmla="*/ 2147483647 h 311"/>
                <a:gd name="T100" fmla="*/ 2147483647 w 525"/>
                <a:gd name="T101" fmla="*/ 2147483647 h 311"/>
                <a:gd name="T102" fmla="*/ 2147483647 w 525"/>
                <a:gd name="T103" fmla="*/ 2147483647 h 311"/>
                <a:gd name="T104" fmla="*/ 2147483647 w 525"/>
                <a:gd name="T105" fmla="*/ 2147483647 h 311"/>
                <a:gd name="T106" fmla="*/ 2147483647 w 525"/>
                <a:gd name="T107" fmla="*/ 2147483647 h 311"/>
                <a:gd name="T108" fmla="*/ 2147483647 w 525"/>
                <a:gd name="T109" fmla="*/ 2147483647 h 311"/>
                <a:gd name="T110" fmla="*/ 2147483647 w 525"/>
                <a:gd name="T111" fmla="*/ 2147483647 h 31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525" h="311">
                  <a:moveTo>
                    <a:pt x="273" y="31"/>
                  </a:moveTo>
                  <a:lnTo>
                    <a:pt x="307" y="31"/>
                  </a:lnTo>
                  <a:lnTo>
                    <a:pt x="315" y="27"/>
                  </a:lnTo>
                  <a:lnTo>
                    <a:pt x="324" y="24"/>
                  </a:lnTo>
                  <a:lnTo>
                    <a:pt x="333" y="22"/>
                  </a:lnTo>
                  <a:lnTo>
                    <a:pt x="342" y="21"/>
                  </a:lnTo>
                  <a:lnTo>
                    <a:pt x="359" y="20"/>
                  </a:lnTo>
                  <a:lnTo>
                    <a:pt x="377" y="20"/>
                  </a:lnTo>
                  <a:lnTo>
                    <a:pt x="385" y="20"/>
                  </a:lnTo>
                  <a:lnTo>
                    <a:pt x="393" y="20"/>
                  </a:lnTo>
                  <a:lnTo>
                    <a:pt x="401" y="19"/>
                  </a:lnTo>
                  <a:lnTo>
                    <a:pt x="408" y="17"/>
                  </a:lnTo>
                  <a:lnTo>
                    <a:pt x="415" y="15"/>
                  </a:lnTo>
                  <a:lnTo>
                    <a:pt x="421" y="11"/>
                  </a:lnTo>
                  <a:lnTo>
                    <a:pt x="427" y="7"/>
                  </a:lnTo>
                  <a:lnTo>
                    <a:pt x="433" y="0"/>
                  </a:lnTo>
                  <a:lnTo>
                    <a:pt x="512" y="0"/>
                  </a:lnTo>
                  <a:lnTo>
                    <a:pt x="514" y="6"/>
                  </a:lnTo>
                  <a:lnTo>
                    <a:pt x="519" y="12"/>
                  </a:lnTo>
                  <a:lnTo>
                    <a:pt x="523" y="17"/>
                  </a:lnTo>
                  <a:lnTo>
                    <a:pt x="525" y="19"/>
                  </a:lnTo>
                  <a:lnTo>
                    <a:pt x="511" y="26"/>
                  </a:lnTo>
                  <a:lnTo>
                    <a:pt x="491" y="36"/>
                  </a:lnTo>
                  <a:lnTo>
                    <a:pt x="468" y="47"/>
                  </a:lnTo>
                  <a:lnTo>
                    <a:pt x="443" y="57"/>
                  </a:lnTo>
                  <a:lnTo>
                    <a:pt x="418" y="66"/>
                  </a:lnTo>
                  <a:lnTo>
                    <a:pt x="392" y="73"/>
                  </a:lnTo>
                  <a:lnTo>
                    <a:pt x="379" y="76"/>
                  </a:lnTo>
                  <a:lnTo>
                    <a:pt x="368" y="78"/>
                  </a:lnTo>
                  <a:lnTo>
                    <a:pt x="356" y="80"/>
                  </a:lnTo>
                  <a:lnTo>
                    <a:pt x="346" y="80"/>
                  </a:lnTo>
                  <a:lnTo>
                    <a:pt x="333" y="81"/>
                  </a:lnTo>
                  <a:lnTo>
                    <a:pt x="321" y="83"/>
                  </a:lnTo>
                  <a:lnTo>
                    <a:pt x="309" y="86"/>
                  </a:lnTo>
                  <a:lnTo>
                    <a:pt x="299" y="90"/>
                  </a:lnTo>
                  <a:lnTo>
                    <a:pt x="279" y="101"/>
                  </a:lnTo>
                  <a:lnTo>
                    <a:pt x="262" y="111"/>
                  </a:lnTo>
                  <a:lnTo>
                    <a:pt x="253" y="116"/>
                  </a:lnTo>
                  <a:lnTo>
                    <a:pt x="244" y="121"/>
                  </a:lnTo>
                  <a:lnTo>
                    <a:pt x="235" y="124"/>
                  </a:lnTo>
                  <a:lnTo>
                    <a:pt x="226" y="127"/>
                  </a:lnTo>
                  <a:lnTo>
                    <a:pt x="218" y="129"/>
                  </a:lnTo>
                  <a:lnTo>
                    <a:pt x="208" y="129"/>
                  </a:lnTo>
                  <a:lnTo>
                    <a:pt x="198" y="127"/>
                  </a:lnTo>
                  <a:lnTo>
                    <a:pt x="187" y="123"/>
                  </a:lnTo>
                  <a:lnTo>
                    <a:pt x="186" y="128"/>
                  </a:lnTo>
                  <a:lnTo>
                    <a:pt x="183" y="133"/>
                  </a:lnTo>
                  <a:lnTo>
                    <a:pt x="178" y="137"/>
                  </a:lnTo>
                  <a:lnTo>
                    <a:pt x="174" y="142"/>
                  </a:lnTo>
                  <a:lnTo>
                    <a:pt x="174" y="144"/>
                  </a:lnTo>
                  <a:lnTo>
                    <a:pt x="175" y="145"/>
                  </a:lnTo>
                  <a:lnTo>
                    <a:pt x="177" y="146"/>
                  </a:lnTo>
                  <a:lnTo>
                    <a:pt x="180" y="147"/>
                  </a:lnTo>
                  <a:lnTo>
                    <a:pt x="185" y="148"/>
                  </a:lnTo>
                  <a:lnTo>
                    <a:pt x="187" y="148"/>
                  </a:lnTo>
                  <a:lnTo>
                    <a:pt x="186" y="152"/>
                  </a:lnTo>
                  <a:lnTo>
                    <a:pt x="184" y="157"/>
                  </a:lnTo>
                  <a:lnTo>
                    <a:pt x="181" y="160"/>
                  </a:lnTo>
                  <a:lnTo>
                    <a:pt x="178" y="164"/>
                  </a:lnTo>
                  <a:lnTo>
                    <a:pt x="176" y="167"/>
                  </a:lnTo>
                  <a:lnTo>
                    <a:pt x="175" y="171"/>
                  </a:lnTo>
                  <a:lnTo>
                    <a:pt x="176" y="175"/>
                  </a:lnTo>
                  <a:lnTo>
                    <a:pt x="180" y="179"/>
                  </a:lnTo>
                  <a:lnTo>
                    <a:pt x="175" y="185"/>
                  </a:lnTo>
                  <a:lnTo>
                    <a:pt x="168" y="190"/>
                  </a:lnTo>
                  <a:lnTo>
                    <a:pt x="162" y="194"/>
                  </a:lnTo>
                  <a:lnTo>
                    <a:pt x="155" y="197"/>
                  </a:lnTo>
                  <a:lnTo>
                    <a:pt x="150" y="201"/>
                  </a:lnTo>
                  <a:lnTo>
                    <a:pt x="144" y="204"/>
                  </a:lnTo>
                  <a:lnTo>
                    <a:pt x="143" y="207"/>
                  </a:lnTo>
                  <a:lnTo>
                    <a:pt x="141" y="209"/>
                  </a:lnTo>
                  <a:lnTo>
                    <a:pt x="141" y="213"/>
                  </a:lnTo>
                  <a:lnTo>
                    <a:pt x="140" y="216"/>
                  </a:lnTo>
                  <a:lnTo>
                    <a:pt x="141" y="222"/>
                  </a:lnTo>
                  <a:lnTo>
                    <a:pt x="144" y="228"/>
                  </a:lnTo>
                  <a:lnTo>
                    <a:pt x="149" y="234"/>
                  </a:lnTo>
                  <a:lnTo>
                    <a:pt x="155" y="241"/>
                  </a:lnTo>
                  <a:lnTo>
                    <a:pt x="163" y="247"/>
                  </a:lnTo>
                  <a:lnTo>
                    <a:pt x="172" y="254"/>
                  </a:lnTo>
                  <a:lnTo>
                    <a:pt x="181" y="260"/>
                  </a:lnTo>
                  <a:lnTo>
                    <a:pt x="191" y="267"/>
                  </a:lnTo>
                  <a:lnTo>
                    <a:pt x="213" y="279"/>
                  </a:lnTo>
                  <a:lnTo>
                    <a:pt x="235" y="290"/>
                  </a:lnTo>
                  <a:lnTo>
                    <a:pt x="256" y="300"/>
                  </a:lnTo>
                  <a:lnTo>
                    <a:pt x="273" y="308"/>
                  </a:lnTo>
                  <a:lnTo>
                    <a:pt x="258" y="310"/>
                  </a:lnTo>
                  <a:lnTo>
                    <a:pt x="243" y="311"/>
                  </a:lnTo>
                  <a:lnTo>
                    <a:pt x="229" y="311"/>
                  </a:lnTo>
                  <a:lnTo>
                    <a:pt x="214" y="310"/>
                  </a:lnTo>
                  <a:lnTo>
                    <a:pt x="189" y="309"/>
                  </a:lnTo>
                  <a:lnTo>
                    <a:pt x="167" y="308"/>
                  </a:lnTo>
                  <a:lnTo>
                    <a:pt x="155" y="308"/>
                  </a:lnTo>
                  <a:lnTo>
                    <a:pt x="145" y="308"/>
                  </a:lnTo>
                  <a:lnTo>
                    <a:pt x="138" y="307"/>
                  </a:lnTo>
                  <a:lnTo>
                    <a:pt x="131" y="305"/>
                  </a:lnTo>
                  <a:lnTo>
                    <a:pt x="129" y="304"/>
                  </a:lnTo>
                  <a:lnTo>
                    <a:pt x="127" y="302"/>
                  </a:lnTo>
                  <a:lnTo>
                    <a:pt x="124" y="300"/>
                  </a:lnTo>
                  <a:lnTo>
                    <a:pt x="123" y="298"/>
                  </a:lnTo>
                  <a:lnTo>
                    <a:pt x="121" y="292"/>
                  </a:lnTo>
                  <a:lnTo>
                    <a:pt x="120" y="284"/>
                  </a:lnTo>
                  <a:lnTo>
                    <a:pt x="120" y="282"/>
                  </a:lnTo>
                  <a:lnTo>
                    <a:pt x="119" y="280"/>
                  </a:lnTo>
                  <a:lnTo>
                    <a:pt x="118" y="279"/>
                  </a:lnTo>
                  <a:lnTo>
                    <a:pt x="116" y="278"/>
                  </a:lnTo>
                  <a:lnTo>
                    <a:pt x="111" y="277"/>
                  </a:lnTo>
                  <a:lnTo>
                    <a:pt x="106" y="276"/>
                  </a:lnTo>
                  <a:lnTo>
                    <a:pt x="95" y="277"/>
                  </a:lnTo>
                  <a:lnTo>
                    <a:pt x="87" y="278"/>
                  </a:lnTo>
                  <a:lnTo>
                    <a:pt x="84" y="287"/>
                  </a:lnTo>
                  <a:lnTo>
                    <a:pt x="80" y="296"/>
                  </a:lnTo>
                  <a:lnTo>
                    <a:pt x="66" y="291"/>
                  </a:lnTo>
                  <a:lnTo>
                    <a:pt x="55" y="287"/>
                  </a:lnTo>
                  <a:lnTo>
                    <a:pt x="44" y="282"/>
                  </a:lnTo>
                  <a:lnTo>
                    <a:pt x="35" y="276"/>
                  </a:lnTo>
                  <a:lnTo>
                    <a:pt x="19" y="263"/>
                  </a:lnTo>
                  <a:lnTo>
                    <a:pt x="0" y="246"/>
                  </a:lnTo>
                  <a:lnTo>
                    <a:pt x="8" y="244"/>
                  </a:lnTo>
                  <a:lnTo>
                    <a:pt x="13" y="242"/>
                  </a:lnTo>
                  <a:lnTo>
                    <a:pt x="18" y="239"/>
                  </a:lnTo>
                  <a:lnTo>
                    <a:pt x="22" y="237"/>
                  </a:lnTo>
                  <a:lnTo>
                    <a:pt x="29" y="230"/>
                  </a:lnTo>
                  <a:lnTo>
                    <a:pt x="34" y="222"/>
                  </a:lnTo>
                  <a:lnTo>
                    <a:pt x="31" y="219"/>
                  </a:lnTo>
                  <a:lnTo>
                    <a:pt x="29" y="216"/>
                  </a:lnTo>
                  <a:lnTo>
                    <a:pt x="28" y="213"/>
                  </a:lnTo>
                  <a:lnTo>
                    <a:pt x="28" y="211"/>
                  </a:lnTo>
                  <a:lnTo>
                    <a:pt x="30" y="205"/>
                  </a:lnTo>
                  <a:lnTo>
                    <a:pt x="34" y="200"/>
                  </a:lnTo>
                  <a:lnTo>
                    <a:pt x="38" y="196"/>
                  </a:lnTo>
                  <a:lnTo>
                    <a:pt x="40" y="191"/>
                  </a:lnTo>
                  <a:lnTo>
                    <a:pt x="40" y="188"/>
                  </a:lnTo>
                  <a:lnTo>
                    <a:pt x="39" y="185"/>
                  </a:lnTo>
                  <a:lnTo>
                    <a:pt x="37" y="182"/>
                  </a:lnTo>
                  <a:lnTo>
                    <a:pt x="34" y="179"/>
                  </a:lnTo>
                  <a:lnTo>
                    <a:pt x="73" y="179"/>
                  </a:lnTo>
                  <a:lnTo>
                    <a:pt x="106" y="179"/>
                  </a:lnTo>
                  <a:lnTo>
                    <a:pt x="134" y="179"/>
                  </a:lnTo>
                  <a:lnTo>
                    <a:pt x="167" y="179"/>
                  </a:lnTo>
                  <a:lnTo>
                    <a:pt x="147" y="178"/>
                  </a:lnTo>
                  <a:lnTo>
                    <a:pt x="131" y="177"/>
                  </a:lnTo>
                  <a:lnTo>
                    <a:pt x="117" y="174"/>
                  </a:lnTo>
                  <a:lnTo>
                    <a:pt x="102" y="171"/>
                  </a:lnTo>
                  <a:lnTo>
                    <a:pt x="90" y="166"/>
                  </a:lnTo>
                  <a:lnTo>
                    <a:pt x="78" y="161"/>
                  </a:lnTo>
                  <a:lnTo>
                    <a:pt x="66" y="155"/>
                  </a:lnTo>
                  <a:lnTo>
                    <a:pt x="54" y="148"/>
                  </a:lnTo>
                  <a:lnTo>
                    <a:pt x="65" y="143"/>
                  </a:lnTo>
                  <a:lnTo>
                    <a:pt x="75" y="139"/>
                  </a:lnTo>
                  <a:lnTo>
                    <a:pt x="84" y="134"/>
                  </a:lnTo>
                  <a:lnTo>
                    <a:pt x="91" y="130"/>
                  </a:lnTo>
                  <a:lnTo>
                    <a:pt x="106" y="120"/>
                  </a:lnTo>
                  <a:lnTo>
                    <a:pt x="120" y="111"/>
                  </a:lnTo>
                  <a:lnTo>
                    <a:pt x="118" y="110"/>
                  </a:lnTo>
                  <a:lnTo>
                    <a:pt x="115" y="108"/>
                  </a:lnTo>
                  <a:lnTo>
                    <a:pt x="111" y="103"/>
                  </a:lnTo>
                  <a:lnTo>
                    <a:pt x="108" y="99"/>
                  </a:lnTo>
                  <a:lnTo>
                    <a:pt x="102" y="87"/>
                  </a:lnTo>
                  <a:lnTo>
                    <a:pt x="100" y="80"/>
                  </a:lnTo>
                  <a:lnTo>
                    <a:pt x="108" y="80"/>
                  </a:lnTo>
                  <a:lnTo>
                    <a:pt x="117" y="78"/>
                  </a:lnTo>
                  <a:lnTo>
                    <a:pt x="127" y="76"/>
                  </a:lnTo>
                  <a:lnTo>
                    <a:pt x="138" y="73"/>
                  </a:lnTo>
                  <a:lnTo>
                    <a:pt x="161" y="66"/>
                  </a:lnTo>
                  <a:lnTo>
                    <a:pt x="184" y="58"/>
                  </a:lnTo>
                  <a:lnTo>
                    <a:pt x="209" y="50"/>
                  </a:lnTo>
                  <a:lnTo>
                    <a:pt x="232" y="41"/>
                  </a:lnTo>
                  <a:lnTo>
                    <a:pt x="254" y="35"/>
                  </a:lnTo>
                  <a:lnTo>
                    <a:pt x="273" y="31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434" name="Freeform 522"/>
            <p:cNvSpPr>
              <a:spLocks/>
            </p:cNvSpPr>
            <p:nvPr>
              <p:custDataLst>
                <p:tags r:id="rId360"/>
              </p:custDataLst>
            </p:nvPr>
          </p:nvSpPr>
          <p:spPr bwMode="auto">
            <a:xfrm>
              <a:off x="6813219" y="2307594"/>
              <a:ext cx="31919" cy="55664"/>
            </a:xfrm>
            <a:custGeom>
              <a:avLst/>
              <a:gdLst>
                <a:gd name="T0" fmla="*/ 46 w 79"/>
                <a:gd name="T1" fmla="*/ 0 h 38"/>
                <a:gd name="T2" fmla="*/ 54 w 79"/>
                <a:gd name="T3" fmla="*/ 1 h 38"/>
                <a:gd name="T4" fmla="*/ 62 w 79"/>
                <a:gd name="T5" fmla="*/ 3 h 38"/>
                <a:gd name="T6" fmla="*/ 68 w 79"/>
                <a:gd name="T7" fmla="*/ 7 h 38"/>
                <a:gd name="T8" fmla="*/ 72 w 79"/>
                <a:gd name="T9" fmla="*/ 12 h 38"/>
                <a:gd name="T10" fmla="*/ 75 w 79"/>
                <a:gd name="T11" fmla="*/ 17 h 38"/>
                <a:gd name="T12" fmla="*/ 77 w 79"/>
                <a:gd name="T13" fmla="*/ 22 h 38"/>
                <a:gd name="T14" fmla="*/ 79 w 79"/>
                <a:gd name="T15" fmla="*/ 27 h 38"/>
                <a:gd name="T16" fmla="*/ 79 w 79"/>
                <a:gd name="T17" fmla="*/ 32 h 38"/>
                <a:gd name="T18" fmla="*/ 77 w 79"/>
                <a:gd name="T19" fmla="*/ 34 h 38"/>
                <a:gd name="T20" fmla="*/ 75 w 79"/>
                <a:gd name="T21" fmla="*/ 35 h 38"/>
                <a:gd name="T22" fmla="*/ 72 w 79"/>
                <a:gd name="T23" fmla="*/ 36 h 38"/>
                <a:gd name="T24" fmla="*/ 68 w 79"/>
                <a:gd name="T25" fmla="*/ 37 h 38"/>
                <a:gd name="T26" fmla="*/ 57 w 79"/>
                <a:gd name="T27" fmla="*/ 38 h 38"/>
                <a:gd name="T28" fmla="*/ 46 w 79"/>
                <a:gd name="T29" fmla="*/ 38 h 38"/>
                <a:gd name="T30" fmla="*/ 38 w 79"/>
                <a:gd name="T31" fmla="*/ 37 h 38"/>
                <a:gd name="T32" fmla="*/ 30 w 79"/>
                <a:gd name="T33" fmla="*/ 36 h 38"/>
                <a:gd name="T34" fmla="*/ 21 w 79"/>
                <a:gd name="T35" fmla="*/ 35 h 38"/>
                <a:gd name="T36" fmla="*/ 15 w 79"/>
                <a:gd name="T37" fmla="*/ 32 h 38"/>
                <a:gd name="T38" fmla="*/ 8 w 79"/>
                <a:gd name="T39" fmla="*/ 29 h 38"/>
                <a:gd name="T40" fmla="*/ 4 w 79"/>
                <a:gd name="T41" fmla="*/ 25 h 38"/>
                <a:gd name="T42" fmla="*/ 2 w 79"/>
                <a:gd name="T43" fmla="*/ 22 h 38"/>
                <a:gd name="T44" fmla="*/ 1 w 79"/>
                <a:gd name="T45" fmla="*/ 20 h 38"/>
                <a:gd name="T46" fmla="*/ 0 w 79"/>
                <a:gd name="T47" fmla="*/ 17 h 38"/>
                <a:gd name="T48" fmla="*/ 0 w 79"/>
                <a:gd name="T49" fmla="*/ 13 h 38"/>
                <a:gd name="T50" fmla="*/ 1 w 79"/>
                <a:gd name="T51" fmla="*/ 11 h 38"/>
                <a:gd name="T52" fmla="*/ 4 w 79"/>
                <a:gd name="T53" fmla="*/ 9 h 38"/>
                <a:gd name="T54" fmla="*/ 10 w 79"/>
                <a:gd name="T55" fmla="*/ 6 h 38"/>
                <a:gd name="T56" fmla="*/ 17 w 79"/>
                <a:gd name="T57" fmla="*/ 4 h 38"/>
                <a:gd name="T58" fmla="*/ 32 w 79"/>
                <a:gd name="T59" fmla="*/ 1 h 38"/>
                <a:gd name="T60" fmla="*/ 46 w 79"/>
                <a:gd name="T6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9" h="38">
                  <a:moveTo>
                    <a:pt x="46" y="0"/>
                  </a:moveTo>
                  <a:lnTo>
                    <a:pt x="54" y="1"/>
                  </a:lnTo>
                  <a:lnTo>
                    <a:pt x="62" y="3"/>
                  </a:lnTo>
                  <a:lnTo>
                    <a:pt x="68" y="7"/>
                  </a:lnTo>
                  <a:lnTo>
                    <a:pt x="72" y="12"/>
                  </a:lnTo>
                  <a:lnTo>
                    <a:pt x="75" y="17"/>
                  </a:lnTo>
                  <a:lnTo>
                    <a:pt x="77" y="22"/>
                  </a:lnTo>
                  <a:lnTo>
                    <a:pt x="79" y="27"/>
                  </a:lnTo>
                  <a:lnTo>
                    <a:pt x="79" y="32"/>
                  </a:lnTo>
                  <a:lnTo>
                    <a:pt x="77" y="34"/>
                  </a:lnTo>
                  <a:lnTo>
                    <a:pt x="75" y="35"/>
                  </a:lnTo>
                  <a:lnTo>
                    <a:pt x="72" y="36"/>
                  </a:lnTo>
                  <a:lnTo>
                    <a:pt x="68" y="37"/>
                  </a:lnTo>
                  <a:lnTo>
                    <a:pt x="57" y="38"/>
                  </a:lnTo>
                  <a:lnTo>
                    <a:pt x="46" y="38"/>
                  </a:lnTo>
                  <a:lnTo>
                    <a:pt x="38" y="37"/>
                  </a:lnTo>
                  <a:lnTo>
                    <a:pt x="30" y="36"/>
                  </a:lnTo>
                  <a:lnTo>
                    <a:pt x="21" y="35"/>
                  </a:lnTo>
                  <a:lnTo>
                    <a:pt x="15" y="32"/>
                  </a:lnTo>
                  <a:lnTo>
                    <a:pt x="8" y="29"/>
                  </a:lnTo>
                  <a:lnTo>
                    <a:pt x="4" y="25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0" y="17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4" y="9"/>
                  </a:lnTo>
                  <a:lnTo>
                    <a:pt x="10" y="6"/>
                  </a:lnTo>
                  <a:lnTo>
                    <a:pt x="17" y="4"/>
                  </a:lnTo>
                  <a:lnTo>
                    <a:pt x="32" y="1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76" name="Freeform 523"/>
            <p:cNvSpPr>
              <a:spLocks/>
            </p:cNvSpPr>
            <p:nvPr>
              <p:custDataLst>
                <p:tags r:id="rId361"/>
              </p:custDataLst>
            </p:nvPr>
          </p:nvSpPr>
          <p:spPr bwMode="auto">
            <a:xfrm>
              <a:off x="9117644" y="2603939"/>
              <a:ext cx="196850" cy="268288"/>
            </a:xfrm>
            <a:custGeom>
              <a:avLst/>
              <a:gdLst>
                <a:gd name="T0" fmla="*/ 2147483647 w 459"/>
                <a:gd name="T1" fmla="*/ 2147483647 h 511"/>
                <a:gd name="T2" fmla="*/ 2147483647 w 459"/>
                <a:gd name="T3" fmla="*/ 2147483647 h 511"/>
                <a:gd name="T4" fmla="*/ 0 w 459"/>
                <a:gd name="T5" fmla="*/ 0 h 511"/>
                <a:gd name="T6" fmla="*/ 2147483647 w 459"/>
                <a:gd name="T7" fmla="*/ 2147483647 h 511"/>
                <a:gd name="T8" fmla="*/ 2147483647 w 459"/>
                <a:gd name="T9" fmla="*/ 2147483647 h 511"/>
                <a:gd name="T10" fmla="*/ 2147483647 w 459"/>
                <a:gd name="T11" fmla="*/ 2147483647 h 511"/>
                <a:gd name="T12" fmla="*/ 2147483647 w 459"/>
                <a:gd name="T13" fmla="*/ 2147483647 h 511"/>
                <a:gd name="T14" fmla="*/ 2147483647 w 459"/>
                <a:gd name="T15" fmla="*/ 2147483647 h 511"/>
                <a:gd name="T16" fmla="*/ 2147483647 w 459"/>
                <a:gd name="T17" fmla="*/ 2147483647 h 511"/>
                <a:gd name="T18" fmla="*/ 2147483647 w 459"/>
                <a:gd name="T19" fmla="*/ 2147483647 h 511"/>
                <a:gd name="T20" fmla="*/ 2147483647 w 459"/>
                <a:gd name="T21" fmla="*/ 2147483647 h 511"/>
                <a:gd name="T22" fmla="*/ 2147483647 w 459"/>
                <a:gd name="T23" fmla="*/ 2147483647 h 511"/>
                <a:gd name="T24" fmla="*/ 2147483647 w 459"/>
                <a:gd name="T25" fmla="*/ 2147483647 h 511"/>
                <a:gd name="T26" fmla="*/ 2147483647 w 459"/>
                <a:gd name="T27" fmla="*/ 2147483647 h 511"/>
                <a:gd name="T28" fmla="*/ 2147483647 w 459"/>
                <a:gd name="T29" fmla="*/ 2147483647 h 511"/>
                <a:gd name="T30" fmla="*/ 2147483647 w 459"/>
                <a:gd name="T31" fmla="*/ 2147483647 h 511"/>
                <a:gd name="T32" fmla="*/ 2147483647 w 459"/>
                <a:gd name="T33" fmla="*/ 2147483647 h 511"/>
                <a:gd name="T34" fmla="*/ 2147483647 w 459"/>
                <a:gd name="T35" fmla="*/ 2147483647 h 511"/>
                <a:gd name="T36" fmla="*/ 2147483647 w 459"/>
                <a:gd name="T37" fmla="*/ 2147483647 h 511"/>
                <a:gd name="T38" fmla="*/ 2147483647 w 459"/>
                <a:gd name="T39" fmla="*/ 2147483647 h 511"/>
                <a:gd name="T40" fmla="*/ 2147483647 w 459"/>
                <a:gd name="T41" fmla="*/ 2147483647 h 511"/>
                <a:gd name="T42" fmla="*/ 2147483647 w 459"/>
                <a:gd name="T43" fmla="*/ 2147483647 h 511"/>
                <a:gd name="T44" fmla="*/ 2147483647 w 459"/>
                <a:gd name="T45" fmla="*/ 2147483647 h 511"/>
                <a:gd name="T46" fmla="*/ 2147483647 w 459"/>
                <a:gd name="T47" fmla="*/ 2147483647 h 511"/>
                <a:gd name="T48" fmla="*/ 2147483647 w 459"/>
                <a:gd name="T49" fmla="*/ 2147483647 h 511"/>
                <a:gd name="T50" fmla="*/ 2147483647 w 459"/>
                <a:gd name="T51" fmla="*/ 2147483647 h 511"/>
                <a:gd name="T52" fmla="*/ 2147483647 w 459"/>
                <a:gd name="T53" fmla="*/ 2147483647 h 511"/>
                <a:gd name="T54" fmla="*/ 2147483647 w 459"/>
                <a:gd name="T55" fmla="*/ 2147483647 h 511"/>
                <a:gd name="T56" fmla="*/ 2147483647 w 459"/>
                <a:gd name="T57" fmla="*/ 2147483647 h 511"/>
                <a:gd name="T58" fmla="*/ 2147483647 w 459"/>
                <a:gd name="T59" fmla="*/ 2147483647 h 511"/>
                <a:gd name="T60" fmla="*/ 2147483647 w 459"/>
                <a:gd name="T61" fmla="*/ 2147483647 h 511"/>
                <a:gd name="T62" fmla="*/ 2147483647 w 459"/>
                <a:gd name="T63" fmla="*/ 2147483647 h 511"/>
                <a:gd name="T64" fmla="*/ 2147483647 w 459"/>
                <a:gd name="T65" fmla="*/ 2147483647 h 511"/>
                <a:gd name="T66" fmla="*/ 2147483647 w 459"/>
                <a:gd name="T67" fmla="*/ 2147483647 h 511"/>
                <a:gd name="T68" fmla="*/ 2147483647 w 459"/>
                <a:gd name="T69" fmla="*/ 2147483647 h 511"/>
                <a:gd name="T70" fmla="*/ 2147483647 w 459"/>
                <a:gd name="T71" fmla="*/ 2147483647 h 511"/>
                <a:gd name="T72" fmla="*/ 2147483647 w 459"/>
                <a:gd name="T73" fmla="*/ 2147483647 h 511"/>
                <a:gd name="T74" fmla="*/ 2147483647 w 459"/>
                <a:gd name="T75" fmla="*/ 2147483647 h 511"/>
                <a:gd name="T76" fmla="*/ 2147483647 w 459"/>
                <a:gd name="T77" fmla="*/ 2147483647 h 511"/>
                <a:gd name="T78" fmla="*/ 2147483647 w 459"/>
                <a:gd name="T79" fmla="*/ 2147483647 h 511"/>
                <a:gd name="T80" fmla="*/ 2147483647 w 459"/>
                <a:gd name="T81" fmla="*/ 2147483647 h 511"/>
                <a:gd name="T82" fmla="*/ 2147483647 w 459"/>
                <a:gd name="T83" fmla="*/ 2147483647 h 511"/>
                <a:gd name="T84" fmla="*/ 2147483647 w 459"/>
                <a:gd name="T85" fmla="*/ 2147483647 h 511"/>
                <a:gd name="T86" fmla="*/ 2147483647 w 459"/>
                <a:gd name="T87" fmla="*/ 2147483647 h 511"/>
                <a:gd name="T88" fmla="*/ 2147483647 w 459"/>
                <a:gd name="T89" fmla="*/ 2147483647 h 511"/>
                <a:gd name="T90" fmla="*/ 2147483647 w 459"/>
                <a:gd name="T91" fmla="*/ 2147483647 h 511"/>
                <a:gd name="T92" fmla="*/ 2147483647 w 459"/>
                <a:gd name="T93" fmla="*/ 2147483647 h 51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459" h="511">
                  <a:moveTo>
                    <a:pt x="33" y="68"/>
                  </a:moveTo>
                  <a:lnTo>
                    <a:pt x="29" y="56"/>
                  </a:lnTo>
                  <a:lnTo>
                    <a:pt x="26" y="45"/>
                  </a:lnTo>
                  <a:lnTo>
                    <a:pt x="22" y="38"/>
                  </a:lnTo>
                  <a:lnTo>
                    <a:pt x="16" y="31"/>
                  </a:lnTo>
                  <a:lnTo>
                    <a:pt x="12" y="25"/>
                  </a:lnTo>
                  <a:lnTo>
                    <a:pt x="6" y="18"/>
                  </a:lnTo>
                  <a:lnTo>
                    <a:pt x="3" y="10"/>
                  </a:lnTo>
                  <a:lnTo>
                    <a:pt x="0" y="0"/>
                  </a:lnTo>
                  <a:lnTo>
                    <a:pt x="6" y="2"/>
                  </a:lnTo>
                  <a:lnTo>
                    <a:pt x="16" y="5"/>
                  </a:lnTo>
                  <a:lnTo>
                    <a:pt x="22" y="7"/>
                  </a:lnTo>
                  <a:lnTo>
                    <a:pt x="26" y="8"/>
                  </a:lnTo>
                  <a:lnTo>
                    <a:pt x="29" y="8"/>
                  </a:lnTo>
                  <a:lnTo>
                    <a:pt x="33" y="6"/>
                  </a:lnTo>
                  <a:lnTo>
                    <a:pt x="59" y="31"/>
                  </a:lnTo>
                  <a:lnTo>
                    <a:pt x="80" y="50"/>
                  </a:lnTo>
                  <a:lnTo>
                    <a:pt x="95" y="67"/>
                  </a:lnTo>
                  <a:lnTo>
                    <a:pt x="107" y="80"/>
                  </a:lnTo>
                  <a:lnTo>
                    <a:pt x="125" y="102"/>
                  </a:lnTo>
                  <a:lnTo>
                    <a:pt x="146" y="123"/>
                  </a:lnTo>
                  <a:lnTo>
                    <a:pt x="172" y="149"/>
                  </a:lnTo>
                  <a:lnTo>
                    <a:pt x="195" y="175"/>
                  </a:lnTo>
                  <a:lnTo>
                    <a:pt x="216" y="198"/>
                  </a:lnTo>
                  <a:lnTo>
                    <a:pt x="239" y="222"/>
                  </a:lnTo>
                  <a:lnTo>
                    <a:pt x="248" y="230"/>
                  </a:lnTo>
                  <a:lnTo>
                    <a:pt x="258" y="237"/>
                  </a:lnTo>
                  <a:lnTo>
                    <a:pt x="269" y="245"/>
                  </a:lnTo>
                  <a:lnTo>
                    <a:pt x="280" y="252"/>
                  </a:lnTo>
                  <a:lnTo>
                    <a:pt x="303" y="266"/>
                  </a:lnTo>
                  <a:lnTo>
                    <a:pt x="327" y="281"/>
                  </a:lnTo>
                  <a:lnTo>
                    <a:pt x="350" y="295"/>
                  </a:lnTo>
                  <a:lnTo>
                    <a:pt x="372" y="311"/>
                  </a:lnTo>
                  <a:lnTo>
                    <a:pt x="382" y="318"/>
                  </a:lnTo>
                  <a:lnTo>
                    <a:pt x="391" y="327"/>
                  </a:lnTo>
                  <a:lnTo>
                    <a:pt x="398" y="336"/>
                  </a:lnTo>
                  <a:lnTo>
                    <a:pt x="405" y="345"/>
                  </a:lnTo>
                  <a:lnTo>
                    <a:pt x="387" y="334"/>
                  </a:lnTo>
                  <a:lnTo>
                    <a:pt x="365" y="320"/>
                  </a:lnTo>
                  <a:lnTo>
                    <a:pt x="343" y="306"/>
                  </a:lnTo>
                  <a:lnTo>
                    <a:pt x="326" y="295"/>
                  </a:lnTo>
                  <a:lnTo>
                    <a:pt x="324" y="296"/>
                  </a:lnTo>
                  <a:lnTo>
                    <a:pt x="318" y="296"/>
                  </a:lnTo>
                  <a:lnTo>
                    <a:pt x="316" y="297"/>
                  </a:lnTo>
                  <a:lnTo>
                    <a:pt x="314" y="298"/>
                  </a:lnTo>
                  <a:lnTo>
                    <a:pt x="313" y="300"/>
                  </a:lnTo>
                  <a:lnTo>
                    <a:pt x="311" y="301"/>
                  </a:lnTo>
                  <a:lnTo>
                    <a:pt x="313" y="311"/>
                  </a:lnTo>
                  <a:lnTo>
                    <a:pt x="313" y="320"/>
                  </a:lnTo>
                  <a:lnTo>
                    <a:pt x="315" y="328"/>
                  </a:lnTo>
                  <a:lnTo>
                    <a:pt x="317" y="337"/>
                  </a:lnTo>
                  <a:lnTo>
                    <a:pt x="319" y="344"/>
                  </a:lnTo>
                  <a:lnTo>
                    <a:pt x="322" y="351"/>
                  </a:lnTo>
                  <a:lnTo>
                    <a:pt x="326" y="358"/>
                  </a:lnTo>
                  <a:lnTo>
                    <a:pt x="329" y="364"/>
                  </a:lnTo>
                  <a:lnTo>
                    <a:pt x="338" y="375"/>
                  </a:lnTo>
                  <a:lnTo>
                    <a:pt x="348" y="387"/>
                  </a:lnTo>
                  <a:lnTo>
                    <a:pt x="359" y="396"/>
                  </a:lnTo>
                  <a:lnTo>
                    <a:pt x="370" y="405"/>
                  </a:lnTo>
                  <a:lnTo>
                    <a:pt x="394" y="421"/>
                  </a:lnTo>
                  <a:lnTo>
                    <a:pt x="418" y="438"/>
                  </a:lnTo>
                  <a:lnTo>
                    <a:pt x="430" y="448"/>
                  </a:lnTo>
                  <a:lnTo>
                    <a:pt x="440" y="458"/>
                  </a:lnTo>
                  <a:lnTo>
                    <a:pt x="450" y="468"/>
                  </a:lnTo>
                  <a:lnTo>
                    <a:pt x="459" y="480"/>
                  </a:lnTo>
                  <a:lnTo>
                    <a:pt x="448" y="476"/>
                  </a:lnTo>
                  <a:lnTo>
                    <a:pt x="437" y="473"/>
                  </a:lnTo>
                  <a:lnTo>
                    <a:pt x="432" y="471"/>
                  </a:lnTo>
                  <a:lnTo>
                    <a:pt x="428" y="469"/>
                  </a:lnTo>
                  <a:lnTo>
                    <a:pt x="426" y="466"/>
                  </a:lnTo>
                  <a:lnTo>
                    <a:pt x="425" y="462"/>
                  </a:lnTo>
                  <a:lnTo>
                    <a:pt x="392" y="462"/>
                  </a:lnTo>
                  <a:lnTo>
                    <a:pt x="392" y="475"/>
                  </a:lnTo>
                  <a:lnTo>
                    <a:pt x="393" y="488"/>
                  </a:lnTo>
                  <a:lnTo>
                    <a:pt x="393" y="494"/>
                  </a:lnTo>
                  <a:lnTo>
                    <a:pt x="395" y="501"/>
                  </a:lnTo>
                  <a:lnTo>
                    <a:pt x="396" y="506"/>
                  </a:lnTo>
                  <a:lnTo>
                    <a:pt x="398" y="511"/>
                  </a:lnTo>
                  <a:lnTo>
                    <a:pt x="395" y="505"/>
                  </a:lnTo>
                  <a:lnTo>
                    <a:pt x="392" y="498"/>
                  </a:lnTo>
                  <a:lnTo>
                    <a:pt x="388" y="492"/>
                  </a:lnTo>
                  <a:lnTo>
                    <a:pt x="383" y="486"/>
                  </a:lnTo>
                  <a:lnTo>
                    <a:pt x="374" y="476"/>
                  </a:lnTo>
                  <a:lnTo>
                    <a:pt x="363" y="466"/>
                  </a:lnTo>
                  <a:lnTo>
                    <a:pt x="354" y="458"/>
                  </a:lnTo>
                  <a:lnTo>
                    <a:pt x="346" y="449"/>
                  </a:lnTo>
                  <a:lnTo>
                    <a:pt x="343" y="445"/>
                  </a:lnTo>
                  <a:lnTo>
                    <a:pt x="340" y="439"/>
                  </a:lnTo>
                  <a:lnTo>
                    <a:pt x="339" y="435"/>
                  </a:lnTo>
                  <a:lnTo>
                    <a:pt x="339" y="431"/>
                  </a:lnTo>
                  <a:lnTo>
                    <a:pt x="337" y="425"/>
                  </a:lnTo>
                  <a:lnTo>
                    <a:pt x="333" y="419"/>
                  </a:lnTo>
                  <a:lnTo>
                    <a:pt x="328" y="411"/>
                  </a:lnTo>
                  <a:lnTo>
                    <a:pt x="321" y="403"/>
                  </a:lnTo>
                  <a:lnTo>
                    <a:pt x="316" y="394"/>
                  </a:lnTo>
                  <a:lnTo>
                    <a:pt x="310" y="384"/>
                  </a:lnTo>
                  <a:lnTo>
                    <a:pt x="307" y="376"/>
                  </a:lnTo>
                  <a:lnTo>
                    <a:pt x="305" y="369"/>
                  </a:lnTo>
                  <a:lnTo>
                    <a:pt x="298" y="367"/>
                  </a:lnTo>
                  <a:lnTo>
                    <a:pt x="292" y="365"/>
                  </a:lnTo>
                  <a:lnTo>
                    <a:pt x="285" y="362"/>
                  </a:lnTo>
                  <a:lnTo>
                    <a:pt x="280" y="358"/>
                  </a:lnTo>
                  <a:lnTo>
                    <a:pt x="274" y="353"/>
                  </a:lnTo>
                  <a:lnTo>
                    <a:pt x="269" y="348"/>
                  </a:lnTo>
                  <a:lnTo>
                    <a:pt x="264" y="343"/>
                  </a:lnTo>
                  <a:lnTo>
                    <a:pt x="261" y="337"/>
                  </a:lnTo>
                  <a:lnTo>
                    <a:pt x="254" y="325"/>
                  </a:lnTo>
                  <a:lnTo>
                    <a:pt x="249" y="314"/>
                  </a:lnTo>
                  <a:lnTo>
                    <a:pt x="247" y="304"/>
                  </a:lnTo>
                  <a:lnTo>
                    <a:pt x="246" y="295"/>
                  </a:lnTo>
                  <a:lnTo>
                    <a:pt x="245" y="293"/>
                  </a:lnTo>
                  <a:lnTo>
                    <a:pt x="242" y="289"/>
                  </a:lnTo>
                  <a:lnTo>
                    <a:pt x="239" y="285"/>
                  </a:lnTo>
                  <a:lnTo>
                    <a:pt x="234" y="281"/>
                  </a:lnTo>
                  <a:lnTo>
                    <a:pt x="221" y="269"/>
                  </a:lnTo>
                  <a:lnTo>
                    <a:pt x="208" y="257"/>
                  </a:lnTo>
                  <a:lnTo>
                    <a:pt x="194" y="244"/>
                  </a:lnTo>
                  <a:lnTo>
                    <a:pt x="181" y="232"/>
                  </a:lnTo>
                  <a:lnTo>
                    <a:pt x="175" y="226"/>
                  </a:lnTo>
                  <a:lnTo>
                    <a:pt x="171" y="220"/>
                  </a:lnTo>
                  <a:lnTo>
                    <a:pt x="168" y="214"/>
                  </a:lnTo>
                  <a:lnTo>
                    <a:pt x="165" y="209"/>
                  </a:lnTo>
                  <a:lnTo>
                    <a:pt x="163" y="203"/>
                  </a:lnTo>
                  <a:lnTo>
                    <a:pt x="161" y="197"/>
                  </a:lnTo>
                  <a:lnTo>
                    <a:pt x="158" y="192"/>
                  </a:lnTo>
                  <a:lnTo>
                    <a:pt x="154" y="187"/>
                  </a:lnTo>
                  <a:lnTo>
                    <a:pt x="146" y="178"/>
                  </a:lnTo>
                  <a:lnTo>
                    <a:pt x="137" y="170"/>
                  </a:lnTo>
                  <a:lnTo>
                    <a:pt x="115" y="155"/>
                  </a:lnTo>
                  <a:lnTo>
                    <a:pt x="92" y="143"/>
                  </a:lnTo>
                  <a:lnTo>
                    <a:pt x="81" y="136"/>
                  </a:lnTo>
                  <a:lnTo>
                    <a:pt x="70" y="130"/>
                  </a:lnTo>
                  <a:lnTo>
                    <a:pt x="60" y="122"/>
                  </a:lnTo>
                  <a:lnTo>
                    <a:pt x="51" y="114"/>
                  </a:lnTo>
                  <a:lnTo>
                    <a:pt x="47" y="110"/>
                  </a:lnTo>
                  <a:lnTo>
                    <a:pt x="44" y="104"/>
                  </a:lnTo>
                  <a:lnTo>
                    <a:pt x="40" y="99"/>
                  </a:lnTo>
                  <a:lnTo>
                    <a:pt x="38" y="93"/>
                  </a:lnTo>
                  <a:lnTo>
                    <a:pt x="36" y="88"/>
                  </a:lnTo>
                  <a:lnTo>
                    <a:pt x="34" y="81"/>
                  </a:lnTo>
                  <a:lnTo>
                    <a:pt x="34" y="75"/>
                  </a:lnTo>
                  <a:lnTo>
                    <a:pt x="33" y="68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25977" name="Group 524"/>
            <p:cNvGrpSpPr>
              <a:grpSpLocks/>
            </p:cNvGrpSpPr>
            <p:nvPr>
              <p:custDataLst>
                <p:tags r:id="rId362"/>
              </p:custDataLst>
            </p:nvPr>
          </p:nvGrpSpPr>
          <p:grpSpPr bwMode="auto">
            <a:xfrm>
              <a:off x="7907969" y="2559489"/>
              <a:ext cx="671513" cy="384175"/>
              <a:chOff x="4115" y="1551"/>
              <a:chExt cx="504" cy="244"/>
            </a:xfrm>
          </p:grpSpPr>
          <p:sp>
            <p:nvSpPr>
              <p:cNvPr id="25997" name="Freeform 525"/>
              <p:cNvSpPr>
                <a:spLocks/>
              </p:cNvSpPr>
              <p:nvPr/>
            </p:nvSpPr>
            <p:spPr bwMode="auto">
              <a:xfrm>
                <a:off x="4540" y="1551"/>
                <a:ext cx="79" cy="86"/>
              </a:xfrm>
              <a:custGeom>
                <a:avLst/>
                <a:gdLst>
                  <a:gd name="T0" fmla="*/ 0 w 240"/>
                  <a:gd name="T1" fmla="*/ 0 h 259"/>
                  <a:gd name="T2" fmla="*/ 0 w 240"/>
                  <a:gd name="T3" fmla="*/ 0 h 259"/>
                  <a:gd name="T4" fmla="*/ 0 w 240"/>
                  <a:gd name="T5" fmla="*/ 0 h 259"/>
                  <a:gd name="T6" fmla="*/ 0 w 240"/>
                  <a:gd name="T7" fmla="*/ 0 h 259"/>
                  <a:gd name="T8" fmla="*/ 0 w 240"/>
                  <a:gd name="T9" fmla="*/ 0 h 259"/>
                  <a:gd name="T10" fmla="*/ 0 w 240"/>
                  <a:gd name="T11" fmla="*/ 0 h 259"/>
                  <a:gd name="T12" fmla="*/ 0 w 240"/>
                  <a:gd name="T13" fmla="*/ 0 h 259"/>
                  <a:gd name="T14" fmla="*/ 0 w 240"/>
                  <a:gd name="T15" fmla="*/ 0 h 259"/>
                  <a:gd name="T16" fmla="*/ 0 w 240"/>
                  <a:gd name="T17" fmla="*/ 0 h 259"/>
                  <a:gd name="T18" fmla="*/ 0 w 240"/>
                  <a:gd name="T19" fmla="*/ 0 h 259"/>
                  <a:gd name="T20" fmla="*/ 0 w 240"/>
                  <a:gd name="T21" fmla="*/ 0 h 259"/>
                  <a:gd name="T22" fmla="*/ 0 w 240"/>
                  <a:gd name="T23" fmla="*/ 0 h 259"/>
                  <a:gd name="T24" fmla="*/ 0 w 240"/>
                  <a:gd name="T25" fmla="*/ 0 h 259"/>
                  <a:gd name="T26" fmla="*/ 0 w 240"/>
                  <a:gd name="T27" fmla="*/ 0 h 259"/>
                  <a:gd name="T28" fmla="*/ 0 w 240"/>
                  <a:gd name="T29" fmla="*/ 0 h 259"/>
                  <a:gd name="T30" fmla="*/ 0 w 240"/>
                  <a:gd name="T31" fmla="*/ 0 h 259"/>
                  <a:gd name="T32" fmla="*/ 0 w 240"/>
                  <a:gd name="T33" fmla="*/ 0 h 2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40" h="259">
                    <a:moveTo>
                      <a:pt x="13" y="247"/>
                    </a:moveTo>
                    <a:lnTo>
                      <a:pt x="79" y="259"/>
                    </a:lnTo>
                    <a:lnTo>
                      <a:pt x="120" y="240"/>
                    </a:lnTo>
                    <a:lnTo>
                      <a:pt x="133" y="210"/>
                    </a:lnTo>
                    <a:lnTo>
                      <a:pt x="192" y="161"/>
                    </a:lnTo>
                    <a:lnTo>
                      <a:pt x="212" y="111"/>
                    </a:lnTo>
                    <a:lnTo>
                      <a:pt x="240" y="26"/>
                    </a:lnTo>
                    <a:lnTo>
                      <a:pt x="212" y="0"/>
                    </a:lnTo>
                    <a:lnTo>
                      <a:pt x="206" y="32"/>
                    </a:lnTo>
                    <a:lnTo>
                      <a:pt x="199" y="74"/>
                    </a:lnTo>
                    <a:lnTo>
                      <a:pt x="166" y="105"/>
                    </a:lnTo>
                    <a:lnTo>
                      <a:pt x="133" y="149"/>
                    </a:lnTo>
                    <a:lnTo>
                      <a:pt x="113" y="179"/>
                    </a:lnTo>
                    <a:lnTo>
                      <a:pt x="93" y="216"/>
                    </a:lnTo>
                    <a:lnTo>
                      <a:pt x="20" y="222"/>
                    </a:lnTo>
                    <a:lnTo>
                      <a:pt x="0" y="222"/>
                    </a:lnTo>
                    <a:lnTo>
                      <a:pt x="13" y="247"/>
                    </a:lnTo>
                  </a:path>
                </a:pathLst>
              </a:custGeom>
              <a:solidFill>
                <a:srgbClr val="FF00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  <p:sp>
            <p:nvSpPr>
              <p:cNvPr id="25998" name="Freeform 526"/>
              <p:cNvSpPr>
                <a:spLocks/>
              </p:cNvSpPr>
              <p:nvPr/>
            </p:nvSpPr>
            <p:spPr bwMode="auto">
              <a:xfrm>
                <a:off x="4115" y="1761"/>
                <a:ext cx="84" cy="34"/>
              </a:xfrm>
              <a:custGeom>
                <a:avLst/>
                <a:gdLst>
                  <a:gd name="T0" fmla="*/ 0 w 259"/>
                  <a:gd name="T1" fmla="*/ 0 h 104"/>
                  <a:gd name="T2" fmla="*/ 0 w 259"/>
                  <a:gd name="T3" fmla="*/ 0 h 104"/>
                  <a:gd name="T4" fmla="*/ 0 w 259"/>
                  <a:gd name="T5" fmla="*/ 0 h 104"/>
                  <a:gd name="T6" fmla="*/ 0 w 259"/>
                  <a:gd name="T7" fmla="*/ 0 h 104"/>
                  <a:gd name="T8" fmla="*/ 0 w 259"/>
                  <a:gd name="T9" fmla="*/ 0 h 104"/>
                  <a:gd name="T10" fmla="*/ 0 w 259"/>
                  <a:gd name="T11" fmla="*/ 0 h 104"/>
                  <a:gd name="T12" fmla="*/ 0 w 259"/>
                  <a:gd name="T13" fmla="*/ 0 h 104"/>
                  <a:gd name="T14" fmla="*/ 0 w 259"/>
                  <a:gd name="T15" fmla="*/ 0 h 104"/>
                  <a:gd name="T16" fmla="*/ 0 w 259"/>
                  <a:gd name="T17" fmla="*/ 0 h 104"/>
                  <a:gd name="T18" fmla="*/ 0 w 259"/>
                  <a:gd name="T19" fmla="*/ 0 h 104"/>
                  <a:gd name="T20" fmla="*/ 0 w 259"/>
                  <a:gd name="T21" fmla="*/ 0 h 104"/>
                  <a:gd name="T22" fmla="*/ 0 w 259"/>
                  <a:gd name="T23" fmla="*/ 0 h 104"/>
                  <a:gd name="T24" fmla="*/ 0 w 259"/>
                  <a:gd name="T25" fmla="*/ 0 h 104"/>
                  <a:gd name="T26" fmla="*/ 0 w 259"/>
                  <a:gd name="T27" fmla="*/ 0 h 104"/>
                  <a:gd name="T28" fmla="*/ 0 w 259"/>
                  <a:gd name="T29" fmla="*/ 0 h 104"/>
                  <a:gd name="T30" fmla="*/ 0 w 259"/>
                  <a:gd name="T31" fmla="*/ 0 h 104"/>
                  <a:gd name="T32" fmla="*/ 0 w 259"/>
                  <a:gd name="T33" fmla="*/ 0 h 10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259" h="104">
                    <a:moveTo>
                      <a:pt x="33" y="104"/>
                    </a:moveTo>
                    <a:lnTo>
                      <a:pt x="26" y="86"/>
                    </a:lnTo>
                    <a:lnTo>
                      <a:pt x="52" y="62"/>
                    </a:lnTo>
                    <a:lnTo>
                      <a:pt x="72" y="49"/>
                    </a:lnTo>
                    <a:lnTo>
                      <a:pt x="126" y="43"/>
                    </a:lnTo>
                    <a:lnTo>
                      <a:pt x="172" y="43"/>
                    </a:lnTo>
                    <a:lnTo>
                      <a:pt x="246" y="31"/>
                    </a:lnTo>
                    <a:lnTo>
                      <a:pt x="259" y="7"/>
                    </a:lnTo>
                    <a:lnTo>
                      <a:pt x="246" y="0"/>
                    </a:lnTo>
                    <a:lnTo>
                      <a:pt x="205" y="13"/>
                    </a:lnTo>
                    <a:lnTo>
                      <a:pt x="152" y="7"/>
                    </a:lnTo>
                    <a:lnTo>
                      <a:pt x="106" y="13"/>
                    </a:lnTo>
                    <a:lnTo>
                      <a:pt x="52" y="19"/>
                    </a:lnTo>
                    <a:lnTo>
                      <a:pt x="26" y="43"/>
                    </a:lnTo>
                    <a:lnTo>
                      <a:pt x="0" y="68"/>
                    </a:lnTo>
                    <a:lnTo>
                      <a:pt x="0" y="104"/>
                    </a:lnTo>
                    <a:lnTo>
                      <a:pt x="33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ES"/>
              </a:p>
            </p:txBody>
          </p:sp>
        </p:grpSp>
        <p:sp>
          <p:nvSpPr>
            <p:cNvPr id="25978" name="Freeform 527"/>
            <p:cNvSpPr>
              <a:spLocks/>
            </p:cNvSpPr>
            <p:nvPr>
              <p:custDataLst>
                <p:tags r:id="rId363"/>
              </p:custDataLst>
            </p:nvPr>
          </p:nvSpPr>
          <p:spPr bwMode="auto">
            <a:xfrm>
              <a:off x="6964994" y="3308789"/>
              <a:ext cx="530225" cy="511175"/>
            </a:xfrm>
            <a:custGeom>
              <a:avLst/>
              <a:gdLst>
                <a:gd name="T0" fmla="*/ 2147483647 w 1227"/>
                <a:gd name="T1" fmla="*/ 2147483647 h 979"/>
                <a:gd name="T2" fmla="*/ 2147483647 w 1227"/>
                <a:gd name="T3" fmla="*/ 2147483647 h 979"/>
                <a:gd name="T4" fmla="*/ 2147483647 w 1227"/>
                <a:gd name="T5" fmla="*/ 2147483647 h 979"/>
                <a:gd name="T6" fmla="*/ 2147483647 w 1227"/>
                <a:gd name="T7" fmla="*/ 2147483647 h 979"/>
                <a:gd name="T8" fmla="*/ 2147483647 w 1227"/>
                <a:gd name="T9" fmla="*/ 2147483647 h 979"/>
                <a:gd name="T10" fmla="*/ 2147483647 w 1227"/>
                <a:gd name="T11" fmla="*/ 2147483647 h 979"/>
                <a:gd name="T12" fmla="*/ 2147483647 w 1227"/>
                <a:gd name="T13" fmla="*/ 2147483647 h 979"/>
                <a:gd name="T14" fmla="*/ 2147483647 w 1227"/>
                <a:gd name="T15" fmla="*/ 2147483647 h 979"/>
                <a:gd name="T16" fmla="*/ 2147483647 w 1227"/>
                <a:gd name="T17" fmla="*/ 2147483647 h 979"/>
                <a:gd name="T18" fmla="*/ 2147483647 w 1227"/>
                <a:gd name="T19" fmla="*/ 2147483647 h 979"/>
                <a:gd name="T20" fmla="*/ 2147483647 w 1227"/>
                <a:gd name="T21" fmla="*/ 2147483647 h 979"/>
                <a:gd name="T22" fmla="*/ 2147483647 w 1227"/>
                <a:gd name="T23" fmla="*/ 2147483647 h 979"/>
                <a:gd name="T24" fmla="*/ 2147483647 w 1227"/>
                <a:gd name="T25" fmla="*/ 2147483647 h 979"/>
                <a:gd name="T26" fmla="*/ 2147483647 w 1227"/>
                <a:gd name="T27" fmla="*/ 2147483647 h 979"/>
                <a:gd name="T28" fmla="*/ 2147483647 w 1227"/>
                <a:gd name="T29" fmla="*/ 2147483647 h 979"/>
                <a:gd name="T30" fmla="*/ 2147483647 w 1227"/>
                <a:gd name="T31" fmla="*/ 2147483647 h 979"/>
                <a:gd name="T32" fmla="*/ 2147483647 w 1227"/>
                <a:gd name="T33" fmla="*/ 2147483647 h 979"/>
                <a:gd name="T34" fmla="*/ 2147483647 w 1227"/>
                <a:gd name="T35" fmla="*/ 2147483647 h 979"/>
                <a:gd name="T36" fmla="*/ 2147483647 w 1227"/>
                <a:gd name="T37" fmla="*/ 2147483647 h 979"/>
                <a:gd name="T38" fmla="*/ 2147483647 w 1227"/>
                <a:gd name="T39" fmla="*/ 2147483647 h 979"/>
                <a:gd name="T40" fmla="*/ 2147483647 w 1227"/>
                <a:gd name="T41" fmla="*/ 2147483647 h 979"/>
                <a:gd name="T42" fmla="*/ 2147483647 w 1227"/>
                <a:gd name="T43" fmla="*/ 2147483647 h 979"/>
                <a:gd name="T44" fmla="*/ 2147483647 w 1227"/>
                <a:gd name="T45" fmla="*/ 2147483647 h 979"/>
                <a:gd name="T46" fmla="*/ 2147483647 w 1227"/>
                <a:gd name="T47" fmla="*/ 2147483647 h 979"/>
                <a:gd name="T48" fmla="*/ 2147483647 w 1227"/>
                <a:gd name="T49" fmla="*/ 2147483647 h 979"/>
                <a:gd name="T50" fmla="*/ 2147483647 w 1227"/>
                <a:gd name="T51" fmla="*/ 2147483647 h 979"/>
                <a:gd name="T52" fmla="*/ 2147483647 w 1227"/>
                <a:gd name="T53" fmla="*/ 2147483647 h 979"/>
                <a:gd name="T54" fmla="*/ 2147483647 w 1227"/>
                <a:gd name="T55" fmla="*/ 2147483647 h 979"/>
                <a:gd name="T56" fmla="*/ 2147483647 w 1227"/>
                <a:gd name="T57" fmla="*/ 2147483647 h 979"/>
                <a:gd name="T58" fmla="*/ 0 w 1227"/>
                <a:gd name="T59" fmla="*/ 2147483647 h 979"/>
                <a:gd name="T60" fmla="*/ 2147483647 w 1227"/>
                <a:gd name="T61" fmla="*/ 2147483647 h 979"/>
                <a:gd name="T62" fmla="*/ 2147483647 w 1227"/>
                <a:gd name="T63" fmla="*/ 2147483647 h 979"/>
                <a:gd name="T64" fmla="*/ 2147483647 w 1227"/>
                <a:gd name="T65" fmla="*/ 2147483647 h 979"/>
                <a:gd name="T66" fmla="*/ 2147483647 w 1227"/>
                <a:gd name="T67" fmla="*/ 2147483647 h 979"/>
                <a:gd name="T68" fmla="*/ 2147483647 w 1227"/>
                <a:gd name="T69" fmla="*/ 2147483647 h 979"/>
                <a:gd name="T70" fmla="*/ 2147483647 w 1227"/>
                <a:gd name="T71" fmla="*/ 2147483647 h 979"/>
                <a:gd name="T72" fmla="*/ 2147483647 w 1227"/>
                <a:gd name="T73" fmla="*/ 2147483647 h 979"/>
                <a:gd name="T74" fmla="*/ 2147483647 w 1227"/>
                <a:gd name="T75" fmla="*/ 2147483647 h 979"/>
                <a:gd name="T76" fmla="*/ 2147483647 w 1227"/>
                <a:gd name="T77" fmla="*/ 2147483647 h 979"/>
                <a:gd name="T78" fmla="*/ 2147483647 w 1227"/>
                <a:gd name="T79" fmla="*/ 2147483647 h 979"/>
                <a:gd name="T80" fmla="*/ 2147483647 w 1227"/>
                <a:gd name="T81" fmla="*/ 2147483647 h 979"/>
                <a:gd name="T82" fmla="*/ 2147483647 w 1227"/>
                <a:gd name="T83" fmla="*/ 2147483647 h 979"/>
                <a:gd name="T84" fmla="*/ 2147483647 w 1227"/>
                <a:gd name="T85" fmla="*/ 2147483647 h 979"/>
                <a:gd name="T86" fmla="*/ 2147483647 w 1227"/>
                <a:gd name="T87" fmla="*/ 2147483647 h 979"/>
                <a:gd name="T88" fmla="*/ 2147483647 w 1227"/>
                <a:gd name="T89" fmla="*/ 2147483647 h 979"/>
                <a:gd name="T90" fmla="*/ 2147483647 w 1227"/>
                <a:gd name="T91" fmla="*/ 2147483647 h 979"/>
                <a:gd name="T92" fmla="*/ 2147483647 w 1227"/>
                <a:gd name="T93" fmla="*/ 2147483647 h 979"/>
                <a:gd name="T94" fmla="*/ 2147483647 w 1227"/>
                <a:gd name="T95" fmla="*/ 2147483647 h 979"/>
                <a:gd name="T96" fmla="*/ 2147483647 w 1227"/>
                <a:gd name="T97" fmla="*/ 2147483647 h 979"/>
                <a:gd name="T98" fmla="*/ 2147483647 w 1227"/>
                <a:gd name="T99" fmla="*/ 2147483647 h 979"/>
                <a:gd name="T100" fmla="*/ 2147483647 w 1227"/>
                <a:gd name="T101" fmla="*/ 2147483647 h 979"/>
                <a:gd name="T102" fmla="*/ 2147483647 w 1227"/>
                <a:gd name="T103" fmla="*/ 2147483647 h 979"/>
                <a:gd name="T104" fmla="*/ 2147483647 w 1227"/>
                <a:gd name="T105" fmla="*/ 2147483647 h 979"/>
                <a:gd name="T106" fmla="*/ 2147483647 w 1227"/>
                <a:gd name="T107" fmla="*/ 2147483647 h 979"/>
                <a:gd name="T108" fmla="*/ 2147483647 w 1227"/>
                <a:gd name="T109" fmla="*/ 2147483647 h 979"/>
                <a:gd name="T110" fmla="*/ 2147483647 w 1227"/>
                <a:gd name="T111" fmla="*/ 2147483647 h 979"/>
                <a:gd name="T112" fmla="*/ 2147483647 w 1227"/>
                <a:gd name="T113" fmla="*/ 2147483647 h 979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1227" h="979">
                  <a:moveTo>
                    <a:pt x="940" y="468"/>
                  </a:moveTo>
                  <a:lnTo>
                    <a:pt x="937" y="468"/>
                  </a:lnTo>
                  <a:lnTo>
                    <a:pt x="935" y="467"/>
                  </a:lnTo>
                  <a:lnTo>
                    <a:pt x="932" y="466"/>
                  </a:lnTo>
                  <a:lnTo>
                    <a:pt x="931" y="465"/>
                  </a:lnTo>
                  <a:lnTo>
                    <a:pt x="930" y="461"/>
                  </a:lnTo>
                  <a:lnTo>
                    <a:pt x="930" y="456"/>
                  </a:lnTo>
                  <a:lnTo>
                    <a:pt x="932" y="442"/>
                  </a:lnTo>
                  <a:lnTo>
                    <a:pt x="933" y="425"/>
                  </a:lnTo>
                  <a:lnTo>
                    <a:pt x="933" y="420"/>
                  </a:lnTo>
                  <a:lnTo>
                    <a:pt x="932" y="416"/>
                  </a:lnTo>
                  <a:lnTo>
                    <a:pt x="930" y="412"/>
                  </a:lnTo>
                  <a:lnTo>
                    <a:pt x="928" y="407"/>
                  </a:lnTo>
                  <a:lnTo>
                    <a:pt x="921" y="400"/>
                  </a:lnTo>
                  <a:lnTo>
                    <a:pt x="915" y="392"/>
                  </a:lnTo>
                  <a:lnTo>
                    <a:pt x="908" y="385"/>
                  </a:lnTo>
                  <a:lnTo>
                    <a:pt x="903" y="378"/>
                  </a:lnTo>
                  <a:lnTo>
                    <a:pt x="902" y="373"/>
                  </a:lnTo>
                  <a:lnTo>
                    <a:pt x="901" y="370"/>
                  </a:lnTo>
                  <a:lnTo>
                    <a:pt x="899" y="367"/>
                  </a:lnTo>
                  <a:lnTo>
                    <a:pt x="901" y="363"/>
                  </a:lnTo>
                  <a:lnTo>
                    <a:pt x="865" y="344"/>
                  </a:lnTo>
                  <a:lnTo>
                    <a:pt x="838" y="328"/>
                  </a:lnTo>
                  <a:lnTo>
                    <a:pt x="817" y="312"/>
                  </a:lnTo>
                  <a:lnTo>
                    <a:pt x="801" y="300"/>
                  </a:lnTo>
                  <a:lnTo>
                    <a:pt x="779" y="280"/>
                  </a:lnTo>
                  <a:lnTo>
                    <a:pt x="761" y="264"/>
                  </a:lnTo>
                  <a:lnTo>
                    <a:pt x="759" y="263"/>
                  </a:lnTo>
                  <a:lnTo>
                    <a:pt x="757" y="258"/>
                  </a:lnTo>
                  <a:lnTo>
                    <a:pt x="756" y="252"/>
                  </a:lnTo>
                  <a:lnTo>
                    <a:pt x="754" y="245"/>
                  </a:lnTo>
                  <a:lnTo>
                    <a:pt x="752" y="229"/>
                  </a:lnTo>
                  <a:lnTo>
                    <a:pt x="748" y="216"/>
                  </a:lnTo>
                  <a:lnTo>
                    <a:pt x="740" y="218"/>
                  </a:lnTo>
                  <a:lnTo>
                    <a:pt x="733" y="218"/>
                  </a:lnTo>
                  <a:lnTo>
                    <a:pt x="726" y="218"/>
                  </a:lnTo>
                  <a:lnTo>
                    <a:pt x="718" y="217"/>
                  </a:lnTo>
                  <a:lnTo>
                    <a:pt x="711" y="215"/>
                  </a:lnTo>
                  <a:lnTo>
                    <a:pt x="703" y="212"/>
                  </a:lnTo>
                  <a:lnTo>
                    <a:pt x="695" y="207"/>
                  </a:lnTo>
                  <a:lnTo>
                    <a:pt x="688" y="203"/>
                  </a:lnTo>
                  <a:lnTo>
                    <a:pt x="667" y="199"/>
                  </a:lnTo>
                  <a:lnTo>
                    <a:pt x="650" y="197"/>
                  </a:lnTo>
                  <a:lnTo>
                    <a:pt x="638" y="196"/>
                  </a:lnTo>
                  <a:lnTo>
                    <a:pt x="630" y="196"/>
                  </a:lnTo>
                  <a:lnTo>
                    <a:pt x="617" y="199"/>
                  </a:lnTo>
                  <a:lnTo>
                    <a:pt x="602" y="203"/>
                  </a:lnTo>
                  <a:lnTo>
                    <a:pt x="596" y="201"/>
                  </a:lnTo>
                  <a:lnTo>
                    <a:pt x="591" y="201"/>
                  </a:lnTo>
                  <a:lnTo>
                    <a:pt x="584" y="202"/>
                  </a:lnTo>
                  <a:lnTo>
                    <a:pt x="578" y="203"/>
                  </a:lnTo>
                  <a:lnTo>
                    <a:pt x="570" y="204"/>
                  </a:lnTo>
                  <a:lnTo>
                    <a:pt x="563" y="205"/>
                  </a:lnTo>
                  <a:lnTo>
                    <a:pt x="556" y="204"/>
                  </a:lnTo>
                  <a:lnTo>
                    <a:pt x="548" y="203"/>
                  </a:lnTo>
                  <a:lnTo>
                    <a:pt x="530" y="195"/>
                  </a:lnTo>
                  <a:lnTo>
                    <a:pt x="517" y="190"/>
                  </a:lnTo>
                  <a:lnTo>
                    <a:pt x="513" y="187"/>
                  </a:lnTo>
                  <a:lnTo>
                    <a:pt x="509" y="183"/>
                  </a:lnTo>
                  <a:lnTo>
                    <a:pt x="505" y="179"/>
                  </a:lnTo>
                  <a:lnTo>
                    <a:pt x="502" y="173"/>
                  </a:lnTo>
                  <a:lnTo>
                    <a:pt x="493" y="152"/>
                  </a:lnTo>
                  <a:lnTo>
                    <a:pt x="487" y="136"/>
                  </a:lnTo>
                  <a:lnTo>
                    <a:pt x="483" y="128"/>
                  </a:lnTo>
                  <a:lnTo>
                    <a:pt x="479" y="121"/>
                  </a:lnTo>
                  <a:lnTo>
                    <a:pt x="476" y="115"/>
                  </a:lnTo>
                  <a:lnTo>
                    <a:pt x="470" y="109"/>
                  </a:lnTo>
                  <a:lnTo>
                    <a:pt x="465" y="103"/>
                  </a:lnTo>
                  <a:lnTo>
                    <a:pt x="459" y="96"/>
                  </a:lnTo>
                  <a:lnTo>
                    <a:pt x="451" y="91"/>
                  </a:lnTo>
                  <a:lnTo>
                    <a:pt x="443" y="86"/>
                  </a:lnTo>
                  <a:lnTo>
                    <a:pt x="432" y="81"/>
                  </a:lnTo>
                  <a:lnTo>
                    <a:pt x="420" y="77"/>
                  </a:lnTo>
                  <a:lnTo>
                    <a:pt x="405" y="72"/>
                  </a:lnTo>
                  <a:lnTo>
                    <a:pt x="389" y="68"/>
                  </a:lnTo>
                  <a:lnTo>
                    <a:pt x="365" y="61"/>
                  </a:lnTo>
                  <a:lnTo>
                    <a:pt x="346" y="55"/>
                  </a:lnTo>
                  <a:lnTo>
                    <a:pt x="332" y="48"/>
                  </a:lnTo>
                  <a:lnTo>
                    <a:pt x="317" y="40"/>
                  </a:lnTo>
                  <a:lnTo>
                    <a:pt x="303" y="32"/>
                  </a:lnTo>
                  <a:lnTo>
                    <a:pt x="287" y="23"/>
                  </a:lnTo>
                  <a:lnTo>
                    <a:pt x="265" y="13"/>
                  </a:lnTo>
                  <a:lnTo>
                    <a:pt x="236" y="0"/>
                  </a:lnTo>
                  <a:lnTo>
                    <a:pt x="214" y="10"/>
                  </a:lnTo>
                  <a:lnTo>
                    <a:pt x="186" y="24"/>
                  </a:lnTo>
                  <a:lnTo>
                    <a:pt x="178" y="28"/>
                  </a:lnTo>
                  <a:lnTo>
                    <a:pt x="171" y="33"/>
                  </a:lnTo>
                  <a:lnTo>
                    <a:pt x="166" y="38"/>
                  </a:lnTo>
                  <a:lnTo>
                    <a:pt x="160" y="44"/>
                  </a:lnTo>
                  <a:lnTo>
                    <a:pt x="156" y="49"/>
                  </a:lnTo>
                  <a:lnTo>
                    <a:pt x="153" y="55"/>
                  </a:lnTo>
                  <a:lnTo>
                    <a:pt x="151" y="61"/>
                  </a:lnTo>
                  <a:lnTo>
                    <a:pt x="149" y="68"/>
                  </a:lnTo>
                  <a:lnTo>
                    <a:pt x="151" y="75"/>
                  </a:lnTo>
                  <a:lnTo>
                    <a:pt x="152" y="82"/>
                  </a:lnTo>
                  <a:lnTo>
                    <a:pt x="153" y="90"/>
                  </a:lnTo>
                  <a:lnTo>
                    <a:pt x="156" y="97"/>
                  </a:lnTo>
                  <a:lnTo>
                    <a:pt x="159" y="105"/>
                  </a:lnTo>
                  <a:lnTo>
                    <a:pt x="164" y="112"/>
                  </a:lnTo>
                  <a:lnTo>
                    <a:pt x="169" y="118"/>
                  </a:lnTo>
                  <a:lnTo>
                    <a:pt x="177" y="123"/>
                  </a:lnTo>
                  <a:lnTo>
                    <a:pt x="171" y="129"/>
                  </a:lnTo>
                  <a:lnTo>
                    <a:pt x="163" y="139"/>
                  </a:lnTo>
                  <a:lnTo>
                    <a:pt x="151" y="150"/>
                  </a:lnTo>
                  <a:lnTo>
                    <a:pt x="136" y="162"/>
                  </a:lnTo>
                  <a:lnTo>
                    <a:pt x="120" y="173"/>
                  </a:lnTo>
                  <a:lnTo>
                    <a:pt x="102" y="182"/>
                  </a:lnTo>
                  <a:lnTo>
                    <a:pt x="95" y="186"/>
                  </a:lnTo>
                  <a:lnTo>
                    <a:pt x="86" y="188"/>
                  </a:lnTo>
                  <a:lnTo>
                    <a:pt x="78" y="190"/>
                  </a:lnTo>
                  <a:lnTo>
                    <a:pt x="70" y="191"/>
                  </a:lnTo>
                  <a:lnTo>
                    <a:pt x="54" y="190"/>
                  </a:lnTo>
                  <a:lnTo>
                    <a:pt x="37" y="187"/>
                  </a:lnTo>
                  <a:lnTo>
                    <a:pt x="22" y="183"/>
                  </a:lnTo>
                  <a:lnTo>
                    <a:pt x="10" y="179"/>
                  </a:lnTo>
                  <a:lnTo>
                    <a:pt x="9" y="183"/>
                  </a:lnTo>
                  <a:lnTo>
                    <a:pt x="6" y="193"/>
                  </a:lnTo>
                  <a:lnTo>
                    <a:pt x="2" y="208"/>
                  </a:lnTo>
                  <a:lnTo>
                    <a:pt x="0" y="226"/>
                  </a:lnTo>
                  <a:lnTo>
                    <a:pt x="0" y="236"/>
                  </a:lnTo>
                  <a:lnTo>
                    <a:pt x="0" y="245"/>
                  </a:lnTo>
                  <a:lnTo>
                    <a:pt x="2" y="253"/>
                  </a:lnTo>
                  <a:lnTo>
                    <a:pt x="5" y="261"/>
                  </a:lnTo>
                  <a:lnTo>
                    <a:pt x="9" y="269"/>
                  </a:lnTo>
                  <a:lnTo>
                    <a:pt x="14" y="276"/>
                  </a:lnTo>
                  <a:lnTo>
                    <a:pt x="18" y="278"/>
                  </a:lnTo>
                  <a:lnTo>
                    <a:pt x="21" y="280"/>
                  </a:lnTo>
                  <a:lnTo>
                    <a:pt x="25" y="282"/>
                  </a:lnTo>
                  <a:lnTo>
                    <a:pt x="30" y="283"/>
                  </a:lnTo>
                  <a:lnTo>
                    <a:pt x="32" y="291"/>
                  </a:lnTo>
                  <a:lnTo>
                    <a:pt x="35" y="299"/>
                  </a:lnTo>
                  <a:lnTo>
                    <a:pt x="40" y="307"/>
                  </a:lnTo>
                  <a:lnTo>
                    <a:pt x="44" y="315"/>
                  </a:lnTo>
                  <a:lnTo>
                    <a:pt x="56" y="331"/>
                  </a:lnTo>
                  <a:lnTo>
                    <a:pt x="69" y="347"/>
                  </a:lnTo>
                  <a:lnTo>
                    <a:pt x="83" y="364"/>
                  </a:lnTo>
                  <a:lnTo>
                    <a:pt x="92" y="383"/>
                  </a:lnTo>
                  <a:lnTo>
                    <a:pt x="97" y="393"/>
                  </a:lnTo>
                  <a:lnTo>
                    <a:pt x="100" y="403"/>
                  </a:lnTo>
                  <a:lnTo>
                    <a:pt x="102" y="414"/>
                  </a:lnTo>
                  <a:lnTo>
                    <a:pt x="103" y="425"/>
                  </a:lnTo>
                  <a:lnTo>
                    <a:pt x="110" y="425"/>
                  </a:lnTo>
                  <a:lnTo>
                    <a:pt x="117" y="426"/>
                  </a:lnTo>
                  <a:lnTo>
                    <a:pt x="121" y="427"/>
                  </a:lnTo>
                  <a:lnTo>
                    <a:pt x="124" y="429"/>
                  </a:lnTo>
                  <a:lnTo>
                    <a:pt x="128" y="431"/>
                  </a:lnTo>
                  <a:lnTo>
                    <a:pt x="131" y="435"/>
                  </a:lnTo>
                  <a:lnTo>
                    <a:pt x="133" y="438"/>
                  </a:lnTo>
                  <a:lnTo>
                    <a:pt x="135" y="441"/>
                  </a:lnTo>
                  <a:lnTo>
                    <a:pt x="139" y="450"/>
                  </a:lnTo>
                  <a:lnTo>
                    <a:pt x="143" y="459"/>
                  </a:lnTo>
                  <a:lnTo>
                    <a:pt x="148" y="469"/>
                  </a:lnTo>
                  <a:lnTo>
                    <a:pt x="156" y="480"/>
                  </a:lnTo>
                  <a:lnTo>
                    <a:pt x="184" y="504"/>
                  </a:lnTo>
                  <a:lnTo>
                    <a:pt x="216" y="536"/>
                  </a:lnTo>
                  <a:lnTo>
                    <a:pt x="224" y="546"/>
                  </a:lnTo>
                  <a:lnTo>
                    <a:pt x="232" y="556"/>
                  </a:lnTo>
                  <a:lnTo>
                    <a:pt x="238" y="565"/>
                  </a:lnTo>
                  <a:lnTo>
                    <a:pt x="244" y="575"/>
                  </a:lnTo>
                  <a:lnTo>
                    <a:pt x="249" y="585"/>
                  </a:lnTo>
                  <a:lnTo>
                    <a:pt x="253" y="595"/>
                  </a:lnTo>
                  <a:lnTo>
                    <a:pt x="255" y="606"/>
                  </a:lnTo>
                  <a:lnTo>
                    <a:pt x="256" y="616"/>
                  </a:lnTo>
                  <a:lnTo>
                    <a:pt x="256" y="624"/>
                  </a:lnTo>
                  <a:lnTo>
                    <a:pt x="257" y="631"/>
                  </a:lnTo>
                  <a:lnTo>
                    <a:pt x="258" y="638"/>
                  </a:lnTo>
                  <a:lnTo>
                    <a:pt x="260" y="645"/>
                  </a:lnTo>
                  <a:lnTo>
                    <a:pt x="266" y="659"/>
                  </a:lnTo>
                  <a:lnTo>
                    <a:pt x="272" y="670"/>
                  </a:lnTo>
                  <a:lnTo>
                    <a:pt x="280" y="681"/>
                  </a:lnTo>
                  <a:lnTo>
                    <a:pt x="289" y="691"/>
                  </a:lnTo>
                  <a:lnTo>
                    <a:pt x="299" y="701"/>
                  </a:lnTo>
                  <a:lnTo>
                    <a:pt x="310" y="710"/>
                  </a:lnTo>
                  <a:lnTo>
                    <a:pt x="331" y="730"/>
                  </a:lnTo>
                  <a:lnTo>
                    <a:pt x="352" y="750"/>
                  </a:lnTo>
                  <a:lnTo>
                    <a:pt x="361" y="761"/>
                  </a:lnTo>
                  <a:lnTo>
                    <a:pt x="369" y="774"/>
                  </a:lnTo>
                  <a:lnTo>
                    <a:pt x="377" y="787"/>
                  </a:lnTo>
                  <a:lnTo>
                    <a:pt x="382" y="801"/>
                  </a:lnTo>
                  <a:lnTo>
                    <a:pt x="388" y="814"/>
                  </a:lnTo>
                  <a:lnTo>
                    <a:pt x="394" y="827"/>
                  </a:lnTo>
                  <a:lnTo>
                    <a:pt x="401" y="838"/>
                  </a:lnTo>
                  <a:lnTo>
                    <a:pt x="409" y="848"/>
                  </a:lnTo>
                  <a:lnTo>
                    <a:pt x="425" y="867"/>
                  </a:lnTo>
                  <a:lnTo>
                    <a:pt x="443" y="886"/>
                  </a:lnTo>
                  <a:lnTo>
                    <a:pt x="459" y="905"/>
                  </a:lnTo>
                  <a:lnTo>
                    <a:pt x="476" y="925"/>
                  </a:lnTo>
                  <a:lnTo>
                    <a:pt x="483" y="938"/>
                  </a:lnTo>
                  <a:lnTo>
                    <a:pt x="490" y="950"/>
                  </a:lnTo>
                  <a:lnTo>
                    <a:pt x="496" y="964"/>
                  </a:lnTo>
                  <a:lnTo>
                    <a:pt x="502" y="979"/>
                  </a:lnTo>
                  <a:lnTo>
                    <a:pt x="528" y="979"/>
                  </a:lnTo>
                  <a:lnTo>
                    <a:pt x="535" y="973"/>
                  </a:lnTo>
                  <a:lnTo>
                    <a:pt x="539" y="966"/>
                  </a:lnTo>
                  <a:lnTo>
                    <a:pt x="541" y="960"/>
                  </a:lnTo>
                  <a:lnTo>
                    <a:pt x="543" y="953"/>
                  </a:lnTo>
                  <a:lnTo>
                    <a:pt x="543" y="938"/>
                  </a:lnTo>
                  <a:lnTo>
                    <a:pt x="541" y="918"/>
                  </a:lnTo>
                  <a:lnTo>
                    <a:pt x="543" y="913"/>
                  </a:lnTo>
                  <a:lnTo>
                    <a:pt x="546" y="909"/>
                  </a:lnTo>
                  <a:lnTo>
                    <a:pt x="551" y="905"/>
                  </a:lnTo>
                  <a:lnTo>
                    <a:pt x="557" y="901"/>
                  </a:lnTo>
                  <a:lnTo>
                    <a:pt x="563" y="898"/>
                  </a:lnTo>
                  <a:lnTo>
                    <a:pt x="570" y="896"/>
                  </a:lnTo>
                  <a:lnTo>
                    <a:pt x="577" y="894"/>
                  </a:lnTo>
                  <a:lnTo>
                    <a:pt x="582" y="893"/>
                  </a:lnTo>
                  <a:lnTo>
                    <a:pt x="594" y="894"/>
                  </a:lnTo>
                  <a:lnTo>
                    <a:pt x="605" y="895"/>
                  </a:lnTo>
                  <a:lnTo>
                    <a:pt x="616" y="896"/>
                  </a:lnTo>
                  <a:lnTo>
                    <a:pt x="626" y="898"/>
                  </a:lnTo>
                  <a:lnTo>
                    <a:pt x="644" y="902"/>
                  </a:lnTo>
                  <a:lnTo>
                    <a:pt x="660" y="909"/>
                  </a:lnTo>
                  <a:lnTo>
                    <a:pt x="674" y="916"/>
                  </a:lnTo>
                  <a:lnTo>
                    <a:pt x="686" y="924"/>
                  </a:lnTo>
                  <a:lnTo>
                    <a:pt x="697" y="934"/>
                  </a:lnTo>
                  <a:lnTo>
                    <a:pt x="708" y="943"/>
                  </a:lnTo>
                  <a:lnTo>
                    <a:pt x="729" y="916"/>
                  </a:lnTo>
                  <a:lnTo>
                    <a:pt x="756" y="881"/>
                  </a:lnTo>
                  <a:lnTo>
                    <a:pt x="778" y="851"/>
                  </a:lnTo>
                  <a:lnTo>
                    <a:pt x="787" y="838"/>
                  </a:lnTo>
                  <a:lnTo>
                    <a:pt x="1033" y="789"/>
                  </a:lnTo>
                  <a:lnTo>
                    <a:pt x="1146" y="763"/>
                  </a:lnTo>
                  <a:lnTo>
                    <a:pt x="1227" y="616"/>
                  </a:lnTo>
                  <a:lnTo>
                    <a:pt x="1199" y="567"/>
                  </a:lnTo>
                  <a:lnTo>
                    <a:pt x="1173" y="591"/>
                  </a:lnTo>
                  <a:lnTo>
                    <a:pt x="1000" y="573"/>
                  </a:lnTo>
                  <a:lnTo>
                    <a:pt x="940" y="480"/>
                  </a:lnTo>
                  <a:lnTo>
                    <a:pt x="940" y="468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438" name="Freeform 528"/>
            <p:cNvSpPr>
              <a:spLocks/>
            </p:cNvSpPr>
            <p:nvPr>
              <p:custDataLst>
                <p:tags r:id="rId364"/>
              </p:custDataLst>
            </p:nvPr>
          </p:nvSpPr>
          <p:spPr bwMode="auto">
            <a:xfrm>
              <a:off x="6439768" y="2852429"/>
              <a:ext cx="57454" cy="57351"/>
            </a:xfrm>
            <a:custGeom>
              <a:avLst/>
              <a:gdLst>
                <a:gd name="T0" fmla="*/ 146 w 146"/>
                <a:gd name="T1" fmla="*/ 18 h 81"/>
                <a:gd name="T2" fmla="*/ 138 w 146"/>
                <a:gd name="T3" fmla="*/ 24 h 81"/>
                <a:gd name="T4" fmla="*/ 130 w 146"/>
                <a:gd name="T5" fmla="*/ 29 h 81"/>
                <a:gd name="T6" fmla="*/ 123 w 146"/>
                <a:gd name="T7" fmla="*/ 35 h 81"/>
                <a:gd name="T8" fmla="*/ 118 w 146"/>
                <a:gd name="T9" fmla="*/ 41 h 81"/>
                <a:gd name="T10" fmla="*/ 108 w 146"/>
                <a:gd name="T11" fmla="*/ 53 h 81"/>
                <a:gd name="T12" fmla="*/ 98 w 146"/>
                <a:gd name="T13" fmla="*/ 64 h 81"/>
                <a:gd name="T14" fmla="*/ 93 w 146"/>
                <a:gd name="T15" fmla="*/ 69 h 81"/>
                <a:gd name="T16" fmla="*/ 85 w 146"/>
                <a:gd name="T17" fmla="*/ 73 h 81"/>
                <a:gd name="T18" fmla="*/ 76 w 146"/>
                <a:gd name="T19" fmla="*/ 77 h 81"/>
                <a:gd name="T20" fmla="*/ 66 w 146"/>
                <a:gd name="T21" fmla="*/ 80 h 81"/>
                <a:gd name="T22" fmla="*/ 53 w 146"/>
                <a:gd name="T23" fmla="*/ 81 h 81"/>
                <a:gd name="T24" fmla="*/ 39 w 146"/>
                <a:gd name="T25" fmla="*/ 80 h 81"/>
                <a:gd name="T26" fmla="*/ 21 w 146"/>
                <a:gd name="T27" fmla="*/ 77 h 81"/>
                <a:gd name="T28" fmla="*/ 0 w 146"/>
                <a:gd name="T29" fmla="*/ 74 h 81"/>
                <a:gd name="T30" fmla="*/ 0 w 146"/>
                <a:gd name="T31" fmla="*/ 62 h 81"/>
                <a:gd name="T32" fmla="*/ 0 w 146"/>
                <a:gd name="T33" fmla="*/ 49 h 81"/>
                <a:gd name="T34" fmla="*/ 0 w 146"/>
                <a:gd name="T35" fmla="*/ 34 h 81"/>
                <a:gd name="T36" fmla="*/ 0 w 146"/>
                <a:gd name="T37" fmla="*/ 18 h 81"/>
                <a:gd name="T38" fmla="*/ 14 w 146"/>
                <a:gd name="T39" fmla="*/ 18 h 81"/>
                <a:gd name="T40" fmla="*/ 22 w 146"/>
                <a:gd name="T41" fmla="*/ 18 h 81"/>
                <a:gd name="T42" fmla="*/ 31 w 146"/>
                <a:gd name="T43" fmla="*/ 18 h 81"/>
                <a:gd name="T44" fmla="*/ 40 w 146"/>
                <a:gd name="T45" fmla="*/ 18 h 81"/>
                <a:gd name="T46" fmla="*/ 52 w 146"/>
                <a:gd name="T47" fmla="*/ 18 h 81"/>
                <a:gd name="T48" fmla="*/ 63 w 146"/>
                <a:gd name="T49" fmla="*/ 16 h 81"/>
                <a:gd name="T50" fmla="*/ 73 w 146"/>
                <a:gd name="T51" fmla="*/ 14 h 81"/>
                <a:gd name="T52" fmla="*/ 83 w 146"/>
                <a:gd name="T53" fmla="*/ 11 h 81"/>
                <a:gd name="T54" fmla="*/ 101 w 146"/>
                <a:gd name="T55" fmla="*/ 5 h 81"/>
                <a:gd name="T56" fmla="*/ 120 w 146"/>
                <a:gd name="T57" fmla="*/ 0 h 81"/>
                <a:gd name="T58" fmla="*/ 129 w 146"/>
                <a:gd name="T59" fmla="*/ 4 h 81"/>
                <a:gd name="T60" fmla="*/ 135 w 146"/>
                <a:gd name="T61" fmla="*/ 9 h 81"/>
                <a:gd name="T62" fmla="*/ 141 w 146"/>
                <a:gd name="T63" fmla="*/ 14 h 81"/>
                <a:gd name="T64" fmla="*/ 146 w 146"/>
                <a:gd name="T65" fmla="*/ 18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6" h="81">
                  <a:moveTo>
                    <a:pt x="146" y="18"/>
                  </a:moveTo>
                  <a:lnTo>
                    <a:pt x="138" y="24"/>
                  </a:lnTo>
                  <a:lnTo>
                    <a:pt x="130" y="29"/>
                  </a:lnTo>
                  <a:lnTo>
                    <a:pt x="123" y="35"/>
                  </a:lnTo>
                  <a:lnTo>
                    <a:pt x="118" y="41"/>
                  </a:lnTo>
                  <a:lnTo>
                    <a:pt x="108" y="53"/>
                  </a:lnTo>
                  <a:lnTo>
                    <a:pt x="98" y="64"/>
                  </a:lnTo>
                  <a:lnTo>
                    <a:pt x="93" y="69"/>
                  </a:lnTo>
                  <a:lnTo>
                    <a:pt x="85" y="73"/>
                  </a:lnTo>
                  <a:lnTo>
                    <a:pt x="76" y="77"/>
                  </a:lnTo>
                  <a:lnTo>
                    <a:pt x="66" y="80"/>
                  </a:lnTo>
                  <a:lnTo>
                    <a:pt x="53" y="81"/>
                  </a:lnTo>
                  <a:lnTo>
                    <a:pt x="39" y="80"/>
                  </a:lnTo>
                  <a:lnTo>
                    <a:pt x="21" y="77"/>
                  </a:lnTo>
                  <a:lnTo>
                    <a:pt x="0" y="74"/>
                  </a:lnTo>
                  <a:lnTo>
                    <a:pt x="0" y="62"/>
                  </a:lnTo>
                  <a:lnTo>
                    <a:pt x="0" y="49"/>
                  </a:lnTo>
                  <a:lnTo>
                    <a:pt x="0" y="34"/>
                  </a:lnTo>
                  <a:lnTo>
                    <a:pt x="0" y="18"/>
                  </a:lnTo>
                  <a:lnTo>
                    <a:pt x="14" y="18"/>
                  </a:lnTo>
                  <a:lnTo>
                    <a:pt x="22" y="18"/>
                  </a:lnTo>
                  <a:lnTo>
                    <a:pt x="31" y="18"/>
                  </a:lnTo>
                  <a:lnTo>
                    <a:pt x="40" y="18"/>
                  </a:lnTo>
                  <a:lnTo>
                    <a:pt x="52" y="18"/>
                  </a:lnTo>
                  <a:lnTo>
                    <a:pt x="63" y="16"/>
                  </a:lnTo>
                  <a:lnTo>
                    <a:pt x="73" y="14"/>
                  </a:lnTo>
                  <a:lnTo>
                    <a:pt x="83" y="11"/>
                  </a:lnTo>
                  <a:lnTo>
                    <a:pt x="101" y="5"/>
                  </a:lnTo>
                  <a:lnTo>
                    <a:pt x="120" y="0"/>
                  </a:lnTo>
                  <a:lnTo>
                    <a:pt x="129" y="4"/>
                  </a:lnTo>
                  <a:lnTo>
                    <a:pt x="135" y="9"/>
                  </a:lnTo>
                  <a:lnTo>
                    <a:pt x="141" y="14"/>
                  </a:lnTo>
                  <a:lnTo>
                    <a:pt x="146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39" name="Freeform 529"/>
            <p:cNvSpPr>
              <a:spLocks/>
            </p:cNvSpPr>
            <p:nvPr>
              <p:custDataLst>
                <p:tags r:id="rId365"/>
              </p:custDataLst>
            </p:nvPr>
          </p:nvSpPr>
          <p:spPr bwMode="auto">
            <a:xfrm>
              <a:off x="6179630" y="3066652"/>
              <a:ext cx="15959" cy="55664"/>
            </a:xfrm>
            <a:custGeom>
              <a:avLst/>
              <a:gdLst>
                <a:gd name="T0" fmla="*/ 34 w 34"/>
                <a:gd name="T1" fmla="*/ 49 h 49"/>
                <a:gd name="T2" fmla="*/ 34 w 34"/>
                <a:gd name="T3" fmla="*/ 34 h 49"/>
                <a:gd name="T4" fmla="*/ 34 w 34"/>
                <a:gd name="T5" fmla="*/ 25 h 49"/>
                <a:gd name="T6" fmla="*/ 33 w 34"/>
                <a:gd name="T7" fmla="*/ 21 h 49"/>
                <a:gd name="T8" fmla="*/ 33 w 34"/>
                <a:gd name="T9" fmla="*/ 17 h 49"/>
                <a:gd name="T10" fmla="*/ 31 w 34"/>
                <a:gd name="T11" fmla="*/ 15 h 49"/>
                <a:gd name="T12" fmla="*/ 30 w 34"/>
                <a:gd name="T13" fmla="*/ 12 h 49"/>
                <a:gd name="T14" fmla="*/ 25 w 34"/>
                <a:gd name="T15" fmla="*/ 8 h 49"/>
                <a:gd name="T16" fmla="*/ 21 w 34"/>
                <a:gd name="T17" fmla="*/ 0 h 49"/>
                <a:gd name="T18" fmla="*/ 8 w 34"/>
                <a:gd name="T19" fmla="*/ 0 h 49"/>
                <a:gd name="T20" fmla="*/ 0 w 34"/>
                <a:gd name="T21" fmla="*/ 0 h 49"/>
                <a:gd name="T22" fmla="*/ 3 w 34"/>
                <a:gd name="T23" fmla="*/ 11 h 49"/>
                <a:gd name="T24" fmla="*/ 7 w 34"/>
                <a:gd name="T25" fmla="*/ 20 h 49"/>
                <a:gd name="T26" fmla="*/ 10 w 34"/>
                <a:gd name="T27" fmla="*/ 27 h 49"/>
                <a:gd name="T28" fmla="*/ 14 w 34"/>
                <a:gd name="T29" fmla="*/ 34 h 49"/>
                <a:gd name="T30" fmla="*/ 19 w 34"/>
                <a:gd name="T31" fmla="*/ 39 h 49"/>
                <a:gd name="T32" fmla="*/ 24 w 34"/>
                <a:gd name="T33" fmla="*/ 43 h 49"/>
                <a:gd name="T34" fmla="*/ 29 w 34"/>
                <a:gd name="T35" fmla="*/ 46 h 49"/>
                <a:gd name="T36" fmla="*/ 34 w 34"/>
                <a:gd name="T3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4" h="49">
                  <a:moveTo>
                    <a:pt x="34" y="49"/>
                  </a:moveTo>
                  <a:lnTo>
                    <a:pt x="34" y="34"/>
                  </a:lnTo>
                  <a:lnTo>
                    <a:pt x="34" y="25"/>
                  </a:lnTo>
                  <a:lnTo>
                    <a:pt x="33" y="21"/>
                  </a:lnTo>
                  <a:lnTo>
                    <a:pt x="33" y="17"/>
                  </a:lnTo>
                  <a:lnTo>
                    <a:pt x="31" y="15"/>
                  </a:lnTo>
                  <a:lnTo>
                    <a:pt x="30" y="12"/>
                  </a:lnTo>
                  <a:lnTo>
                    <a:pt x="25" y="8"/>
                  </a:lnTo>
                  <a:lnTo>
                    <a:pt x="21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3" y="11"/>
                  </a:lnTo>
                  <a:lnTo>
                    <a:pt x="7" y="20"/>
                  </a:lnTo>
                  <a:lnTo>
                    <a:pt x="10" y="27"/>
                  </a:lnTo>
                  <a:lnTo>
                    <a:pt x="14" y="34"/>
                  </a:lnTo>
                  <a:lnTo>
                    <a:pt x="19" y="39"/>
                  </a:lnTo>
                  <a:lnTo>
                    <a:pt x="24" y="43"/>
                  </a:lnTo>
                  <a:lnTo>
                    <a:pt x="29" y="46"/>
                  </a:lnTo>
                  <a:lnTo>
                    <a:pt x="34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40" name="Freeform 530"/>
            <p:cNvSpPr>
              <a:spLocks/>
            </p:cNvSpPr>
            <p:nvPr>
              <p:custDataLst>
                <p:tags r:id="rId366"/>
              </p:custDataLst>
            </p:nvPr>
          </p:nvSpPr>
          <p:spPr bwMode="auto">
            <a:xfrm>
              <a:off x="5771068" y="3412445"/>
              <a:ext cx="28727" cy="57351"/>
            </a:xfrm>
            <a:custGeom>
              <a:avLst/>
              <a:gdLst>
                <a:gd name="T0" fmla="*/ 60 w 60"/>
                <a:gd name="T1" fmla="*/ 0 h 74"/>
                <a:gd name="T2" fmla="*/ 56 w 60"/>
                <a:gd name="T3" fmla="*/ 4 h 74"/>
                <a:gd name="T4" fmla="*/ 51 w 60"/>
                <a:gd name="T5" fmla="*/ 10 h 74"/>
                <a:gd name="T6" fmla="*/ 48 w 60"/>
                <a:gd name="T7" fmla="*/ 15 h 74"/>
                <a:gd name="T8" fmla="*/ 46 w 60"/>
                <a:gd name="T9" fmla="*/ 21 h 74"/>
                <a:gd name="T10" fmla="*/ 41 w 60"/>
                <a:gd name="T11" fmla="*/ 31 h 74"/>
                <a:gd name="T12" fmla="*/ 37 w 60"/>
                <a:gd name="T13" fmla="*/ 42 h 74"/>
                <a:gd name="T14" fmla="*/ 35 w 60"/>
                <a:gd name="T15" fmla="*/ 47 h 74"/>
                <a:gd name="T16" fmla="*/ 32 w 60"/>
                <a:gd name="T17" fmla="*/ 51 h 74"/>
                <a:gd name="T18" fmla="*/ 29 w 60"/>
                <a:gd name="T19" fmla="*/ 56 h 74"/>
                <a:gd name="T20" fmla="*/ 25 w 60"/>
                <a:gd name="T21" fmla="*/ 60 h 74"/>
                <a:gd name="T22" fmla="*/ 20 w 60"/>
                <a:gd name="T23" fmla="*/ 65 h 74"/>
                <a:gd name="T24" fmla="*/ 15 w 60"/>
                <a:gd name="T25" fmla="*/ 69 h 74"/>
                <a:gd name="T26" fmla="*/ 8 w 60"/>
                <a:gd name="T27" fmla="*/ 72 h 74"/>
                <a:gd name="T28" fmla="*/ 0 w 60"/>
                <a:gd name="T29" fmla="*/ 74 h 74"/>
                <a:gd name="T30" fmla="*/ 5 w 60"/>
                <a:gd name="T31" fmla="*/ 60 h 74"/>
                <a:gd name="T32" fmla="*/ 12 w 60"/>
                <a:gd name="T33" fmla="*/ 47 h 74"/>
                <a:gd name="T34" fmla="*/ 19 w 60"/>
                <a:gd name="T35" fmla="*/ 34 h 74"/>
                <a:gd name="T36" fmla="*/ 27 w 60"/>
                <a:gd name="T37" fmla="*/ 23 h 74"/>
                <a:gd name="T38" fmla="*/ 36 w 60"/>
                <a:gd name="T39" fmla="*/ 14 h 74"/>
                <a:gd name="T40" fmla="*/ 43 w 60"/>
                <a:gd name="T41" fmla="*/ 6 h 74"/>
                <a:gd name="T42" fmla="*/ 48 w 60"/>
                <a:gd name="T43" fmla="*/ 3 h 74"/>
                <a:gd name="T44" fmla="*/ 52 w 60"/>
                <a:gd name="T45" fmla="*/ 1 h 74"/>
                <a:gd name="T46" fmla="*/ 56 w 60"/>
                <a:gd name="T47" fmla="*/ 0 h 74"/>
                <a:gd name="T48" fmla="*/ 60 w 60"/>
                <a:gd name="T49" fmla="*/ 0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0" h="74">
                  <a:moveTo>
                    <a:pt x="60" y="0"/>
                  </a:moveTo>
                  <a:lnTo>
                    <a:pt x="56" y="4"/>
                  </a:lnTo>
                  <a:lnTo>
                    <a:pt x="51" y="10"/>
                  </a:lnTo>
                  <a:lnTo>
                    <a:pt x="48" y="15"/>
                  </a:lnTo>
                  <a:lnTo>
                    <a:pt x="46" y="21"/>
                  </a:lnTo>
                  <a:lnTo>
                    <a:pt x="41" y="31"/>
                  </a:lnTo>
                  <a:lnTo>
                    <a:pt x="37" y="42"/>
                  </a:lnTo>
                  <a:lnTo>
                    <a:pt x="35" y="47"/>
                  </a:lnTo>
                  <a:lnTo>
                    <a:pt x="32" y="51"/>
                  </a:lnTo>
                  <a:lnTo>
                    <a:pt x="29" y="56"/>
                  </a:lnTo>
                  <a:lnTo>
                    <a:pt x="25" y="60"/>
                  </a:lnTo>
                  <a:lnTo>
                    <a:pt x="20" y="65"/>
                  </a:lnTo>
                  <a:lnTo>
                    <a:pt x="15" y="69"/>
                  </a:lnTo>
                  <a:lnTo>
                    <a:pt x="8" y="72"/>
                  </a:lnTo>
                  <a:lnTo>
                    <a:pt x="0" y="74"/>
                  </a:lnTo>
                  <a:lnTo>
                    <a:pt x="5" y="60"/>
                  </a:lnTo>
                  <a:lnTo>
                    <a:pt x="12" y="47"/>
                  </a:lnTo>
                  <a:lnTo>
                    <a:pt x="19" y="34"/>
                  </a:lnTo>
                  <a:lnTo>
                    <a:pt x="27" y="23"/>
                  </a:lnTo>
                  <a:lnTo>
                    <a:pt x="36" y="14"/>
                  </a:lnTo>
                  <a:lnTo>
                    <a:pt x="43" y="6"/>
                  </a:lnTo>
                  <a:lnTo>
                    <a:pt x="48" y="3"/>
                  </a:lnTo>
                  <a:lnTo>
                    <a:pt x="52" y="1"/>
                  </a:lnTo>
                  <a:lnTo>
                    <a:pt x="56" y="0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41" name="Freeform 531"/>
            <p:cNvSpPr>
              <a:spLocks/>
            </p:cNvSpPr>
            <p:nvPr>
              <p:custDataLst>
                <p:tags r:id="rId367"/>
              </p:custDataLst>
            </p:nvPr>
          </p:nvSpPr>
          <p:spPr bwMode="auto">
            <a:xfrm>
              <a:off x="5712018" y="3427627"/>
              <a:ext cx="23940" cy="60725"/>
            </a:xfrm>
            <a:custGeom>
              <a:avLst/>
              <a:gdLst>
                <a:gd name="T0" fmla="*/ 13 w 47"/>
                <a:gd name="T1" fmla="*/ 8 h 45"/>
                <a:gd name="T2" fmla="*/ 22 w 47"/>
                <a:gd name="T3" fmla="*/ 8 h 45"/>
                <a:gd name="T4" fmla="*/ 28 w 47"/>
                <a:gd name="T5" fmla="*/ 6 h 45"/>
                <a:gd name="T6" fmla="*/ 32 w 47"/>
                <a:gd name="T7" fmla="*/ 5 h 45"/>
                <a:gd name="T8" fmla="*/ 35 w 47"/>
                <a:gd name="T9" fmla="*/ 3 h 45"/>
                <a:gd name="T10" fmla="*/ 37 w 47"/>
                <a:gd name="T11" fmla="*/ 1 h 45"/>
                <a:gd name="T12" fmla="*/ 39 w 47"/>
                <a:gd name="T13" fmla="*/ 0 h 45"/>
                <a:gd name="T14" fmla="*/ 43 w 47"/>
                <a:gd name="T15" fmla="*/ 1 h 45"/>
                <a:gd name="T16" fmla="*/ 47 w 47"/>
                <a:gd name="T17" fmla="*/ 2 h 45"/>
                <a:gd name="T18" fmla="*/ 46 w 47"/>
                <a:gd name="T19" fmla="*/ 7 h 45"/>
                <a:gd name="T20" fmla="*/ 46 w 47"/>
                <a:gd name="T21" fmla="*/ 11 h 45"/>
                <a:gd name="T22" fmla="*/ 44 w 47"/>
                <a:gd name="T23" fmla="*/ 15 h 45"/>
                <a:gd name="T24" fmla="*/ 43 w 47"/>
                <a:gd name="T25" fmla="*/ 19 h 45"/>
                <a:gd name="T26" fmla="*/ 37 w 47"/>
                <a:gd name="T27" fmla="*/ 26 h 45"/>
                <a:gd name="T28" fmla="*/ 30 w 47"/>
                <a:gd name="T29" fmla="*/ 32 h 45"/>
                <a:gd name="T30" fmla="*/ 24 w 47"/>
                <a:gd name="T31" fmla="*/ 38 h 45"/>
                <a:gd name="T32" fmla="*/ 16 w 47"/>
                <a:gd name="T33" fmla="*/ 42 h 45"/>
                <a:gd name="T34" fmla="*/ 7 w 47"/>
                <a:gd name="T35" fmla="*/ 45 h 45"/>
                <a:gd name="T36" fmla="*/ 0 w 47"/>
                <a:gd name="T37" fmla="*/ 45 h 45"/>
                <a:gd name="T38" fmla="*/ 2 w 47"/>
                <a:gd name="T39" fmla="*/ 38 h 45"/>
                <a:gd name="T40" fmla="*/ 6 w 47"/>
                <a:gd name="T41" fmla="*/ 26 h 45"/>
                <a:gd name="T42" fmla="*/ 11 w 47"/>
                <a:gd name="T43" fmla="*/ 15 h 45"/>
                <a:gd name="T44" fmla="*/ 13 w 47"/>
                <a:gd name="T45" fmla="*/ 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" h="45">
                  <a:moveTo>
                    <a:pt x="13" y="8"/>
                  </a:moveTo>
                  <a:lnTo>
                    <a:pt x="22" y="8"/>
                  </a:lnTo>
                  <a:lnTo>
                    <a:pt x="28" y="6"/>
                  </a:lnTo>
                  <a:lnTo>
                    <a:pt x="32" y="5"/>
                  </a:lnTo>
                  <a:lnTo>
                    <a:pt x="35" y="3"/>
                  </a:lnTo>
                  <a:lnTo>
                    <a:pt x="37" y="1"/>
                  </a:lnTo>
                  <a:lnTo>
                    <a:pt x="39" y="0"/>
                  </a:lnTo>
                  <a:lnTo>
                    <a:pt x="43" y="1"/>
                  </a:lnTo>
                  <a:lnTo>
                    <a:pt x="47" y="2"/>
                  </a:lnTo>
                  <a:lnTo>
                    <a:pt x="46" y="7"/>
                  </a:lnTo>
                  <a:lnTo>
                    <a:pt x="46" y="11"/>
                  </a:lnTo>
                  <a:lnTo>
                    <a:pt x="44" y="15"/>
                  </a:lnTo>
                  <a:lnTo>
                    <a:pt x="43" y="19"/>
                  </a:lnTo>
                  <a:lnTo>
                    <a:pt x="37" y="26"/>
                  </a:lnTo>
                  <a:lnTo>
                    <a:pt x="30" y="32"/>
                  </a:lnTo>
                  <a:lnTo>
                    <a:pt x="24" y="38"/>
                  </a:lnTo>
                  <a:lnTo>
                    <a:pt x="16" y="42"/>
                  </a:lnTo>
                  <a:lnTo>
                    <a:pt x="7" y="45"/>
                  </a:lnTo>
                  <a:lnTo>
                    <a:pt x="0" y="45"/>
                  </a:lnTo>
                  <a:lnTo>
                    <a:pt x="2" y="38"/>
                  </a:lnTo>
                  <a:lnTo>
                    <a:pt x="6" y="26"/>
                  </a:lnTo>
                  <a:lnTo>
                    <a:pt x="11" y="15"/>
                  </a:lnTo>
                  <a:lnTo>
                    <a:pt x="13" y="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42" name="Freeform 532"/>
            <p:cNvSpPr>
              <a:spLocks/>
            </p:cNvSpPr>
            <p:nvPr>
              <p:custDataLst>
                <p:tags r:id="rId368"/>
              </p:custDataLst>
            </p:nvPr>
          </p:nvSpPr>
          <p:spPr bwMode="auto">
            <a:xfrm>
              <a:off x="5686483" y="3420880"/>
              <a:ext cx="6384" cy="57351"/>
            </a:xfrm>
            <a:custGeom>
              <a:avLst/>
              <a:gdLst>
                <a:gd name="T0" fmla="*/ 6 w 26"/>
                <a:gd name="T1" fmla="*/ 36 h 36"/>
                <a:gd name="T2" fmla="*/ 5 w 26"/>
                <a:gd name="T3" fmla="*/ 30 h 36"/>
                <a:gd name="T4" fmla="*/ 3 w 26"/>
                <a:gd name="T5" fmla="*/ 20 h 36"/>
                <a:gd name="T6" fmla="*/ 1 w 26"/>
                <a:gd name="T7" fmla="*/ 10 h 36"/>
                <a:gd name="T8" fmla="*/ 0 w 26"/>
                <a:gd name="T9" fmla="*/ 0 h 36"/>
                <a:gd name="T10" fmla="*/ 26 w 26"/>
                <a:gd name="T11" fmla="*/ 0 h 36"/>
                <a:gd name="T12" fmla="*/ 25 w 26"/>
                <a:gd name="T13" fmla="*/ 12 h 36"/>
                <a:gd name="T14" fmla="*/ 24 w 26"/>
                <a:gd name="T15" fmla="*/ 23 h 36"/>
                <a:gd name="T16" fmla="*/ 23 w 26"/>
                <a:gd name="T17" fmla="*/ 27 h 36"/>
                <a:gd name="T18" fmla="*/ 23 w 26"/>
                <a:gd name="T19" fmla="*/ 31 h 36"/>
                <a:gd name="T20" fmla="*/ 24 w 26"/>
                <a:gd name="T21" fmla="*/ 34 h 36"/>
                <a:gd name="T22" fmla="*/ 26 w 26"/>
                <a:gd name="T23" fmla="*/ 36 h 36"/>
                <a:gd name="T24" fmla="*/ 6 w 26"/>
                <a:gd name="T2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" h="36">
                  <a:moveTo>
                    <a:pt x="6" y="36"/>
                  </a:moveTo>
                  <a:lnTo>
                    <a:pt x="5" y="30"/>
                  </a:lnTo>
                  <a:lnTo>
                    <a:pt x="3" y="20"/>
                  </a:lnTo>
                  <a:lnTo>
                    <a:pt x="1" y="10"/>
                  </a:lnTo>
                  <a:lnTo>
                    <a:pt x="0" y="0"/>
                  </a:lnTo>
                  <a:lnTo>
                    <a:pt x="26" y="0"/>
                  </a:lnTo>
                  <a:lnTo>
                    <a:pt x="25" y="12"/>
                  </a:lnTo>
                  <a:lnTo>
                    <a:pt x="24" y="23"/>
                  </a:lnTo>
                  <a:lnTo>
                    <a:pt x="23" y="27"/>
                  </a:lnTo>
                  <a:lnTo>
                    <a:pt x="23" y="31"/>
                  </a:lnTo>
                  <a:lnTo>
                    <a:pt x="24" y="34"/>
                  </a:lnTo>
                  <a:lnTo>
                    <a:pt x="26" y="36"/>
                  </a:lnTo>
                  <a:lnTo>
                    <a:pt x="6" y="3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84" name="Freeform 533"/>
            <p:cNvSpPr>
              <a:spLocks/>
            </p:cNvSpPr>
            <p:nvPr>
              <p:custDataLst>
                <p:tags r:id="rId369"/>
              </p:custDataLst>
            </p:nvPr>
          </p:nvSpPr>
          <p:spPr bwMode="auto">
            <a:xfrm>
              <a:off x="6958644" y="3150039"/>
              <a:ext cx="174625" cy="158750"/>
            </a:xfrm>
            <a:custGeom>
              <a:avLst/>
              <a:gdLst>
                <a:gd name="T0" fmla="*/ 2147483647 w 405"/>
                <a:gd name="T1" fmla="*/ 2147483647 h 302"/>
                <a:gd name="T2" fmla="*/ 2147483647 w 405"/>
                <a:gd name="T3" fmla="*/ 2147483647 h 302"/>
                <a:gd name="T4" fmla="*/ 2147483647 w 405"/>
                <a:gd name="T5" fmla="*/ 2147483647 h 302"/>
                <a:gd name="T6" fmla="*/ 2147483647 w 405"/>
                <a:gd name="T7" fmla="*/ 2147483647 h 302"/>
                <a:gd name="T8" fmla="*/ 2147483647 w 405"/>
                <a:gd name="T9" fmla="*/ 2147483647 h 302"/>
                <a:gd name="T10" fmla="*/ 2147483647 w 405"/>
                <a:gd name="T11" fmla="*/ 2147483647 h 302"/>
                <a:gd name="T12" fmla="*/ 2147483647 w 405"/>
                <a:gd name="T13" fmla="*/ 2147483647 h 302"/>
                <a:gd name="T14" fmla="*/ 2147483647 w 405"/>
                <a:gd name="T15" fmla="*/ 2147483647 h 302"/>
                <a:gd name="T16" fmla="*/ 2147483647 w 405"/>
                <a:gd name="T17" fmla="*/ 2147483647 h 302"/>
                <a:gd name="T18" fmla="*/ 2147483647 w 405"/>
                <a:gd name="T19" fmla="*/ 2147483647 h 302"/>
                <a:gd name="T20" fmla="*/ 2147483647 w 405"/>
                <a:gd name="T21" fmla="*/ 2147483647 h 302"/>
                <a:gd name="T22" fmla="*/ 2147483647 w 405"/>
                <a:gd name="T23" fmla="*/ 2147483647 h 302"/>
                <a:gd name="T24" fmla="*/ 2147483647 w 405"/>
                <a:gd name="T25" fmla="*/ 2147483647 h 302"/>
                <a:gd name="T26" fmla="*/ 2147483647 w 405"/>
                <a:gd name="T27" fmla="*/ 2147483647 h 302"/>
                <a:gd name="T28" fmla="*/ 2147483647 w 405"/>
                <a:gd name="T29" fmla="*/ 2147483647 h 302"/>
                <a:gd name="T30" fmla="*/ 2147483647 w 405"/>
                <a:gd name="T31" fmla="*/ 2147483647 h 302"/>
                <a:gd name="T32" fmla="*/ 2147483647 w 405"/>
                <a:gd name="T33" fmla="*/ 2147483647 h 302"/>
                <a:gd name="T34" fmla="*/ 2147483647 w 405"/>
                <a:gd name="T35" fmla="*/ 2147483647 h 302"/>
                <a:gd name="T36" fmla="*/ 2147483647 w 405"/>
                <a:gd name="T37" fmla="*/ 2147483647 h 302"/>
                <a:gd name="T38" fmla="*/ 2147483647 w 405"/>
                <a:gd name="T39" fmla="*/ 2147483647 h 302"/>
                <a:gd name="T40" fmla="*/ 2147483647 w 405"/>
                <a:gd name="T41" fmla="*/ 2147483647 h 302"/>
                <a:gd name="T42" fmla="*/ 2147483647 w 405"/>
                <a:gd name="T43" fmla="*/ 2147483647 h 302"/>
                <a:gd name="T44" fmla="*/ 2147483647 w 405"/>
                <a:gd name="T45" fmla="*/ 2147483647 h 302"/>
                <a:gd name="T46" fmla="*/ 2147483647 w 405"/>
                <a:gd name="T47" fmla="*/ 2147483647 h 302"/>
                <a:gd name="T48" fmla="*/ 2147483647 w 405"/>
                <a:gd name="T49" fmla="*/ 2147483647 h 302"/>
                <a:gd name="T50" fmla="*/ 2147483647 w 405"/>
                <a:gd name="T51" fmla="*/ 2147483647 h 302"/>
                <a:gd name="T52" fmla="*/ 2147483647 w 405"/>
                <a:gd name="T53" fmla="*/ 2147483647 h 302"/>
                <a:gd name="T54" fmla="*/ 2147483647 w 405"/>
                <a:gd name="T55" fmla="*/ 2147483647 h 302"/>
                <a:gd name="T56" fmla="*/ 2147483647 w 405"/>
                <a:gd name="T57" fmla="*/ 2147483647 h 302"/>
                <a:gd name="T58" fmla="*/ 2147483647 w 405"/>
                <a:gd name="T59" fmla="*/ 2147483647 h 302"/>
                <a:gd name="T60" fmla="*/ 2147483647 w 405"/>
                <a:gd name="T61" fmla="*/ 2147483647 h 302"/>
                <a:gd name="T62" fmla="*/ 2147483647 w 405"/>
                <a:gd name="T63" fmla="*/ 2147483647 h 302"/>
                <a:gd name="T64" fmla="*/ 2147483647 w 405"/>
                <a:gd name="T65" fmla="*/ 2147483647 h 302"/>
                <a:gd name="T66" fmla="*/ 2147483647 w 405"/>
                <a:gd name="T67" fmla="*/ 2147483647 h 302"/>
                <a:gd name="T68" fmla="*/ 2147483647 w 405"/>
                <a:gd name="T69" fmla="*/ 2147483647 h 302"/>
                <a:gd name="T70" fmla="*/ 2147483647 w 405"/>
                <a:gd name="T71" fmla="*/ 2147483647 h 302"/>
                <a:gd name="T72" fmla="*/ 2147483647 w 405"/>
                <a:gd name="T73" fmla="*/ 2147483647 h 302"/>
                <a:gd name="T74" fmla="*/ 2147483647 w 405"/>
                <a:gd name="T75" fmla="*/ 2147483647 h 302"/>
                <a:gd name="T76" fmla="*/ 2147483647 w 405"/>
                <a:gd name="T77" fmla="*/ 2147483647 h 302"/>
                <a:gd name="T78" fmla="*/ 2147483647 w 405"/>
                <a:gd name="T79" fmla="*/ 2147483647 h 302"/>
                <a:gd name="T80" fmla="*/ 2147483647 w 405"/>
                <a:gd name="T81" fmla="*/ 2147483647 h 302"/>
                <a:gd name="T82" fmla="*/ 2147483647 w 405"/>
                <a:gd name="T83" fmla="*/ 2147483647 h 302"/>
                <a:gd name="T84" fmla="*/ 2147483647 w 405"/>
                <a:gd name="T85" fmla="*/ 2147483647 h 302"/>
                <a:gd name="T86" fmla="*/ 2147483647 w 405"/>
                <a:gd name="T87" fmla="*/ 2147483647 h 302"/>
                <a:gd name="T88" fmla="*/ 2147483647 w 405"/>
                <a:gd name="T89" fmla="*/ 2147483647 h 302"/>
                <a:gd name="T90" fmla="*/ 2147483647 w 405"/>
                <a:gd name="T91" fmla="*/ 2147483647 h 302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405" h="302">
                  <a:moveTo>
                    <a:pt x="26" y="166"/>
                  </a:moveTo>
                  <a:lnTo>
                    <a:pt x="26" y="162"/>
                  </a:lnTo>
                  <a:lnTo>
                    <a:pt x="27" y="158"/>
                  </a:lnTo>
                  <a:lnTo>
                    <a:pt x="28" y="156"/>
                  </a:lnTo>
                  <a:lnTo>
                    <a:pt x="29" y="155"/>
                  </a:lnTo>
                  <a:lnTo>
                    <a:pt x="30" y="154"/>
                  </a:lnTo>
                  <a:lnTo>
                    <a:pt x="33" y="154"/>
                  </a:lnTo>
                  <a:lnTo>
                    <a:pt x="28" y="151"/>
                  </a:lnTo>
                  <a:lnTo>
                    <a:pt x="23" y="147"/>
                  </a:lnTo>
                  <a:lnTo>
                    <a:pt x="18" y="143"/>
                  </a:lnTo>
                  <a:lnTo>
                    <a:pt x="14" y="138"/>
                  </a:lnTo>
                  <a:lnTo>
                    <a:pt x="6" y="127"/>
                  </a:lnTo>
                  <a:lnTo>
                    <a:pt x="0" y="117"/>
                  </a:lnTo>
                  <a:lnTo>
                    <a:pt x="2" y="116"/>
                  </a:lnTo>
                  <a:lnTo>
                    <a:pt x="4" y="115"/>
                  </a:lnTo>
                  <a:lnTo>
                    <a:pt x="5" y="112"/>
                  </a:lnTo>
                  <a:lnTo>
                    <a:pt x="5" y="110"/>
                  </a:lnTo>
                  <a:lnTo>
                    <a:pt x="6" y="104"/>
                  </a:lnTo>
                  <a:lnTo>
                    <a:pt x="6" y="98"/>
                  </a:lnTo>
                  <a:lnTo>
                    <a:pt x="17" y="97"/>
                  </a:lnTo>
                  <a:lnTo>
                    <a:pt x="26" y="95"/>
                  </a:lnTo>
                  <a:lnTo>
                    <a:pt x="34" y="93"/>
                  </a:lnTo>
                  <a:lnTo>
                    <a:pt x="41" y="91"/>
                  </a:lnTo>
                  <a:lnTo>
                    <a:pt x="47" y="88"/>
                  </a:lnTo>
                  <a:lnTo>
                    <a:pt x="52" y="85"/>
                  </a:lnTo>
                  <a:lnTo>
                    <a:pt x="57" y="82"/>
                  </a:lnTo>
                  <a:lnTo>
                    <a:pt x="60" y="78"/>
                  </a:lnTo>
                  <a:lnTo>
                    <a:pt x="67" y="70"/>
                  </a:lnTo>
                  <a:lnTo>
                    <a:pt x="71" y="61"/>
                  </a:lnTo>
                  <a:lnTo>
                    <a:pt x="75" y="52"/>
                  </a:lnTo>
                  <a:lnTo>
                    <a:pt x="80" y="43"/>
                  </a:lnTo>
                  <a:lnTo>
                    <a:pt x="84" y="47"/>
                  </a:lnTo>
                  <a:lnTo>
                    <a:pt x="89" y="50"/>
                  </a:lnTo>
                  <a:lnTo>
                    <a:pt x="95" y="52"/>
                  </a:lnTo>
                  <a:lnTo>
                    <a:pt x="102" y="53"/>
                  </a:lnTo>
                  <a:lnTo>
                    <a:pt x="117" y="54"/>
                  </a:lnTo>
                  <a:lnTo>
                    <a:pt x="135" y="52"/>
                  </a:lnTo>
                  <a:lnTo>
                    <a:pt x="169" y="46"/>
                  </a:lnTo>
                  <a:lnTo>
                    <a:pt x="200" y="43"/>
                  </a:lnTo>
                  <a:lnTo>
                    <a:pt x="212" y="43"/>
                  </a:lnTo>
                  <a:lnTo>
                    <a:pt x="223" y="42"/>
                  </a:lnTo>
                  <a:lnTo>
                    <a:pt x="234" y="41"/>
                  </a:lnTo>
                  <a:lnTo>
                    <a:pt x="245" y="39"/>
                  </a:lnTo>
                  <a:lnTo>
                    <a:pt x="264" y="35"/>
                  </a:lnTo>
                  <a:lnTo>
                    <a:pt x="283" y="29"/>
                  </a:lnTo>
                  <a:lnTo>
                    <a:pt x="318" y="17"/>
                  </a:lnTo>
                  <a:lnTo>
                    <a:pt x="352" y="6"/>
                  </a:lnTo>
                  <a:lnTo>
                    <a:pt x="359" y="4"/>
                  </a:lnTo>
                  <a:lnTo>
                    <a:pt x="365" y="3"/>
                  </a:lnTo>
                  <a:lnTo>
                    <a:pt x="372" y="3"/>
                  </a:lnTo>
                  <a:lnTo>
                    <a:pt x="378" y="3"/>
                  </a:lnTo>
                  <a:lnTo>
                    <a:pt x="385" y="3"/>
                  </a:lnTo>
                  <a:lnTo>
                    <a:pt x="392" y="2"/>
                  </a:lnTo>
                  <a:lnTo>
                    <a:pt x="398" y="1"/>
                  </a:lnTo>
                  <a:lnTo>
                    <a:pt x="405" y="0"/>
                  </a:lnTo>
                  <a:lnTo>
                    <a:pt x="395" y="8"/>
                  </a:lnTo>
                  <a:lnTo>
                    <a:pt x="372" y="29"/>
                  </a:lnTo>
                  <a:lnTo>
                    <a:pt x="360" y="41"/>
                  </a:lnTo>
                  <a:lnTo>
                    <a:pt x="349" y="52"/>
                  </a:lnTo>
                  <a:lnTo>
                    <a:pt x="344" y="57"/>
                  </a:lnTo>
                  <a:lnTo>
                    <a:pt x="341" y="61"/>
                  </a:lnTo>
                  <a:lnTo>
                    <a:pt x="339" y="64"/>
                  </a:lnTo>
                  <a:lnTo>
                    <a:pt x="339" y="68"/>
                  </a:lnTo>
                  <a:lnTo>
                    <a:pt x="339" y="96"/>
                  </a:lnTo>
                  <a:lnTo>
                    <a:pt x="338" y="132"/>
                  </a:lnTo>
                  <a:lnTo>
                    <a:pt x="337" y="149"/>
                  </a:lnTo>
                  <a:lnTo>
                    <a:pt x="336" y="165"/>
                  </a:lnTo>
                  <a:lnTo>
                    <a:pt x="335" y="180"/>
                  </a:lnTo>
                  <a:lnTo>
                    <a:pt x="332" y="191"/>
                  </a:lnTo>
                  <a:lnTo>
                    <a:pt x="326" y="198"/>
                  </a:lnTo>
                  <a:lnTo>
                    <a:pt x="317" y="204"/>
                  </a:lnTo>
                  <a:lnTo>
                    <a:pt x="305" y="210"/>
                  </a:lnTo>
                  <a:lnTo>
                    <a:pt x="293" y="215"/>
                  </a:lnTo>
                  <a:lnTo>
                    <a:pt x="265" y="227"/>
                  </a:lnTo>
                  <a:lnTo>
                    <a:pt x="239" y="241"/>
                  </a:lnTo>
                  <a:lnTo>
                    <a:pt x="106" y="302"/>
                  </a:lnTo>
                  <a:lnTo>
                    <a:pt x="53" y="271"/>
                  </a:lnTo>
                  <a:lnTo>
                    <a:pt x="57" y="260"/>
                  </a:lnTo>
                  <a:lnTo>
                    <a:pt x="64" y="240"/>
                  </a:lnTo>
                  <a:lnTo>
                    <a:pt x="70" y="228"/>
                  </a:lnTo>
                  <a:lnTo>
                    <a:pt x="75" y="218"/>
                  </a:lnTo>
                  <a:lnTo>
                    <a:pt x="81" y="209"/>
                  </a:lnTo>
                  <a:lnTo>
                    <a:pt x="86" y="203"/>
                  </a:lnTo>
                  <a:lnTo>
                    <a:pt x="86" y="172"/>
                  </a:lnTo>
                  <a:lnTo>
                    <a:pt x="79" y="173"/>
                  </a:lnTo>
                  <a:lnTo>
                    <a:pt x="71" y="173"/>
                  </a:lnTo>
                  <a:lnTo>
                    <a:pt x="63" y="171"/>
                  </a:lnTo>
                  <a:lnTo>
                    <a:pt x="57" y="169"/>
                  </a:lnTo>
                  <a:lnTo>
                    <a:pt x="49" y="167"/>
                  </a:lnTo>
                  <a:lnTo>
                    <a:pt x="41" y="165"/>
                  </a:lnTo>
                  <a:lnTo>
                    <a:pt x="34" y="165"/>
                  </a:lnTo>
                  <a:lnTo>
                    <a:pt x="26" y="16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85" name="Freeform 534"/>
            <p:cNvSpPr>
              <a:spLocks/>
            </p:cNvSpPr>
            <p:nvPr>
              <p:custDataLst>
                <p:tags r:id="rId370"/>
              </p:custDataLst>
            </p:nvPr>
          </p:nvSpPr>
          <p:spPr bwMode="auto">
            <a:xfrm>
              <a:off x="9052557" y="3531039"/>
              <a:ext cx="42862" cy="79375"/>
            </a:xfrm>
            <a:custGeom>
              <a:avLst/>
              <a:gdLst>
                <a:gd name="T0" fmla="*/ 2147483647 w 100"/>
                <a:gd name="T1" fmla="*/ 2147483647 h 155"/>
                <a:gd name="T2" fmla="*/ 2147483647 w 100"/>
                <a:gd name="T3" fmla="*/ 2147483647 h 155"/>
                <a:gd name="T4" fmla="*/ 2147483647 w 100"/>
                <a:gd name="T5" fmla="*/ 2147483647 h 155"/>
                <a:gd name="T6" fmla="*/ 2147483647 w 100"/>
                <a:gd name="T7" fmla="*/ 2147483647 h 155"/>
                <a:gd name="T8" fmla="*/ 2147483647 w 100"/>
                <a:gd name="T9" fmla="*/ 2147483647 h 155"/>
                <a:gd name="T10" fmla="*/ 2147483647 w 100"/>
                <a:gd name="T11" fmla="*/ 2147483647 h 155"/>
                <a:gd name="T12" fmla="*/ 2147483647 w 100"/>
                <a:gd name="T13" fmla="*/ 2147483647 h 155"/>
                <a:gd name="T14" fmla="*/ 2147483647 w 100"/>
                <a:gd name="T15" fmla="*/ 2147483647 h 155"/>
                <a:gd name="T16" fmla="*/ 2147483647 w 100"/>
                <a:gd name="T17" fmla="*/ 2147483647 h 155"/>
                <a:gd name="T18" fmla="*/ 2147483647 w 100"/>
                <a:gd name="T19" fmla="*/ 2147483647 h 155"/>
                <a:gd name="T20" fmla="*/ 2147483647 w 100"/>
                <a:gd name="T21" fmla="*/ 2147483647 h 155"/>
                <a:gd name="T22" fmla="*/ 2147483647 w 100"/>
                <a:gd name="T23" fmla="*/ 2147483647 h 155"/>
                <a:gd name="T24" fmla="*/ 2147483647 w 100"/>
                <a:gd name="T25" fmla="*/ 2147483647 h 155"/>
                <a:gd name="T26" fmla="*/ 2147483647 w 100"/>
                <a:gd name="T27" fmla="*/ 2147483647 h 155"/>
                <a:gd name="T28" fmla="*/ 2147483647 w 100"/>
                <a:gd name="T29" fmla="*/ 2147483647 h 155"/>
                <a:gd name="T30" fmla="*/ 2147483647 w 100"/>
                <a:gd name="T31" fmla="*/ 2147483647 h 155"/>
                <a:gd name="T32" fmla="*/ 2147483647 w 100"/>
                <a:gd name="T33" fmla="*/ 2147483647 h 155"/>
                <a:gd name="T34" fmla="*/ 2147483647 w 100"/>
                <a:gd name="T35" fmla="*/ 2147483647 h 155"/>
                <a:gd name="T36" fmla="*/ 2147483647 w 100"/>
                <a:gd name="T37" fmla="*/ 2147483647 h 155"/>
                <a:gd name="T38" fmla="*/ 2147483647 w 100"/>
                <a:gd name="T39" fmla="*/ 2147483647 h 155"/>
                <a:gd name="T40" fmla="*/ 2147483647 w 100"/>
                <a:gd name="T41" fmla="*/ 2147483647 h 155"/>
                <a:gd name="T42" fmla="*/ 2147483647 w 100"/>
                <a:gd name="T43" fmla="*/ 2147483647 h 155"/>
                <a:gd name="T44" fmla="*/ 2147483647 w 100"/>
                <a:gd name="T45" fmla="*/ 2147483647 h 155"/>
                <a:gd name="T46" fmla="*/ 0 w 100"/>
                <a:gd name="T47" fmla="*/ 2147483647 h 155"/>
                <a:gd name="T48" fmla="*/ 0 w 100"/>
                <a:gd name="T49" fmla="*/ 2147483647 h 155"/>
                <a:gd name="T50" fmla="*/ 0 w 100"/>
                <a:gd name="T51" fmla="*/ 2147483647 h 155"/>
                <a:gd name="T52" fmla="*/ 0 w 100"/>
                <a:gd name="T53" fmla="*/ 2147483647 h 155"/>
                <a:gd name="T54" fmla="*/ 0 w 100"/>
                <a:gd name="T55" fmla="*/ 2147483647 h 155"/>
                <a:gd name="T56" fmla="*/ 0 w 100"/>
                <a:gd name="T57" fmla="*/ 2147483647 h 155"/>
                <a:gd name="T58" fmla="*/ 2147483647 w 100"/>
                <a:gd name="T59" fmla="*/ 2147483647 h 155"/>
                <a:gd name="T60" fmla="*/ 2147483647 w 100"/>
                <a:gd name="T61" fmla="*/ 2147483647 h 155"/>
                <a:gd name="T62" fmla="*/ 2147483647 w 100"/>
                <a:gd name="T63" fmla="*/ 2147483647 h 155"/>
                <a:gd name="T64" fmla="*/ 2147483647 w 100"/>
                <a:gd name="T65" fmla="*/ 2147483647 h 155"/>
                <a:gd name="T66" fmla="*/ 2147483647 w 100"/>
                <a:gd name="T67" fmla="*/ 2147483647 h 155"/>
                <a:gd name="T68" fmla="*/ 2147483647 w 100"/>
                <a:gd name="T69" fmla="*/ 2147483647 h 155"/>
                <a:gd name="T70" fmla="*/ 2147483647 w 100"/>
                <a:gd name="T71" fmla="*/ 2147483647 h 155"/>
                <a:gd name="T72" fmla="*/ 2147483647 w 100"/>
                <a:gd name="T73" fmla="*/ 2147483647 h 155"/>
                <a:gd name="T74" fmla="*/ 2147483647 w 100"/>
                <a:gd name="T75" fmla="*/ 2147483647 h 155"/>
                <a:gd name="T76" fmla="*/ 2147483647 w 100"/>
                <a:gd name="T77" fmla="*/ 2147483647 h 155"/>
                <a:gd name="T78" fmla="*/ 2147483647 w 100"/>
                <a:gd name="T79" fmla="*/ 0 h 155"/>
                <a:gd name="T80" fmla="*/ 2147483647 w 100"/>
                <a:gd name="T81" fmla="*/ 0 h 155"/>
                <a:gd name="T82" fmla="*/ 2147483647 w 100"/>
                <a:gd name="T83" fmla="*/ 0 h 155"/>
                <a:gd name="T84" fmla="*/ 2147483647 w 100"/>
                <a:gd name="T85" fmla="*/ 2147483647 h 1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00" h="155">
                  <a:moveTo>
                    <a:pt x="100" y="1"/>
                  </a:moveTo>
                  <a:lnTo>
                    <a:pt x="100" y="30"/>
                  </a:lnTo>
                  <a:lnTo>
                    <a:pt x="100" y="55"/>
                  </a:lnTo>
                  <a:lnTo>
                    <a:pt x="100" y="78"/>
                  </a:lnTo>
                  <a:lnTo>
                    <a:pt x="100" y="99"/>
                  </a:lnTo>
                  <a:lnTo>
                    <a:pt x="98" y="109"/>
                  </a:lnTo>
                  <a:lnTo>
                    <a:pt x="94" y="118"/>
                  </a:lnTo>
                  <a:lnTo>
                    <a:pt x="89" y="128"/>
                  </a:lnTo>
                  <a:lnTo>
                    <a:pt x="82" y="137"/>
                  </a:lnTo>
                  <a:lnTo>
                    <a:pt x="73" y="144"/>
                  </a:lnTo>
                  <a:lnTo>
                    <a:pt x="62" y="150"/>
                  </a:lnTo>
                  <a:lnTo>
                    <a:pt x="57" y="152"/>
                  </a:lnTo>
                  <a:lnTo>
                    <a:pt x="51" y="154"/>
                  </a:lnTo>
                  <a:lnTo>
                    <a:pt x="46" y="155"/>
                  </a:lnTo>
                  <a:lnTo>
                    <a:pt x="39" y="155"/>
                  </a:lnTo>
                  <a:lnTo>
                    <a:pt x="35" y="154"/>
                  </a:lnTo>
                  <a:lnTo>
                    <a:pt x="30" y="153"/>
                  </a:lnTo>
                  <a:lnTo>
                    <a:pt x="26" y="151"/>
                  </a:lnTo>
                  <a:lnTo>
                    <a:pt x="22" y="149"/>
                  </a:lnTo>
                  <a:lnTo>
                    <a:pt x="15" y="142"/>
                  </a:lnTo>
                  <a:lnTo>
                    <a:pt x="9" y="134"/>
                  </a:lnTo>
                  <a:lnTo>
                    <a:pt x="5" y="124"/>
                  </a:lnTo>
                  <a:lnTo>
                    <a:pt x="2" y="113"/>
                  </a:lnTo>
                  <a:lnTo>
                    <a:pt x="0" y="103"/>
                  </a:lnTo>
                  <a:lnTo>
                    <a:pt x="0" y="93"/>
                  </a:lnTo>
                  <a:lnTo>
                    <a:pt x="0" y="77"/>
                  </a:lnTo>
                  <a:lnTo>
                    <a:pt x="0" y="65"/>
                  </a:lnTo>
                  <a:lnTo>
                    <a:pt x="0" y="56"/>
                  </a:lnTo>
                  <a:lnTo>
                    <a:pt x="0" y="50"/>
                  </a:lnTo>
                  <a:lnTo>
                    <a:pt x="15" y="50"/>
                  </a:lnTo>
                  <a:lnTo>
                    <a:pt x="26" y="50"/>
                  </a:lnTo>
                  <a:lnTo>
                    <a:pt x="26" y="40"/>
                  </a:lnTo>
                  <a:lnTo>
                    <a:pt x="27" y="31"/>
                  </a:lnTo>
                  <a:lnTo>
                    <a:pt x="29" y="23"/>
                  </a:lnTo>
                  <a:lnTo>
                    <a:pt x="31" y="17"/>
                  </a:lnTo>
                  <a:lnTo>
                    <a:pt x="35" y="12"/>
                  </a:lnTo>
                  <a:lnTo>
                    <a:pt x="39" y="7"/>
                  </a:lnTo>
                  <a:lnTo>
                    <a:pt x="42" y="4"/>
                  </a:lnTo>
                  <a:lnTo>
                    <a:pt x="48" y="2"/>
                  </a:lnTo>
                  <a:lnTo>
                    <a:pt x="59" y="0"/>
                  </a:lnTo>
                  <a:lnTo>
                    <a:pt x="71" y="0"/>
                  </a:lnTo>
                  <a:lnTo>
                    <a:pt x="84" y="0"/>
                  </a:lnTo>
                  <a:lnTo>
                    <a:pt x="100" y="1"/>
                  </a:lnTo>
                </a:path>
              </a:pathLst>
            </a:custGeom>
            <a:solidFill>
              <a:srgbClr val="FFFF0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grpSp>
          <p:nvGrpSpPr>
            <p:cNvPr id="1445" name="Group 535"/>
            <p:cNvGrpSpPr>
              <a:grpSpLocks/>
            </p:cNvGrpSpPr>
            <p:nvPr>
              <p:custDataLst>
                <p:tags r:id="rId371"/>
              </p:custDataLst>
            </p:nvPr>
          </p:nvGrpSpPr>
          <p:grpSpPr bwMode="auto">
            <a:xfrm>
              <a:off x="6699882" y="2999227"/>
              <a:ext cx="482600" cy="201612"/>
              <a:chOff x="3289" y="1830"/>
              <a:chExt cx="363" cy="128"/>
            </a:xfrm>
            <a:solidFill>
              <a:srgbClr val="FF0000"/>
            </a:solidFill>
          </p:grpSpPr>
          <p:sp>
            <p:nvSpPr>
              <p:cNvPr id="1456" name="Freeform 536"/>
              <p:cNvSpPr>
                <a:spLocks/>
              </p:cNvSpPr>
              <p:nvPr/>
            </p:nvSpPr>
            <p:spPr bwMode="auto">
              <a:xfrm>
                <a:off x="3289" y="1871"/>
                <a:ext cx="4" cy="3"/>
              </a:xfrm>
              <a:custGeom>
                <a:avLst/>
                <a:gdLst>
                  <a:gd name="T0" fmla="*/ 13 w 13"/>
                  <a:gd name="T1" fmla="*/ 0 h 7"/>
                  <a:gd name="T2" fmla="*/ 12 w 13"/>
                  <a:gd name="T3" fmla="*/ 1 h 7"/>
                  <a:gd name="T4" fmla="*/ 9 w 13"/>
                  <a:gd name="T5" fmla="*/ 3 h 7"/>
                  <a:gd name="T6" fmla="*/ 4 w 13"/>
                  <a:gd name="T7" fmla="*/ 5 h 7"/>
                  <a:gd name="T8" fmla="*/ 0 w 13"/>
                  <a:gd name="T9" fmla="*/ 7 h 7"/>
                  <a:gd name="T10" fmla="*/ 7 w 13"/>
                  <a:gd name="T11" fmla="*/ 3 h 7"/>
                  <a:gd name="T12" fmla="*/ 13 w 13"/>
                  <a:gd name="T13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7">
                    <a:moveTo>
                      <a:pt x="13" y="0"/>
                    </a:moveTo>
                    <a:lnTo>
                      <a:pt x="12" y="1"/>
                    </a:lnTo>
                    <a:lnTo>
                      <a:pt x="9" y="3"/>
                    </a:lnTo>
                    <a:lnTo>
                      <a:pt x="4" y="5"/>
                    </a:lnTo>
                    <a:lnTo>
                      <a:pt x="0" y="7"/>
                    </a:lnTo>
                    <a:lnTo>
                      <a:pt x="7" y="3"/>
                    </a:lnTo>
                    <a:lnTo>
                      <a:pt x="13" y="0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57" name="Freeform 537"/>
              <p:cNvSpPr>
                <a:spLocks/>
              </p:cNvSpPr>
              <p:nvPr/>
            </p:nvSpPr>
            <p:spPr bwMode="auto">
              <a:xfrm>
                <a:off x="3324" y="1937"/>
                <a:ext cx="10" cy="3"/>
              </a:xfrm>
              <a:custGeom>
                <a:avLst/>
                <a:gdLst>
                  <a:gd name="T0" fmla="*/ 0 w 34"/>
                  <a:gd name="T1" fmla="*/ 6 h 8"/>
                  <a:gd name="T2" fmla="*/ 7 w 34"/>
                  <a:gd name="T3" fmla="*/ 5 h 8"/>
                  <a:gd name="T4" fmla="*/ 15 w 34"/>
                  <a:gd name="T5" fmla="*/ 3 h 8"/>
                  <a:gd name="T6" fmla="*/ 25 w 34"/>
                  <a:gd name="T7" fmla="*/ 1 h 8"/>
                  <a:gd name="T8" fmla="*/ 34 w 34"/>
                  <a:gd name="T9" fmla="*/ 0 h 8"/>
                  <a:gd name="T10" fmla="*/ 31 w 34"/>
                  <a:gd name="T11" fmla="*/ 2 h 8"/>
                  <a:gd name="T12" fmla="*/ 27 w 34"/>
                  <a:gd name="T13" fmla="*/ 4 h 8"/>
                  <a:gd name="T14" fmla="*/ 22 w 34"/>
                  <a:gd name="T15" fmla="*/ 6 h 8"/>
                  <a:gd name="T16" fmla="*/ 18 w 34"/>
                  <a:gd name="T17" fmla="*/ 7 h 8"/>
                  <a:gd name="T18" fmla="*/ 12 w 34"/>
                  <a:gd name="T19" fmla="*/ 8 h 8"/>
                  <a:gd name="T20" fmla="*/ 8 w 34"/>
                  <a:gd name="T21" fmla="*/ 8 h 8"/>
                  <a:gd name="T22" fmla="*/ 4 w 34"/>
                  <a:gd name="T23" fmla="*/ 8 h 8"/>
                  <a:gd name="T24" fmla="*/ 0 w 34"/>
                  <a:gd name="T2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4" h="8">
                    <a:moveTo>
                      <a:pt x="0" y="6"/>
                    </a:moveTo>
                    <a:lnTo>
                      <a:pt x="7" y="5"/>
                    </a:lnTo>
                    <a:lnTo>
                      <a:pt x="15" y="3"/>
                    </a:lnTo>
                    <a:lnTo>
                      <a:pt x="25" y="1"/>
                    </a:lnTo>
                    <a:lnTo>
                      <a:pt x="34" y="0"/>
                    </a:lnTo>
                    <a:lnTo>
                      <a:pt x="31" y="2"/>
                    </a:lnTo>
                    <a:lnTo>
                      <a:pt x="27" y="4"/>
                    </a:lnTo>
                    <a:lnTo>
                      <a:pt x="22" y="6"/>
                    </a:lnTo>
                    <a:lnTo>
                      <a:pt x="18" y="7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0" y="6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58" name="Freeform 538"/>
              <p:cNvSpPr>
                <a:spLocks/>
              </p:cNvSpPr>
              <p:nvPr/>
            </p:nvSpPr>
            <p:spPr bwMode="auto">
              <a:xfrm>
                <a:off x="3343" y="1948"/>
                <a:ext cx="4" cy="8"/>
              </a:xfrm>
              <a:custGeom>
                <a:avLst/>
                <a:gdLst>
                  <a:gd name="T0" fmla="*/ 0 w 13"/>
                  <a:gd name="T1" fmla="*/ 24 h 24"/>
                  <a:gd name="T2" fmla="*/ 0 w 13"/>
                  <a:gd name="T3" fmla="*/ 0 h 24"/>
                  <a:gd name="T4" fmla="*/ 13 w 13"/>
                  <a:gd name="T5" fmla="*/ 12 h 24"/>
                  <a:gd name="T6" fmla="*/ 0 w 13"/>
                  <a:gd name="T7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24">
                    <a:moveTo>
                      <a:pt x="0" y="24"/>
                    </a:moveTo>
                    <a:lnTo>
                      <a:pt x="0" y="0"/>
                    </a:lnTo>
                    <a:lnTo>
                      <a:pt x="13" y="12"/>
                    </a:lnTo>
                    <a:lnTo>
                      <a:pt x="0" y="24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59" name="Freeform 539"/>
              <p:cNvSpPr>
                <a:spLocks/>
              </p:cNvSpPr>
              <p:nvPr/>
            </p:nvSpPr>
            <p:spPr bwMode="auto">
              <a:xfrm>
                <a:off x="3313" y="1834"/>
                <a:ext cx="34" cy="23"/>
              </a:xfrm>
              <a:custGeom>
                <a:avLst/>
                <a:gdLst>
                  <a:gd name="T0" fmla="*/ 0 w 107"/>
                  <a:gd name="T1" fmla="*/ 13 h 69"/>
                  <a:gd name="T2" fmla="*/ 0 w 107"/>
                  <a:gd name="T3" fmla="*/ 27 h 69"/>
                  <a:gd name="T4" fmla="*/ 0 w 107"/>
                  <a:gd name="T5" fmla="*/ 45 h 69"/>
                  <a:gd name="T6" fmla="*/ 0 w 107"/>
                  <a:gd name="T7" fmla="*/ 62 h 69"/>
                  <a:gd name="T8" fmla="*/ 0 w 107"/>
                  <a:gd name="T9" fmla="*/ 69 h 69"/>
                  <a:gd name="T10" fmla="*/ 16 w 107"/>
                  <a:gd name="T11" fmla="*/ 66 h 69"/>
                  <a:gd name="T12" fmla="*/ 49 w 107"/>
                  <a:gd name="T13" fmla="*/ 58 h 69"/>
                  <a:gd name="T14" fmla="*/ 85 w 107"/>
                  <a:gd name="T15" fmla="*/ 50 h 69"/>
                  <a:gd name="T16" fmla="*/ 107 w 107"/>
                  <a:gd name="T17" fmla="*/ 44 h 69"/>
                  <a:gd name="T18" fmla="*/ 101 w 107"/>
                  <a:gd name="T19" fmla="*/ 38 h 69"/>
                  <a:gd name="T20" fmla="*/ 94 w 107"/>
                  <a:gd name="T21" fmla="*/ 34 h 69"/>
                  <a:gd name="T22" fmla="*/ 86 w 107"/>
                  <a:gd name="T23" fmla="*/ 30 h 69"/>
                  <a:gd name="T24" fmla="*/ 78 w 107"/>
                  <a:gd name="T25" fmla="*/ 27 h 69"/>
                  <a:gd name="T26" fmla="*/ 72 w 107"/>
                  <a:gd name="T27" fmla="*/ 23 h 69"/>
                  <a:gd name="T28" fmla="*/ 65 w 107"/>
                  <a:gd name="T29" fmla="*/ 18 h 69"/>
                  <a:gd name="T30" fmla="*/ 63 w 107"/>
                  <a:gd name="T31" fmla="*/ 15 h 69"/>
                  <a:gd name="T32" fmla="*/ 62 w 107"/>
                  <a:gd name="T33" fmla="*/ 11 h 69"/>
                  <a:gd name="T34" fmla="*/ 61 w 107"/>
                  <a:gd name="T35" fmla="*/ 7 h 69"/>
                  <a:gd name="T36" fmla="*/ 61 w 107"/>
                  <a:gd name="T37" fmla="*/ 0 h 69"/>
                  <a:gd name="T38" fmla="*/ 54 w 107"/>
                  <a:gd name="T39" fmla="*/ 1 h 69"/>
                  <a:gd name="T40" fmla="*/ 38 w 107"/>
                  <a:gd name="T41" fmla="*/ 4 h 69"/>
                  <a:gd name="T42" fmla="*/ 18 w 107"/>
                  <a:gd name="T43" fmla="*/ 9 h 69"/>
                  <a:gd name="T44" fmla="*/ 0 w 107"/>
                  <a:gd name="T45" fmla="*/ 13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7" h="69">
                    <a:moveTo>
                      <a:pt x="0" y="13"/>
                    </a:moveTo>
                    <a:lnTo>
                      <a:pt x="0" y="27"/>
                    </a:lnTo>
                    <a:lnTo>
                      <a:pt x="0" y="45"/>
                    </a:lnTo>
                    <a:lnTo>
                      <a:pt x="0" y="62"/>
                    </a:lnTo>
                    <a:lnTo>
                      <a:pt x="0" y="69"/>
                    </a:lnTo>
                    <a:lnTo>
                      <a:pt x="16" y="66"/>
                    </a:lnTo>
                    <a:lnTo>
                      <a:pt x="49" y="58"/>
                    </a:lnTo>
                    <a:lnTo>
                      <a:pt x="85" y="50"/>
                    </a:lnTo>
                    <a:lnTo>
                      <a:pt x="107" y="44"/>
                    </a:lnTo>
                    <a:lnTo>
                      <a:pt x="101" y="38"/>
                    </a:lnTo>
                    <a:lnTo>
                      <a:pt x="94" y="34"/>
                    </a:lnTo>
                    <a:lnTo>
                      <a:pt x="86" y="30"/>
                    </a:lnTo>
                    <a:lnTo>
                      <a:pt x="78" y="27"/>
                    </a:lnTo>
                    <a:lnTo>
                      <a:pt x="72" y="23"/>
                    </a:lnTo>
                    <a:lnTo>
                      <a:pt x="65" y="18"/>
                    </a:lnTo>
                    <a:lnTo>
                      <a:pt x="63" y="15"/>
                    </a:lnTo>
                    <a:lnTo>
                      <a:pt x="62" y="11"/>
                    </a:lnTo>
                    <a:lnTo>
                      <a:pt x="61" y="7"/>
                    </a:lnTo>
                    <a:lnTo>
                      <a:pt x="61" y="0"/>
                    </a:lnTo>
                    <a:lnTo>
                      <a:pt x="54" y="1"/>
                    </a:lnTo>
                    <a:lnTo>
                      <a:pt x="38" y="4"/>
                    </a:lnTo>
                    <a:lnTo>
                      <a:pt x="18" y="9"/>
                    </a:lnTo>
                    <a:lnTo>
                      <a:pt x="0" y="13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  <p:sp>
            <p:nvSpPr>
              <p:cNvPr id="1460" name="Freeform 540"/>
              <p:cNvSpPr>
                <a:spLocks/>
              </p:cNvSpPr>
              <p:nvPr/>
            </p:nvSpPr>
            <p:spPr bwMode="auto">
              <a:xfrm>
                <a:off x="3302" y="1830"/>
                <a:ext cx="350" cy="128"/>
              </a:xfrm>
              <a:custGeom>
                <a:avLst/>
                <a:gdLst>
                  <a:gd name="T0" fmla="*/ 992 w 1070"/>
                  <a:gd name="T1" fmla="*/ 124 h 382"/>
                  <a:gd name="T2" fmla="*/ 970 w 1070"/>
                  <a:gd name="T3" fmla="*/ 103 h 382"/>
                  <a:gd name="T4" fmla="*/ 962 w 1070"/>
                  <a:gd name="T5" fmla="*/ 57 h 382"/>
                  <a:gd name="T6" fmla="*/ 936 w 1070"/>
                  <a:gd name="T7" fmla="*/ 36 h 382"/>
                  <a:gd name="T8" fmla="*/ 817 w 1070"/>
                  <a:gd name="T9" fmla="*/ 19 h 382"/>
                  <a:gd name="T10" fmla="*/ 726 w 1070"/>
                  <a:gd name="T11" fmla="*/ 58 h 382"/>
                  <a:gd name="T12" fmla="*/ 678 w 1070"/>
                  <a:gd name="T13" fmla="*/ 65 h 382"/>
                  <a:gd name="T14" fmla="*/ 632 w 1070"/>
                  <a:gd name="T15" fmla="*/ 65 h 382"/>
                  <a:gd name="T16" fmla="*/ 612 w 1070"/>
                  <a:gd name="T17" fmla="*/ 44 h 382"/>
                  <a:gd name="T18" fmla="*/ 560 w 1070"/>
                  <a:gd name="T19" fmla="*/ 37 h 382"/>
                  <a:gd name="T20" fmla="*/ 525 w 1070"/>
                  <a:gd name="T21" fmla="*/ 19 h 382"/>
                  <a:gd name="T22" fmla="*/ 483 w 1070"/>
                  <a:gd name="T23" fmla="*/ 21 h 382"/>
                  <a:gd name="T24" fmla="*/ 465 w 1070"/>
                  <a:gd name="T25" fmla="*/ 0 h 382"/>
                  <a:gd name="T26" fmla="*/ 390 w 1070"/>
                  <a:gd name="T27" fmla="*/ 16 h 382"/>
                  <a:gd name="T28" fmla="*/ 299 w 1070"/>
                  <a:gd name="T29" fmla="*/ 26 h 382"/>
                  <a:gd name="T30" fmla="*/ 257 w 1070"/>
                  <a:gd name="T31" fmla="*/ 45 h 382"/>
                  <a:gd name="T32" fmla="*/ 138 w 1070"/>
                  <a:gd name="T33" fmla="*/ 61 h 382"/>
                  <a:gd name="T34" fmla="*/ 173 w 1070"/>
                  <a:gd name="T35" fmla="*/ 75 h 382"/>
                  <a:gd name="T36" fmla="*/ 164 w 1070"/>
                  <a:gd name="T37" fmla="*/ 90 h 382"/>
                  <a:gd name="T38" fmla="*/ 114 w 1070"/>
                  <a:gd name="T39" fmla="*/ 93 h 382"/>
                  <a:gd name="T40" fmla="*/ 42 w 1070"/>
                  <a:gd name="T41" fmla="*/ 94 h 382"/>
                  <a:gd name="T42" fmla="*/ 8 w 1070"/>
                  <a:gd name="T43" fmla="*/ 110 h 382"/>
                  <a:gd name="T44" fmla="*/ 0 w 1070"/>
                  <a:gd name="T45" fmla="*/ 147 h 382"/>
                  <a:gd name="T46" fmla="*/ 16 w 1070"/>
                  <a:gd name="T47" fmla="*/ 167 h 382"/>
                  <a:gd name="T48" fmla="*/ 22 w 1070"/>
                  <a:gd name="T49" fmla="*/ 193 h 382"/>
                  <a:gd name="T50" fmla="*/ 21 w 1070"/>
                  <a:gd name="T51" fmla="*/ 210 h 382"/>
                  <a:gd name="T52" fmla="*/ 49 w 1070"/>
                  <a:gd name="T53" fmla="*/ 237 h 382"/>
                  <a:gd name="T54" fmla="*/ 56 w 1070"/>
                  <a:gd name="T55" fmla="*/ 259 h 382"/>
                  <a:gd name="T56" fmla="*/ 74 w 1070"/>
                  <a:gd name="T57" fmla="*/ 271 h 382"/>
                  <a:gd name="T58" fmla="*/ 96 w 1070"/>
                  <a:gd name="T59" fmla="*/ 290 h 382"/>
                  <a:gd name="T60" fmla="*/ 205 w 1070"/>
                  <a:gd name="T61" fmla="*/ 352 h 382"/>
                  <a:gd name="T62" fmla="*/ 253 w 1070"/>
                  <a:gd name="T63" fmla="*/ 370 h 382"/>
                  <a:gd name="T64" fmla="*/ 267 w 1070"/>
                  <a:gd name="T65" fmla="*/ 358 h 382"/>
                  <a:gd name="T66" fmla="*/ 277 w 1070"/>
                  <a:gd name="T67" fmla="*/ 338 h 382"/>
                  <a:gd name="T68" fmla="*/ 297 w 1070"/>
                  <a:gd name="T69" fmla="*/ 316 h 382"/>
                  <a:gd name="T70" fmla="*/ 334 w 1070"/>
                  <a:gd name="T71" fmla="*/ 323 h 382"/>
                  <a:gd name="T72" fmla="*/ 362 w 1070"/>
                  <a:gd name="T73" fmla="*/ 358 h 382"/>
                  <a:gd name="T74" fmla="*/ 399 w 1070"/>
                  <a:gd name="T75" fmla="*/ 370 h 382"/>
                  <a:gd name="T76" fmla="*/ 447 w 1070"/>
                  <a:gd name="T77" fmla="*/ 359 h 382"/>
                  <a:gd name="T78" fmla="*/ 493 w 1070"/>
                  <a:gd name="T79" fmla="*/ 335 h 382"/>
                  <a:gd name="T80" fmla="*/ 525 w 1070"/>
                  <a:gd name="T81" fmla="*/ 327 h 382"/>
                  <a:gd name="T82" fmla="*/ 564 w 1070"/>
                  <a:gd name="T83" fmla="*/ 326 h 382"/>
                  <a:gd name="T84" fmla="*/ 567 w 1070"/>
                  <a:gd name="T85" fmla="*/ 367 h 382"/>
                  <a:gd name="T86" fmla="*/ 590 w 1070"/>
                  <a:gd name="T87" fmla="*/ 377 h 382"/>
                  <a:gd name="T88" fmla="*/ 613 w 1070"/>
                  <a:gd name="T89" fmla="*/ 362 h 382"/>
                  <a:gd name="T90" fmla="*/ 647 w 1070"/>
                  <a:gd name="T91" fmla="*/ 336 h 382"/>
                  <a:gd name="T92" fmla="*/ 752 w 1070"/>
                  <a:gd name="T93" fmla="*/ 327 h 382"/>
                  <a:gd name="T94" fmla="*/ 831 w 1070"/>
                  <a:gd name="T95" fmla="*/ 315 h 382"/>
                  <a:gd name="T96" fmla="*/ 918 w 1070"/>
                  <a:gd name="T97" fmla="*/ 283 h 382"/>
                  <a:gd name="T98" fmla="*/ 967 w 1070"/>
                  <a:gd name="T99" fmla="*/ 286 h 382"/>
                  <a:gd name="T100" fmla="*/ 1005 w 1070"/>
                  <a:gd name="T101" fmla="*/ 293 h 382"/>
                  <a:gd name="T102" fmla="*/ 1056 w 1070"/>
                  <a:gd name="T103" fmla="*/ 308 h 382"/>
                  <a:gd name="T104" fmla="*/ 1056 w 1070"/>
                  <a:gd name="T105" fmla="*/ 268 h 382"/>
                  <a:gd name="T106" fmla="*/ 1026 w 1070"/>
                  <a:gd name="T107" fmla="*/ 219 h 382"/>
                  <a:gd name="T108" fmla="*/ 1017 w 1070"/>
                  <a:gd name="T109" fmla="*/ 167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70" h="382">
                    <a:moveTo>
                      <a:pt x="1011" y="142"/>
                    </a:moveTo>
                    <a:lnTo>
                      <a:pt x="1011" y="136"/>
                    </a:lnTo>
                    <a:lnTo>
                      <a:pt x="1011" y="123"/>
                    </a:lnTo>
                    <a:lnTo>
                      <a:pt x="1000" y="125"/>
                    </a:lnTo>
                    <a:lnTo>
                      <a:pt x="992" y="124"/>
                    </a:lnTo>
                    <a:lnTo>
                      <a:pt x="984" y="122"/>
                    </a:lnTo>
                    <a:lnTo>
                      <a:pt x="980" y="119"/>
                    </a:lnTo>
                    <a:lnTo>
                      <a:pt x="976" y="114"/>
                    </a:lnTo>
                    <a:lnTo>
                      <a:pt x="972" y="109"/>
                    </a:lnTo>
                    <a:lnTo>
                      <a:pt x="970" y="103"/>
                    </a:lnTo>
                    <a:lnTo>
                      <a:pt x="969" y="96"/>
                    </a:lnTo>
                    <a:lnTo>
                      <a:pt x="967" y="82"/>
                    </a:lnTo>
                    <a:lnTo>
                      <a:pt x="966" y="68"/>
                    </a:lnTo>
                    <a:lnTo>
                      <a:pt x="965" y="62"/>
                    </a:lnTo>
                    <a:lnTo>
                      <a:pt x="962" y="57"/>
                    </a:lnTo>
                    <a:lnTo>
                      <a:pt x="960" y="53"/>
                    </a:lnTo>
                    <a:lnTo>
                      <a:pt x="957" y="50"/>
                    </a:lnTo>
                    <a:lnTo>
                      <a:pt x="950" y="44"/>
                    </a:lnTo>
                    <a:lnTo>
                      <a:pt x="944" y="40"/>
                    </a:lnTo>
                    <a:lnTo>
                      <a:pt x="936" y="36"/>
                    </a:lnTo>
                    <a:lnTo>
                      <a:pt x="928" y="33"/>
                    </a:lnTo>
                    <a:lnTo>
                      <a:pt x="912" y="28"/>
                    </a:lnTo>
                    <a:lnTo>
                      <a:pt x="894" y="25"/>
                    </a:lnTo>
                    <a:lnTo>
                      <a:pt x="857" y="22"/>
                    </a:lnTo>
                    <a:lnTo>
                      <a:pt x="817" y="19"/>
                    </a:lnTo>
                    <a:lnTo>
                      <a:pt x="799" y="29"/>
                    </a:lnTo>
                    <a:lnTo>
                      <a:pt x="769" y="43"/>
                    </a:lnTo>
                    <a:lnTo>
                      <a:pt x="752" y="50"/>
                    </a:lnTo>
                    <a:lnTo>
                      <a:pt x="734" y="56"/>
                    </a:lnTo>
                    <a:lnTo>
                      <a:pt x="726" y="58"/>
                    </a:lnTo>
                    <a:lnTo>
                      <a:pt x="719" y="60"/>
                    </a:lnTo>
                    <a:lnTo>
                      <a:pt x="711" y="61"/>
                    </a:lnTo>
                    <a:lnTo>
                      <a:pt x="704" y="62"/>
                    </a:lnTo>
                    <a:lnTo>
                      <a:pt x="692" y="63"/>
                    </a:lnTo>
                    <a:lnTo>
                      <a:pt x="678" y="65"/>
                    </a:lnTo>
                    <a:lnTo>
                      <a:pt x="664" y="67"/>
                    </a:lnTo>
                    <a:lnTo>
                      <a:pt x="652" y="68"/>
                    </a:lnTo>
                    <a:lnTo>
                      <a:pt x="644" y="68"/>
                    </a:lnTo>
                    <a:lnTo>
                      <a:pt x="637" y="67"/>
                    </a:lnTo>
                    <a:lnTo>
                      <a:pt x="632" y="65"/>
                    </a:lnTo>
                    <a:lnTo>
                      <a:pt x="626" y="63"/>
                    </a:lnTo>
                    <a:lnTo>
                      <a:pt x="622" y="59"/>
                    </a:lnTo>
                    <a:lnTo>
                      <a:pt x="618" y="55"/>
                    </a:lnTo>
                    <a:lnTo>
                      <a:pt x="614" y="50"/>
                    </a:lnTo>
                    <a:lnTo>
                      <a:pt x="612" y="44"/>
                    </a:lnTo>
                    <a:lnTo>
                      <a:pt x="601" y="45"/>
                    </a:lnTo>
                    <a:lnTo>
                      <a:pt x="591" y="44"/>
                    </a:lnTo>
                    <a:lnTo>
                      <a:pt x="581" y="42"/>
                    </a:lnTo>
                    <a:lnTo>
                      <a:pt x="571" y="40"/>
                    </a:lnTo>
                    <a:lnTo>
                      <a:pt x="560" y="37"/>
                    </a:lnTo>
                    <a:lnTo>
                      <a:pt x="549" y="34"/>
                    </a:lnTo>
                    <a:lnTo>
                      <a:pt x="537" y="32"/>
                    </a:lnTo>
                    <a:lnTo>
                      <a:pt x="525" y="32"/>
                    </a:lnTo>
                    <a:lnTo>
                      <a:pt x="525" y="25"/>
                    </a:lnTo>
                    <a:lnTo>
                      <a:pt x="525" y="19"/>
                    </a:lnTo>
                    <a:lnTo>
                      <a:pt x="512" y="22"/>
                    </a:lnTo>
                    <a:lnTo>
                      <a:pt x="499" y="25"/>
                    </a:lnTo>
                    <a:lnTo>
                      <a:pt x="493" y="25"/>
                    </a:lnTo>
                    <a:lnTo>
                      <a:pt x="488" y="23"/>
                    </a:lnTo>
                    <a:lnTo>
                      <a:pt x="483" y="21"/>
                    </a:lnTo>
                    <a:lnTo>
                      <a:pt x="477" y="17"/>
                    </a:lnTo>
                    <a:lnTo>
                      <a:pt x="473" y="13"/>
                    </a:lnTo>
                    <a:lnTo>
                      <a:pt x="468" y="9"/>
                    </a:lnTo>
                    <a:lnTo>
                      <a:pt x="466" y="5"/>
                    </a:lnTo>
                    <a:lnTo>
                      <a:pt x="465" y="0"/>
                    </a:lnTo>
                    <a:lnTo>
                      <a:pt x="456" y="5"/>
                    </a:lnTo>
                    <a:lnTo>
                      <a:pt x="445" y="9"/>
                    </a:lnTo>
                    <a:lnTo>
                      <a:pt x="432" y="12"/>
                    </a:lnTo>
                    <a:lnTo>
                      <a:pt x="419" y="14"/>
                    </a:lnTo>
                    <a:lnTo>
                      <a:pt x="390" y="16"/>
                    </a:lnTo>
                    <a:lnTo>
                      <a:pt x="360" y="19"/>
                    </a:lnTo>
                    <a:lnTo>
                      <a:pt x="343" y="20"/>
                    </a:lnTo>
                    <a:lnTo>
                      <a:pt x="329" y="21"/>
                    </a:lnTo>
                    <a:lnTo>
                      <a:pt x="313" y="23"/>
                    </a:lnTo>
                    <a:lnTo>
                      <a:pt x="299" y="26"/>
                    </a:lnTo>
                    <a:lnTo>
                      <a:pt x="286" y="30"/>
                    </a:lnTo>
                    <a:lnTo>
                      <a:pt x="274" y="35"/>
                    </a:lnTo>
                    <a:lnTo>
                      <a:pt x="267" y="38"/>
                    </a:lnTo>
                    <a:lnTo>
                      <a:pt x="262" y="41"/>
                    </a:lnTo>
                    <a:lnTo>
                      <a:pt x="257" y="45"/>
                    </a:lnTo>
                    <a:lnTo>
                      <a:pt x="253" y="50"/>
                    </a:lnTo>
                    <a:lnTo>
                      <a:pt x="147" y="50"/>
                    </a:lnTo>
                    <a:lnTo>
                      <a:pt x="145" y="54"/>
                    </a:lnTo>
                    <a:lnTo>
                      <a:pt x="142" y="58"/>
                    </a:lnTo>
                    <a:lnTo>
                      <a:pt x="138" y="61"/>
                    </a:lnTo>
                    <a:lnTo>
                      <a:pt x="133" y="62"/>
                    </a:lnTo>
                    <a:lnTo>
                      <a:pt x="143" y="65"/>
                    </a:lnTo>
                    <a:lnTo>
                      <a:pt x="153" y="68"/>
                    </a:lnTo>
                    <a:lnTo>
                      <a:pt x="163" y="70"/>
                    </a:lnTo>
                    <a:lnTo>
                      <a:pt x="173" y="75"/>
                    </a:lnTo>
                    <a:lnTo>
                      <a:pt x="173" y="79"/>
                    </a:lnTo>
                    <a:lnTo>
                      <a:pt x="172" y="83"/>
                    </a:lnTo>
                    <a:lnTo>
                      <a:pt x="170" y="86"/>
                    </a:lnTo>
                    <a:lnTo>
                      <a:pt x="167" y="88"/>
                    </a:lnTo>
                    <a:lnTo>
                      <a:pt x="164" y="90"/>
                    </a:lnTo>
                    <a:lnTo>
                      <a:pt x="161" y="91"/>
                    </a:lnTo>
                    <a:lnTo>
                      <a:pt x="158" y="92"/>
                    </a:lnTo>
                    <a:lnTo>
                      <a:pt x="153" y="93"/>
                    </a:lnTo>
                    <a:lnTo>
                      <a:pt x="133" y="94"/>
                    </a:lnTo>
                    <a:lnTo>
                      <a:pt x="114" y="93"/>
                    </a:lnTo>
                    <a:lnTo>
                      <a:pt x="108" y="93"/>
                    </a:lnTo>
                    <a:lnTo>
                      <a:pt x="94" y="93"/>
                    </a:lnTo>
                    <a:lnTo>
                      <a:pt x="74" y="93"/>
                    </a:lnTo>
                    <a:lnTo>
                      <a:pt x="53" y="93"/>
                    </a:lnTo>
                    <a:lnTo>
                      <a:pt x="42" y="94"/>
                    </a:lnTo>
                    <a:lnTo>
                      <a:pt x="31" y="95"/>
                    </a:lnTo>
                    <a:lnTo>
                      <a:pt x="22" y="99"/>
                    </a:lnTo>
                    <a:lnTo>
                      <a:pt x="15" y="104"/>
                    </a:lnTo>
                    <a:lnTo>
                      <a:pt x="11" y="107"/>
                    </a:lnTo>
                    <a:lnTo>
                      <a:pt x="8" y="110"/>
                    </a:lnTo>
                    <a:lnTo>
                      <a:pt x="6" y="114"/>
                    </a:lnTo>
                    <a:lnTo>
                      <a:pt x="4" y="119"/>
                    </a:lnTo>
                    <a:lnTo>
                      <a:pt x="2" y="130"/>
                    </a:lnTo>
                    <a:lnTo>
                      <a:pt x="0" y="142"/>
                    </a:lnTo>
                    <a:lnTo>
                      <a:pt x="0" y="147"/>
                    </a:lnTo>
                    <a:lnTo>
                      <a:pt x="2" y="151"/>
                    </a:lnTo>
                    <a:lnTo>
                      <a:pt x="4" y="154"/>
                    </a:lnTo>
                    <a:lnTo>
                      <a:pt x="5" y="157"/>
                    </a:lnTo>
                    <a:lnTo>
                      <a:pt x="10" y="162"/>
                    </a:lnTo>
                    <a:lnTo>
                      <a:pt x="16" y="167"/>
                    </a:lnTo>
                    <a:lnTo>
                      <a:pt x="20" y="173"/>
                    </a:lnTo>
                    <a:lnTo>
                      <a:pt x="22" y="179"/>
                    </a:lnTo>
                    <a:lnTo>
                      <a:pt x="24" y="183"/>
                    </a:lnTo>
                    <a:lnTo>
                      <a:pt x="24" y="188"/>
                    </a:lnTo>
                    <a:lnTo>
                      <a:pt x="22" y="193"/>
                    </a:lnTo>
                    <a:lnTo>
                      <a:pt x="20" y="198"/>
                    </a:lnTo>
                    <a:lnTo>
                      <a:pt x="19" y="200"/>
                    </a:lnTo>
                    <a:lnTo>
                      <a:pt x="19" y="203"/>
                    </a:lnTo>
                    <a:lnTo>
                      <a:pt x="20" y="206"/>
                    </a:lnTo>
                    <a:lnTo>
                      <a:pt x="21" y="210"/>
                    </a:lnTo>
                    <a:lnTo>
                      <a:pt x="25" y="217"/>
                    </a:lnTo>
                    <a:lnTo>
                      <a:pt x="30" y="224"/>
                    </a:lnTo>
                    <a:lnTo>
                      <a:pt x="37" y="230"/>
                    </a:lnTo>
                    <a:lnTo>
                      <a:pt x="44" y="235"/>
                    </a:lnTo>
                    <a:lnTo>
                      <a:pt x="49" y="237"/>
                    </a:lnTo>
                    <a:lnTo>
                      <a:pt x="52" y="239"/>
                    </a:lnTo>
                    <a:lnTo>
                      <a:pt x="56" y="241"/>
                    </a:lnTo>
                    <a:lnTo>
                      <a:pt x="60" y="241"/>
                    </a:lnTo>
                    <a:lnTo>
                      <a:pt x="59" y="250"/>
                    </a:lnTo>
                    <a:lnTo>
                      <a:pt x="56" y="259"/>
                    </a:lnTo>
                    <a:lnTo>
                      <a:pt x="52" y="266"/>
                    </a:lnTo>
                    <a:lnTo>
                      <a:pt x="47" y="271"/>
                    </a:lnTo>
                    <a:lnTo>
                      <a:pt x="56" y="271"/>
                    </a:lnTo>
                    <a:lnTo>
                      <a:pt x="66" y="271"/>
                    </a:lnTo>
                    <a:lnTo>
                      <a:pt x="74" y="271"/>
                    </a:lnTo>
                    <a:lnTo>
                      <a:pt x="81" y="271"/>
                    </a:lnTo>
                    <a:lnTo>
                      <a:pt x="82" y="275"/>
                    </a:lnTo>
                    <a:lnTo>
                      <a:pt x="84" y="280"/>
                    </a:lnTo>
                    <a:lnTo>
                      <a:pt x="89" y="284"/>
                    </a:lnTo>
                    <a:lnTo>
                      <a:pt x="96" y="290"/>
                    </a:lnTo>
                    <a:lnTo>
                      <a:pt x="112" y="302"/>
                    </a:lnTo>
                    <a:lnTo>
                      <a:pt x="131" y="313"/>
                    </a:lnTo>
                    <a:lnTo>
                      <a:pt x="170" y="334"/>
                    </a:lnTo>
                    <a:lnTo>
                      <a:pt x="193" y="345"/>
                    </a:lnTo>
                    <a:lnTo>
                      <a:pt x="205" y="352"/>
                    </a:lnTo>
                    <a:lnTo>
                      <a:pt x="218" y="360"/>
                    </a:lnTo>
                    <a:lnTo>
                      <a:pt x="226" y="364"/>
                    </a:lnTo>
                    <a:lnTo>
                      <a:pt x="234" y="367"/>
                    </a:lnTo>
                    <a:lnTo>
                      <a:pt x="243" y="370"/>
                    </a:lnTo>
                    <a:lnTo>
                      <a:pt x="253" y="370"/>
                    </a:lnTo>
                    <a:lnTo>
                      <a:pt x="255" y="370"/>
                    </a:lnTo>
                    <a:lnTo>
                      <a:pt x="257" y="367"/>
                    </a:lnTo>
                    <a:lnTo>
                      <a:pt x="261" y="365"/>
                    </a:lnTo>
                    <a:lnTo>
                      <a:pt x="264" y="361"/>
                    </a:lnTo>
                    <a:lnTo>
                      <a:pt x="267" y="358"/>
                    </a:lnTo>
                    <a:lnTo>
                      <a:pt x="271" y="355"/>
                    </a:lnTo>
                    <a:lnTo>
                      <a:pt x="275" y="353"/>
                    </a:lnTo>
                    <a:lnTo>
                      <a:pt x="279" y="352"/>
                    </a:lnTo>
                    <a:lnTo>
                      <a:pt x="277" y="344"/>
                    </a:lnTo>
                    <a:lnTo>
                      <a:pt x="277" y="338"/>
                    </a:lnTo>
                    <a:lnTo>
                      <a:pt x="278" y="332"/>
                    </a:lnTo>
                    <a:lnTo>
                      <a:pt x="280" y="326"/>
                    </a:lnTo>
                    <a:lnTo>
                      <a:pt x="284" y="322"/>
                    </a:lnTo>
                    <a:lnTo>
                      <a:pt x="289" y="318"/>
                    </a:lnTo>
                    <a:lnTo>
                      <a:pt x="297" y="316"/>
                    </a:lnTo>
                    <a:lnTo>
                      <a:pt x="306" y="315"/>
                    </a:lnTo>
                    <a:lnTo>
                      <a:pt x="316" y="315"/>
                    </a:lnTo>
                    <a:lnTo>
                      <a:pt x="323" y="317"/>
                    </a:lnTo>
                    <a:lnTo>
                      <a:pt x="329" y="320"/>
                    </a:lnTo>
                    <a:lnTo>
                      <a:pt x="334" y="323"/>
                    </a:lnTo>
                    <a:lnTo>
                      <a:pt x="343" y="332"/>
                    </a:lnTo>
                    <a:lnTo>
                      <a:pt x="350" y="342"/>
                    </a:lnTo>
                    <a:lnTo>
                      <a:pt x="353" y="347"/>
                    </a:lnTo>
                    <a:lnTo>
                      <a:pt x="357" y="353"/>
                    </a:lnTo>
                    <a:lnTo>
                      <a:pt x="362" y="358"/>
                    </a:lnTo>
                    <a:lnTo>
                      <a:pt x="367" y="362"/>
                    </a:lnTo>
                    <a:lnTo>
                      <a:pt x="373" y="365"/>
                    </a:lnTo>
                    <a:lnTo>
                      <a:pt x="380" y="368"/>
                    </a:lnTo>
                    <a:lnTo>
                      <a:pt x="389" y="370"/>
                    </a:lnTo>
                    <a:lnTo>
                      <a:pt x="399" y="370"/>
                    </a:lnTo>
                    <a:lnTo>
                      <a:pt x="409" y="370"/>
                    </a:lnTo>
                    <a:lnTo>
                      <a:pt x="418" y="369"/>
                    </a:lnTo>
                    <a:lnTo>
                      <a:pt x="425" y="367"/>
                    </a:lnTo>
                    <a:lnTo>
                      <a:pt x="433" y="365"/>
                    </a:lnTo>
                    <a:lnTo>
                      <a:pt x="447" y="359"/>
                    </a:lnTo>
                    <a:lnTo>
                      <a:pt x="459" y="352"/>
                    </a:lnTo>
                    <a:lnTo>
                      <a:pt x="472" y="345"/>
                    </a:lnTo>
                    <a:lnTo>
                      <a:pt x="483" y="339"/>
                    </a:lnTo>
                    <a:lnTo>
                      <a:pt x="488" y="336"/>
                    </a:lnTo>
                    <a:lnTo>
                      <a:pt x="493" y="335"/>
                    </a:lnTo>
                    <a:lnTo>
                      <a:pt x="499" y="333"/>
                    </a:lnTo>
                    <a:lnTo>
                      <a:pt x="506" y="333"/>
                    </a:lnTo>
                    <a:lnTo>
                      <a:pt x="512" y="332"/>
                    </a:lnTo>
                    <a:lnTo>
                      <a:pt x="521" y="329"/>
                    </a:lnTo>
                    <a:lnTo>
                      <a:pt x="525" y="327"/>
                    </a:lnTo>
                    <a:lnTo>
                      <a:pt x="529" y="325"/>
                    </a:lnTo>
                    <a:lnTo>
                      <a:pt x="531" y="323"/>
                    </a:lnTo>
                    <a:lnTo>
                      <a:pt x="532" y="321"/>
                    </a:lnTo>
                    <a:lnTo>
                      <a:pt x="565" y="321"/>
                    </a:lnTo>
                    <a:lnTo>
                      <a:pt x="564" y="326"/>
                    </a:lnTo>
                    <a:lnTo>
                      <a:pt x="563" y="333"/>
                    </a:lnTo>
                    <a:lnTo>
                      <a:pt x="564" y="341"/>
                    </a:lnTo>
                    <a:lnTo>
                      <a:pt x="565" y="349"/>
                    </a:lnTo>
                    <a:lnTo>
                      <a:pt x="566" y="358"/>
                    </a:lnTo>
                    <a:lnTo>
                      <a:pt x="567" y="367"/>
                    </a:lnTo>
                    <a:lnTo>
                      <a:pt x="567" y="375"/>
                    </a:lnTo>
                    <a:lnTo>
                      <a:pt x="565" y="382"/>
                    </a:lnTo>
                    <a:lnTo>
                      <a:pt x="575" y="381"/>
                    </a:lnTo>
                    <a:lnTo>
                      <a:pt x="582" y="379"/>
                    </a:lnTo>
                    <a:lnTo>
                      <a:pt x="590" y="377"/>
                    </a:lnTo>
                    <a:lnTo>
                      <a:pt x="596" y="375"/>
                    </a:lnTo>
                    <a:lnTo>
                      <a:pt x="601" y="372"/>
                    </a:lnTo>
                    <a:lnTo>
                      <a:pt x="605" y="369"/>
                    </a:lnTo>
                    <a:lnTo>
                      <a:pt x="610" y="366"/>
                    </a:lnTo>
                    <a:lnTo>
                      <a:pt x="613" y="362"/>
                    </a:lnTo>
                    <a:lnTo>
                      <a:pt x="623" y="345"/>
                    </a:lnTo>
                    <a:lnTo>
                      <a:pt x="632" y="327"/>
                    </a:lnTo>
                    <a:lnTo>
                      <a:pt x="636" y="331"/>
                    </a:lnTo>
                    <a:lnTo>
                      <a:pt x="641" y="334"/>
                    </a:lnTo>
                    <a:lnTo>
                      <a:pt x="647" y="336"/>
                    </a:lnTo>
                    <a:lnTo>
                      <a:pt x="654" y="337"/>
                    </a:lnTo>
                    <a:lnTo>
                      <a:pt x="669" y="338"/>
                    </a:lnTo>
                    <a:lnTo>
                      <a:pt x="687" y="336"/>
                    </a:lnTo>
                    <a:lnTo>
                      <a:pt x="721" y="330"/>
                    </a:lnTo>
                    <a:lnTo>
                      <a:pt x="752" y="327"/>
                    </a:lnTo>
                    <a:lnTo>
                      <a:pt x="767" y="327"/>
                    </a:lnTo>
                    <a:lnTo>
                      <a:pt x="781" y="325"/>
                    </a:lnTo>
                    <a:lnTo>
                      <a:pt x="794" y="324"/>
                    </a:lnTo>
                    <a:lnTo>
                      <a:pt x="808" y="321"/>
                    </a:lnTo>
                    <a:lnTo>
                      <a:pt x="831" y="315"/>
                    </a:lnTo>
                    <a:lnTo>
                      <a:pt x="853" y="307"/>
                    </a:lnTo>
                    <a:lnTo>
                      <a:pt x="873" y="299"/>
                    </a:lnTo>
                    <a:lnTo>
                      <a:pt x="895" y="290"/>
                    </a:lnTo>
                    <a:lnTo>
                      <a:pt x="906" y="287"/>
                    </a:lnTo>
                    <a:lnTo>
                      <a:pt x="918" y="283"/>
                    </a:lnTo>
                    <a:lnTo>
                      <a:pt x="930" y="280"/>
                    </a:lnTo>
                    <a:lnTo>
                      <a:pt x="944" y="278"/>
                    </a:lnTo>
                    <a:lnTo>
                      <a:pt x="951" y="279"/>
                    </a:lnTo>
                    <a:lnTo>
                      <a:pt x="961" y="284"/>
                    </a:lnTo>
                    <a:lnTo>
                      <a:pt x="967" y="286"/>
                    </a:lnTo>
                    <a:lnTo>
                      <a:pt x="972" y="288"/>
                    </a:lnTo>
                    <a:lnTo>
                      <a:pt x="979" y="289"/>
                    </a:lnTo>
                    <a:lnTo>
                      <a:pt x="983" y="290"/>
                    </a:lnTo>
                    <a:lnTo>
                      <a:pt x="995" y="290"/>
                    </a:lnTo>
                    <a:lnTo>
                      <a:pt x="1005" y="293"/>
                    </a:lnTo>
                    <a:lnTo>
                      <a:pt x="1015" y="295"/>
                    </a:lnTo>
                    <a:lnTo>
                      <a:pt x="1024" y="300"/>
                    </a:lnTo>
                    <a:lnTo>
                      <a:pt x="1034" y="303"/>
                    </a:lnTo>
                    <a:lnTo>
                      <a:pt x="1045" y="306"/>
                    </a:lnTo>
                    <a:lnTo>
                      <a:pt x="1056" y="308"/>
                    </a:lnTo>
                    <a:lnTo>
                      <a:pt x="1070" y="309"/>
                    </a:lnTo>
                    <a:lnTo>
                      <a:pt x="1068" y="297"/>
                    </a:lnTo>
                    <a:lnTo>
                      <a:pt x="1063" y="286"/>
                    </a:lnTo>
                    <a:lnTo>
                      <a:pt x="1060" y="276"/>
                    </a:lnTo>
                    <a:lnTo>
                      <a:pt x="1056" y="268"/>
                    </a:lnTo>
                    <a:lnTo>
                      <a:pt x="1047" y="254"/>
                    </a:lnTo>
                    <a:lnTo>
                      <a:pt x="1038" y="241"/>
                    </a:lnTo>
                    <a:lnTo>
                      <a:pt x="1034" y="233"/>
                    </a:lnTo>
                    <a:lnTo>
                      <a:pt x="1030" y="226"/>
                    </a:lnTo>
                    <a:lnTo>
                      <a:pt x="1026" y="219"/>
                    </a:lnTo>
                    <a:lnTo>
                      <a:pt x="1024" y="211"/>
                    </a:lnTo>
                    <a:lnTo>
                      <a:pt x="1021" y="202"/>
                    </a:lnTo>
                    <a:lnTo>
                      <a:pt x="1018" y="192"/>
                    </a:lnTo>
                    <a:lnTo>
                      <a:pt x="1017" y="179"/>
                    </a:lnTo>
                    <a:lnTo>
                      <a:pt x="1017" y="167"/>
                    </a:lnTo>
                    <a:lnTo>
                      <a:pt x="1014" y="152"/>
                    </a:lnTo>
                    <a:lnTo>
                      <a:pt x="1011" y="142"/>
                    </a:ln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es-ES">
                  <a:cs typeface="+mn-cs"/>
                </a:endParaRPr>
              </a:p>
            </p:txBody>
          </p:sp>
        </p:grpSp>
        <p:sp>
          <p:nvSpPr>
            <p:cNvPr id="25987" name="Freeform 541"/>
            <p:cNvSpPr>
              <a:spLocks/>
            </p:cNvSpPr>
            <p:nvPr>
              <p:custDataLst>
                <p:tags r:id="rId372"/>
              </p:custDataLst>
            </p:nvPr>
          </p:nvSpPr>
          <p:spPr bwMode="auto">
            <a:xfrm>
              <a:off x="4688519" y="4151752"/>
              <a:ext cx="100013" cy="122237"/>
            </a:xfrm>
            <a:custGeom>
              <a:avLst/>
              <a:gdLst>
                <a:gd name="T0" fmla="*/ 2147483647 w 226"/>
                <a:gd name="T1" fmla="*/ 2147483647 h 237"/>
                <a:gd name="T2" fmla="*/ 2147483647 w 226"/>
                <a:gd name="T3" fmla="*/ 2147483647 h 237"/>
                <a:gd name="T4" fmla="*/ 2147483647 w 226"/>
                <a:gd name="T5" fmla="*/ 2147483647 h 237"/>
                <a:gd name="T6" fmla="*/ 2147483647 w 226"/>
                <a:gd name="T7" fmla="*/ 2147483647 h 237"/>
                <a:gd name="T8" fmla="*/ 2147483647 w 226"/>
                <a:gd name="T9" fmla="*/ 2147483647 h 237"/>
                <a:gd name="T10" fmla="*/ 2147483647 w 226"/>
                <a:gd name="T11" fmla="*/ 2147483647 h 237"/>
                <a:gd name="T12" fmla="*/ 2147483647 w 226"/>
                <a:gd name="T13" fmla="*/ 2147483647 h 237"/>
                <a:gd name="T14" fmla="*/ 2147483647 w 226"/>
                <a:gd name="T15" fmla="*/ 2147483647 h 237"/>
                <a:gd name="T16" fmla="*/ 2147483647 w 226"/>
                <a:gd name="T17" fmla="*/ 2147483647 h 237"/>
                <a:gd name="T18" fmla="*/ 2147483647 w 226"/>
                <a:gd name="T19" fmla="*/ 2147483647 h 237"/>
                <a:gd name="T20" fmla="*/ 2147483647 w 226"/>
                <a:gd name="T21" fmla="*/ 2147483647 h 237"/>
                <a:gd name="T22" fmla="*/ 2147483647 w 226"/>
                <a:gd name="T23" fmla="*/ 2147483647 h 237"/>
                <a:gd name="T24" fmla="*/ 2147483647 w 226"/>
                <a:gd name="T25" fmla="*/ 2147483647 h 237"/>
                <a:gd name="T26" fmla="*/ 2147483647 w 226"/>
                <a:gd name="T27" fmla="*/ 2147483647 h 237"/>
                <a:gd name="T28" fmla="*/ 2147483647 w 226"/>
                <a:gd name="T29" fmla="*/ 2147483647 h 237"/>
                <a:gd name="T30" fmla="*/ 2147483647 w 226"/>
                <a:gd name="T31" fmla="*/ 2147483647 h 237"/>
                <a:gd name="T32" fmla="*/ 2147483647 w 226"/>
                <a:gd name="T33" fmla="*/ 2147483647 h 237"/>
                <a:gd name="T34" fmla="*/ 2147483647 w 226"/>
                <a:gd name="T35" fmla="*/ 2147483647 h 237"/>
                <a:gd name="T36" fmla="*/ 2147483647 w 226"/>
                <a:gd name="T37" fmla="*/ 2147483647 h 237"/>
                <a:gd name="T38" fmla="*/ 2147483647 w 226"/>
                <a:gd name="T39" fmla="*/ 2147483647 h 237"/>
                <a:gd name="T40" fmla="*/ 2147483647 w 226"/>
                <a:gd name="T41" fmla="*/ 2147483647 h 237"/>
                <a:gd name="T42" fmla="*/ 2147483647 w 226"/>
                <a:gd name="T43" fmla="*/ 2147483647 h 237"/>
                <a:gd name="T44" fmla="*/ 2147483647 w 226"/>
                <a:gd name="T45" fmla="*/ 2147483647 h 237"/>
                <a:gd name="T46" fmla="*/ 2147483647 w 226"/>
                <a:gd name="T47" fmla="*/ 2147483647 h 237"/>
                <a:gd name="T48" fmla="*/ 2147483647 w 226"/>
                <a:gd name="T49" fmla="*/ 2147483647 h 237"/>
                <a:gd name="T50" fmla="*/ 2147483647 w 226"/>
                <a:gd name="T51" fmla="*/ 2147483647 h 237"/>
                <a:gd name="T52" fmla="*/ 2147483647 w 226"/>
                <a:gd name="T53" fmla="*/ 2147483647 h 237"/>
                <a:gd name="T54" fmla="*/ 2147483647 w 226"/>
                <a:gd name="T55" fmla="*/ 2147483647 h 237"/>
                <a:gd name="T56" fmla="*/ 2147483647 w 226"/>
                <a:gd name="T57" fmla="*/ 2147483647 h 237"/>
                <a:gd name="T58" fmla="*/ 0 w 226"/>
                <a:gd name="T59" fmla="*/ 2147483647 h 237"/>
                <a:gd name="T60" fmla="*/ 2147483647 w 226"/>
                <a:gd name="T61" fmla="*/ 2147483647 h 237"/>
                <a:gd name="T62" fmla="*/ 2147483647 w 226"/>
                <a:gd name="T63" fmla="*/ 2147483647 h 237"/>
                <a:gd name="T64" fmla="*/ 2147483647 w 226"/>
                <a:gd name="T65" fmla="*/ 2147483647 h 237"/>
                <a:gd name="T66" fmla="*/ 2147483647 w 226"/>
                <a:gd name="T67" fmla="*/ 2147483647 h 237"/>
                <a:gd name="T68" fmla="*/ 2147483647 w 226"/>
                <a:gd name="T69" fmla="*/ 2147483647 h 237"/>
                <a:gd name="T70" fmla="*/ 2147483647 w 226"/>
                <a:gd name="T71" fmla="*/ 2147483647 h 23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26" h="237">
                  <a:moveTo>
                    <a:pt x="61" y="234"/>
                  </a:moveTo>
                  <a:lnTo>
                    <a:pt x="63" y="236"/>
                  </a:lnTo>
                  <a:lnTo>
                    <a:pt x="65" y="237"/>
                  </a:lnTo>
                  <a:lnTo>
                    <a:pt x="68" y="237"/>
                  </a:lnTo>
                  <a:lnTo>
                    <a:pt x="70" y="237"/>
                  </a:lnTo>
                  <a:lnTo>
                    <a:pt x="75" y="235"/>
                  </a:lnTo>
                  <a:lnTo>
                    <a:pt x="80" y="234"/>
                  </a:lnTo>
                  <a:lnTo>
                    <a:pt x="83" y="234"/>
                  </a:lnTo>
                  <a:lnTo>
                    <a:pt x="86" y="232"/>
                  </a:lnTo>
                  <a:lnTo>
                    <a:pt x="89" y="230"/>
                  </a:lnTo>
                  <a:lnTo>
                    <a:pt x="92" y="227"/>
                  </a:lnTo>
                  <a:lnTo>
                    <a:pt x="96" y="223"/>
                  </a:lnTo>
                  <a:lnTo>
                    <a:pt x="98" y="219"/>
                  </a:lnTo>
                  <a:lnTo>
                    <a:pt x="99" y="214"/>
                  </a:lnTo>
                  <a:lnTo>
                    <a:pt x="100" y="209"/>
                  </a:lnTo>
                  <a:lnTo>
                    <a:pt x="123" y="209"/>
                  </a:lnTo>
                  <a:lnTo>
                    <a:pt x="145" y="208"/>
                  </a:lnTo>
                  <a:lnTo>
                    <a:pt x="166" y="205"/>
                  </a:lnTo>
                  <a:lnTo>
                    <a:pt x="186" y="201"/>
                  </a:lnTo>
                  <a:lnTo>
                    <a:pt x="195" y="198"/>
                  </a:lnTo>
                  <a:lnTo>
                    <a:pt x="202" y="195"/>
                  </a:lnTo>
                  <a:lnTo>
                    <a:pt x="209" y="191"/>
                  </a:lnTo>
                  <a:lnTo>
                    <a:pt x="215" y="186"/>
                  </a:lnTo>
                  <a:lnTo>
                    <a:pt x="220" y="181"/>
                  </a:lnTo>
                  <a:lnTo>
                    <a:pt x="223" y="175"/>
                  </a:lnTo>
                  <a:lnTo>
                    <a:pt x="225" y="168"/>
                  </a:lnTo>
                  <a:lnTo>
                    <a:pt x="226" y="161"/>
                  </a:lnTo>
                  <a:lnTo>
                    <a:pt x="226" y="153"/>
                  </a:lnTo>
                  <a:lnTo>
                    <a:pt x="225" y="147"/>
                  </a:lnTo>
                  <a:lnTo>
                    <a:pt x="223" y="140"/>
                  </a:lnTo>
                  <a:lnTo>
                    <a:pt x="221" y="134"/>
                  </a:lnTo>
                  <a:lnTo>
                    <a:pt x="215" y="123"/>
                  </a:lnTo>
                  <a:lnTo>
                    <a:pt x="210" y="112"/>
                  </a:lnTo>
                  <a:lnTo>
                    <a:pt x="203" y="100"/>
                  </a:lnTo>
                  <a:lnTo>
                    <a:pt x="198" y="90"/>
                  </a:lnTo>
                  <a:lnTo>
                    <a:pt x="196" y="84"/>
                  </a:lnTo>
                  <a:lnTo>
                    <a:pt x="195" y="79"/>
                  </a:lnTo>
                  <a:lnTo>
                    <a:pt x="193" y="74"/>
                  </a:lnTo>
                  <a:lnTo>
                    <a:pt x="193" y="68"/>
                  </a:lnTo>
                  <a:lnTo>
                    <a:pt x="195" y="59"/>
                  </a:lnTo>
                  <a:lnTo>
                    <a:pt x="197" y="51"/>
                  </a:lnTo>
                  <a:lnTo>
                    <a:pt x="200" y="43"/>
                  </a:lnTo>
                  <a:lnTo>
                    <a:pt x="204" y="36"/>
                  </a:lnTo>
                  <a:lnTo>
                    <a:pt x="213" y="25"/>
                  </a:lnTo>
                  <a:lnTo>
                    <a:pt x="220" y="19"/>
                  </a:lnTo>
                  <a:lnTo>
                    <a:pt x="213" y="14"/>
                  </a:lnTo>
                  <a:lnTo>
                    <a:pt x="203" y="11"/>
                  </a:lnTo>
                  <a:lnTo>
                    <a:pt x="191" y="7"/>
                  </a:lnTo>
                  <a:lnTo>
                    <a:pt x="179" y="5"/>
                  </a:lnTo>
                  <a:lnTo>
                    <a:pt x="154" y="2"/>
                  </a:lnTo>
                  <a:lnTo>
                    <a:pt x="133" y="0"/>
                  </a:lnTo>
                  <a:lnTo>
                    <a:pt x="20" y="6"/>
                  </a:lnTo>
                  <a:lnTo>
                    <a:pt x="20" y="19"/>
                  </a:lnTo>
                  <a:lnTo>
                    <a:pt x="18" y="31"/>
                  </a:lnTo>
                  <a:lnTo>
                    <a:pt x="14" y="42"/>
                  </a:lnTo>
                  <a:lnTo>
                    <a:pt x="10" y="54"/>
                  </a:lnTo>
                  <a:lnTo>
                    <a:pt x="7" y="66"/>
                  </a:lnTo>
                  <a:lnTo>
                    <a:pt x="3" y="79"/>
                  </a:lnTo>
                  <a:lnTo>
                    <a:pt x="1" y="93"/>
                  </a:lnTo>
                  <a:lnTo>
                    <a:pt x="0" y="111"/>
                  </a:lnTo>
                  <a:lnTo>
                    <a:pt x="1" y="121"/>
                  </a:lnTo>
                  <a:lnTo>
                    <a:pt x="3" y="130"/>
                  </a:lnTo>
                  <a:lnTo>
                    <a:pt x="6" y="138"/>
                  </a:lnTo>
                  <a:lnTo>
                    <a:pt x="10" y="146"/>
                  </a:lnTo>
                  <a:lnTo>
                    <a:pt x="19" y="159"/>
                  </a:lnTo>
                  <a:lnTo>
                    <a:pt x="30" y="173"/>
                  </a:lnTo>
                  <a:lnTo>
                    <a:pt x="41" y="185"/>
                  </a:lnTo>
                  <a:lnTo>
                    <a:pt x="51" y="199"/>
                  </a:lnTo>
                  <a:lnTo>
                    <a:pt x="55" y="207"/>
                  </a:lnTo>
                  <a:lnTo>
                    <a:pt x="57" y="216"/>
                  </a:lnTo>
                  <a:lnTo>
                    <a:pt x="59" y="225"/>
                  </a:lnTo>
                  <a:lnTo>
                    <a:pt x="61" y="234"/>
                  </a:lnTo>
                </a:path>
              </a:pathLst>
            </a:custGeom>
            <a:solidFill>
              <a:srgbClr val="19194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88" name="Freeform 542"/>
            <p:cNvSpPr>
              <a:spLocks/>
            </p:cNvSpPr>
            <p:nvPr>
              <p:custDataLst>
                <p:tags r:id="rId373"/>
              </p:custDataLst>
            </p:nvPr>
          </p:nvSpPr>
          <p:spPr bwMode="auto">
            <a:xfrm>
              <a:off x="8633457" y="3588189"/>
              <a:ext cx="207962" cy="458788"/>
            </a:xfrm>
            <a:custGeom>
              <a:avLst/>
              <a:gdLst>
                <a:gd name="T0" fmla="*/ 2147483647 w 478"/>
                <a:gd name="T1" fmla="*/ 2147483647 h 875"/>
                <a:gd name="T2" fmla="*/ 2147483647 w 478"/>
                <a:gd name="T3" fmla="*/ 2147483647 h 875"/>
                <a:gd name="T4" fmla="*/ 2147483647 w 478"/>
                <a:gd name="T5" fmla="*/ 2147483647 h 875"/>
                <a:gd name="T6" fmla="*/ 2147483647 w 478"/>
                <a:gd name="T7" fmla="*/ 2147483647 h 875"/>
                <a:gd name="T8" fmla="*/ 2147483647 w 478"/>
                <a:gd name="T9" fmla="*/ 2147483647 h 875"/>
                <a:gd name="T10" fmla="*/ 2147483647 w 478"/>
                <a:gd name="T11" fmla="*/ 2147483647 h 875"/>
                <a:gd name="T12" fmla="*/ 2147483647 w 478"/>
                <a:gd name="T13" fmla="*/ 2147483647 h 875"/>
                <a:gd name="T14" fmla="*/ 2147483647 w 478"/>
                <a:gd name="T15" fmla="*/ 2147483647 h 875"/>
                <a:gd name="T16" fmla="*/ 2147483647 w 478"/>
                <a:gd name="T17" fmla="*/ 2147483647 h 875"/>
                <a:gd name="T18" fmla="*/ 2147483647 w 478"/>
                <a:gd name="T19" fmla="*/ 2147483647 h 875"/>
                <a:gd name="T20" fmla="*/ 2147483647 w 478"/>
                <a:gd name="T21" fmla="*/ 2147483647 h 875"/>
                <a:gd name="T22" fmla="*/ 2147483647 w 478"/>
                <a:gd name="T23" fmla="*/ 2147483647 h 875"/>
                <a:gd name="T24" fmla="*/ 2147483647 w 478"/>
                <a:gd name="T25" fmla="*/ 2147483647 h 875"/>
                <a:gd name="T26" fmla="*/ 2147483647 w 478"/>
                <a:gd name="T27" fmla="*/ 2147483647 h 875"/>
                <a:gd name="T28" fmla="*/ 2147483647 w 478"/>
                <a:gd name="T29" fmla="*/ 2147483647 h 875"/>
                <a:gd name="T30" fmla="*/ 2147483647 w 478"/>
                <a:gd name="T31" fmla="*/ 2147483647 h 875"/>
                <a:gd name="T32" fmla="*/ 2147483647 w 478"/>
                <a:gd name="T33" fmla="*/ 2147483647 h 875"/>
                <a:gd name="T34" fmla="*/ 2147483647 w 478"/>
                <a:gd name="T35" fmla="*/ 2147483647 h 875"/>
                <a:gd name="T36" fmla="*/ 2147483647 w 478"/>
                <a:gd name="T37" fmla="*/ 2147483647 h 875"/>
                <a:gd name="T38" fmla="*/ 2147483647 w 478"/>
                <a:gd name="T39" fmla="*/ 2147483647 h 875"/>
                <a:gd name="T40" fmla="*/ 2147483647 w 478"/>
                <a:gd name="T41" fmla="*/ 2147483647 h 875"/>
                <a:gd name="T42" fmla="*/ 2147483647 w 478"/>
                <a:gd name="T43" fmla="*/ 2147483647 h 875"/>
                <a:gd name="T44" fmla="*/ 2147483647 w 478"/>
                <a:gd name="T45" fmla="*/ 2147483647 h 875"/>
                <a:gd name="T46" fmla="*/ 2147483647 w 478"/>
                <a:gd name="T47" fmla="*/ 2147483647 h 875"/>
                <a:gd name="T48" fmla="*/ 2147483647 w 478"/>
                <a:gd name="T49" fmla="*/ 2147483647 h 875"/>
                <a:gd name="T50" fmla="*/ 2147483647 w 478"/>
                <a:gd name="T51" fmla="*/ 2147483647 h 875"/>
                <a:gd name="T52" fmla="*/ 2147483647 w 478"/>
                <a:gd name="T53" fmla="*/ 2147483647 h 875"/>
                <a:gd name="T54" fmla="*/ 2147483647 w 478"/>
                <a:gd name="T55" fmla="*/ 2147483647 h 875"/>
                <a:gd name="T56" fmla="*/ 2147483647 w 478"/>
                <a:gd name="T57" fmla="*/ 2147483647 h 875"/>
                <a:gd name="T58" fmla="*/ 2147483647 w 478"/>
                <a:gd name="T59" fmla="*/ 2147483647 h 875"/>
                <a:gd name="T60" fmla="*/ 2147483647 w 478"/>
                <a:gd name="T61" fmla="*/ 2147483647 h 875"/>
                <a:gd name="T62" fmla="*/ 2147483647 w 478"/>
                <a:gd name="T63" fmla="*/ 2147483647 h 875"/>
                <a:gd name="T64" fmla="*/ 2147483647 w 478"/>
                <a:gd name="T65" fmla="*/ 2147483647 h 875"/>
                <a:gd name="T66" fmla="*/ 2147483647 w 478"/>
                <a:gd name="T67" fmla="*/ 2147483647 h 875"/>
                <a:gd name="T68" fmla="*/ 2147483647 w 478"/>
                <a:gd name="T69" fmla="*/ 2147483647 h 875"/>
                <a:gd name="T70" fmla="*/ 2147483647 w 478"/>
                <a:gd name="T71" fmla="*/ 2147483647 h 875"/>
                <a:gd name="T72" fmla="*/ 2147483647 w 478"/>
                <a:gd name="T73" fmla="*/ 2147483647 h 875"/>
                <a:gd name="T74" fmla="*/ 2147483647 w 478"/>
                <a:gd name="T75" fmla="*/ 2147483647 h 875"/>
                <a:gd name="T76" fmla="*/ 2147483647 w 478"/>
                <a:gd name="T77" fmla="*/ 2147483647 h 875"/>
                <a:gd name="T78" fmla="*/ 2147483647 w 478"/>
                <a:gd name="T79" fmla="*/ 2147483647 h 875"/>
                <a:gd name="T80" fmla="*/ 2147483647 w 478"/>
                <a:gd name="T81" fmla="*/ 2147483647 h 875"/>
                <a:gd name="T82" fmla="*/ 2147483647 w 478"/>
                <a:gd name="T83" fmla="*/ 2147483647 h 875"/>
                <a:gd name="T84" fmla="*/ 2147483647 w 478"/>
                <a:gd name="T85" fmla="*/ 2147483647 h 875"/>
                <a:gd name="T86" fmla="*/ 2147483647 w 478"/>
                <a:gd name="T87" fmla="*/ 2147483647 h 875"/>
                <a:gd name="T88" fmla="*/ 2147483647 w 478"/>
                <a:gd name="T89" fmla="*/ 2147483647 h 875"/>
                <a:gd name="T90" fmla="*/ 2147483647 w 478"/>
                <a:gd name="T91" fmla="*/ 2147483647 h 875"/>
                <a:gd name="T92" fmla="*/ 2147483647 w 478"/>
                <a:gd name="T93" fmla="*/ 2147483647 h 875"/>
                <a:gd name="T94" fmla="*/ 2147483647 w 478"/>
                <a:gd name="T95" fmla="*/ 2147483647 h 875"/>
                <a:gd name="T96" fmla="*/ 2147483647 w 478"/>
                <a:gd name="T97" fmla="*/ 2147483647 h 875"/>
                <a:gd name="T98" fmla="*/ 2147483647 w 478"/>
                <a:gd name="T99" fmla="*/ 2147483647 h 875"/>
                <a:gd name="T100" fmla="*/ 2147483647 w 478"/>
                <a:gd name="T101" fmla="*/ 2147483647 h 875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478" h="875">
                  <a:moveTo>
                    <a:pt x="299" y="104"/>
                  </a:moveTo>
                  <a:lnTo>
                    <a:pt x="295" y="106"/>
                  </a:lnTo>
                  <a:lnTo>
                    <a:pt x="287" y="109"/>
                  </a:lnTo>
                  <a:lnTo>
                    <a:pt x="277" y="116"/>
                  </a:lnTo>
                  <a:lnTo>
                    <a:pt x="264" y="126"/>
                  </a:lnTo>
                  <a:lnTo>
                    <a:pt x="250" y="138"/>
                  </a:lnTo>
                  <a:lnTo>
                    <a:pt x="233" y="154"/>
                  </a:lnTo>
                  <a:lnTo>
                    <a:pt x="217" y="173"/>
                  </a:lnTo>
                  <a:lnTo>
                    <a:pt x="199" y="197"/>
                  </a:lnTo>
                  <a:lnTo>
                    <a:pt x="197" y="201"/>
                  </a:lnTo>
                  <a:lnTo>
                    <a:pt x="197" y="207"/>
                  </a:lnTo>
                  <a:lnTo>
                    <a:pt x="198" y="213"/>
                  </a:lnTo>
                  <a:lnTo>
                    <a:pt x="199" y="221"/>
                  </a:lnTo>
                  <a:lnTo>
                    <a:pt x="202" y="229"/>
                  </a:lnTo>
                  <a:lnTo>
                    <a:pt x="206" y="239"/>
                  </a:lnTo>
                  <a:lnTo>
                    <a:pt x="210" y="248"/>
                  </a:lnTo>
                  <a:lnTo>
                    <a:pt x="214" y="256"/>
                  </a:lnTo>
                  <a:lnTo>
                    <a:pt x="221" y="265"/>
                  </a:lnTo>
                  <a:lnTo>
                    <a:pt x="226" y="273"/>
                  </a:lnTo>
                  <a:lnTo>
                    <a:pt x="233" y="281"/>
                  </a:lnTo>
                  <a:lnTo>
                    <a:pt x="240" y="288"/>
                  </a:lnTo>
                  <a:lnTo>
                    <a:pt x="246" y="294"/>
                  </a:lnTo>
                  <a:lnTo>
                    <a:pt x="253" y="298"/>
                  </a:lnTo>
                  <a:lnTo>
                    <a:pt x="259" y="301"/>
                  </a:lnTo>
                  <a:lnTo>
                    <a:pt x="266" y="302"/>
                  </a:lnTo>
                  <a:lnTo>
                    <a:pt x="271" y="314"/>
                  </a:lnTo>
                  <a:lnTo>
                    <a:pt x="279" y="329"/>
                  </a:lnTo>
                  <a:lnTo>
                    <a:pt x="286" y="346"/>
                  </a:lnTo>
                  <a:lnTo>
                    <a:pt x="292" y="357"/>
                  </a:lnTo>
                  <a:lnTo>
                    <a:pt x="295" y="361"/>
                  </a:lnTo>
                  <a:lnTo>
                    <a:pt x="298" y="365"/>
                  </a:lnTo>
                  <a:lnTo>
                    <a:pt x="302" y="367"/>
                  </a:lnTo>
                  <a:lnTo>
                    <a:pt x="305" y="369"/>
                  </a:lnTo>
                  <a:lnTo>
                    <a:pt x="313" y="372"/>
                  </a:lnTo>
                  <a:lnTo>
                    <a:pt x="319" y="376"/>
                  </a:lnTo>
                  <a:lnTo>
                    <a:pt x="438" y="499"/>
                  </a:lnTo>
                  <a:lnTo>
                    <a:pt x="453" y="535"/>
                  </a:lnTo>
                  <a:lnTo>
                    <a:pt x="466" y="571"/>
                  </a:lnTo>
                  <a:lnTo>
                    <a:pt x="471" y="589"/>
                  </a:lnTo>
                  <a:lnTo>
                    <a:pt x="475" y="607"/>
                  </a:lnTo>
                  <a:lnTo>
                    <a:pt x="477" y="627"/>
                  </a:lnTo>
                  <a:lnTo>
                    <a:pt x="478" y="647"/>
                  </a:lnTo>
                  <a:lnTo>
                    <a:pt x="477" y="666"/>
                  </a:lnTo>
                  <a:lnTo>
                    <a:pt x="476" y="680"/>
                  </a:lnTo>
                  <a:lnTo>
                    <a:pt x="476" y="687"/>
                  </a:lnTo>
                  <a:lnTo>
                    <a:pt x="476" y="693"/>
                  </a:lnTo>
                  <a:lnTo>
                    <a:pt x="476" y="700"/>
                  </a:lnTo>
                  <a:lnTo>
                    <a:pt x="478" y="708"/>
                  </a:lnTo>
                  <a:lnTo>
                    <a:pt x="467" y="711"/>
                  </a:lnTo>
                  <a:lnTo>
                    <a:pt x="457" y="714"/>
                  </a:lnTo>
                  <a:lnTo>
                    <a:pt x="447" y="718"/>
                  </a:lnTo>
                  <a:lnTo>
                    <a:pt x="437" y="722"/>
                  </a:lnTo>
                  <a:lnTo>
                    <a:pt x="428" y="727"/>
                  </a:lnTo>
                  <a:lnTo>
                    <a:pt x="420" y="733"/>
                  </a:lnTo>
                  <a:lnTo>
                    <a:pt x="412" y="739"/>
                  </a:lnTo>
                  <a:lnTo>
                    <a:pt x="404" y="744"/>
                  </a:lnTo>
                  <a:lnTo>
                    <a:pt x="391" y="756"/>
                  </a:lnTo>
                  <a:lnTo>
                    <a:pt x="380" y="767"/>
                  </a:lnTo>
                  <a:lnTo>
                    <a:pt x="371" y="778"/>
                  </a:lnTo>
                  <a:lnTo>
                    <a:pt x="365" y="789"/>
                  </a:lnTo>
                  <a:lnTo>
                    <a:pt x="360" y="786"/>
                  </a:lnTo>
                  <a:lnTo>
                    <a:pt x="354" y="785"/>
                  </a:lnTo>
                  <a:lnTo>
                    <a:pt x="348" y="785"/>
                  </a:lnTo>
                  <a:lnTo>
                    <a:pt x="342" y="786"/>
                  </a:lnTo>
                  <a:lnTo>
                    <a:pt x="330" y="788"/>
                  </a:lnTo>
                  <a:lnTo>
                    <a:pt x="319" y="789"/>
                  </a:lnTo>
                  <a:lnTo>
                    <a:pt x="318" y="793"/>
                  </a:lnTo>
                  <a:lnTo>
                    <a:pt x="316" y="798"/>
                  </a:lnTo>
                  <a:lnTo>
                    <a:pt x="313" y="804"/>
                  </a:lnTo>
                  <a:lnTo>
                    <a:pt x="310" y="810"/>
                  </a:lnTo>
                  <a:lnTo>
                    <a:pt x="300" y="824"/>
                  </a:lnTo>
                  <a:lnTo>
                    <a:pt x="289" y="838"/>
                  </a:lnTo>
                  <a:lnTo>
                    <a:pt x="276" y="853"/>
                  </a:lnTo>
                  <a:lnTo>
                    <a:pt x="263" y="864"/>
                  </a:lnTo>
                  <a:lnTo>
                    <a:pt x="256" y="868"/>
                  </a:lnTo>
                  <a:lnTo>
                    <a:pt x="250" y="872"/>
                  </a:lnTo>
                  <a:lnTo>
                    <a:pt x="244" y="874"/>
                  </a:lnTo>
                  <a:lnTo>
                    <a:pt x="239" y="875"/>
                  </a:lnTo>
                  <a:lnTo>
                    <a:pt x="236" y="874"/>
                  </a:lnTo>
                  <a:lnTo>
                    <a:pt x="234" y="872"/>
                  </a:lnTo>
                  <a:lnTo>
                    <a:pt x="232" y="868"/>
                  </a:lnTo>
                  <a:lnTo>
                    <a:pt x="230" y="864"/>
                  </a:lnTo>
                  <a:lnTo>
                    <a:pt x="226" y="854"/>
                  </a:lnTo>
                  <a:lnTo>
                    <a:pt x="225" y="844"/>
                  </a:lnTo>
                  <a:lnTo>
                    <a:pt x="226" y="830"/>
                  </a:lnTo>
                  <a:lnTo>
                    <a:pt x="229" y="816"/>
                  </a:lnTo>
                  <a:lnTo>
                    <a:pt x="231" y="800"/>
                  </a:lnTo>
                  <a:lnTo>
                    <a:pt x="232" y="782"/>
                  </a:lnTo>
                  <a:lnTo>
                    <a:pt x="244" y="779"/>
                  </a:lnTo>
                  <a:lnTo>
                    <a:pt x="253" y="775"/>
                  </a:lnTo>
                  <a:lnTo>
                    <a:pt x="262" y="770"/>
                  </a:lnTo>
                  <a:lnTo>
                    <a:pt x="269" y="765"/>
                  </a:lnTo>
                  <a:lnTo>
                    <a:pt x="277" y="760"/>
                  </a:lnTo>
                  <a:lnTo>
                    <a:pt x="285" y="756"/>
                  </a:lnTo>
                  <a:lnTo>
                    <a:pt x="289" y="754"/>
                  </a:lnTo>
                  <a:lnTo>
                    <a:pt x="295" y="753"/>
                  </a:lnTo>
                  <a:lnTo>
                    <a:pt x="300" y="752"/>
                  </a:lnTo>
                  <a:lnTo>
                    <a:pt x="305" y="752"/>
                  </a:lnTo>
                  <a:lnTo>
                    <a:pt x="305" y="743"/>
                  </a:lnTo>
                  <a:lnTo>
                    <a:pt x="308" y="733"/>
                  </a:lnTo>
                  <a:lnTo>
                    <a:pt x="311" y="723"/>
                  </a:lnTo>
                  <a:lnTo>
                    <a:pt x="314" y="714"/>
                  </a:lnTo>
                  <a:lnTo>
                    <a:pt x="319" y="705"/>
                  </a:lnTo>
                  <a:lnTo>
                    <a:pt x="324" y="695"/>
                  </a:lnTo>
                  <a:lnTo>
                    <a:pt x="330" y="686"/>
                  </a:lnTo>
                  <a:lnTo>
                    <a:pt x="336" y="677"/>
                  </a:lnTo>
                  <a:lnTo>
                    <a:pt x="349" y="659"/>
                  </a:lnTo>
                  <a:lnTo>
                    <a:pt x="365" y="643"/>
                  </a:lnTo>
                  <a:lnTo>
                    <a:pt x="378" y="629"/>
                  </a:lnTo>
                  <a:lnTo>
                    <a:pt x="392" y="616"/>
                  </a:lnTo>
                  <a:lnTo>
                    <a:pt x="371" y="536"/>
                  </a:lnTo>
                  <a:lnTo>
                    <a:pt x="371" y="514"/>
                  </a:lnTo>
                  <a:lnTo>
                    <a:pt x="368" y="493"/>
                  </a:lnTo>
                  <a:lnTo>
                    <a:pt x="364" y="475"/>
                  </a:lnTo>
                  <a:lnTo>
                    <a:pt x="357" y="458"/>
                  </a:lnTo>
                  <a:lnTo>
                    <a:pt x="349" y="442"/>
                  </a:lnTo>
                  <a:lnTo>
                    <a:pt x="341" y="427"/>
                  </a:lnTo>
                  <a:lnTo>
                    <a:pt x="331" y="414"/>
                  </a:lnTo>
                  <a:lnTo>
                    <a:pt x="321" y="402"/>
                  </a:lnTo>
                  <a:lnTo>
                    <a:pt x="297" y="377"/>
                  </a:lnTo>
                  <a:lnTo>
                    <a:pt x="271" y="355"/>
                  </a:lnTo>
                  <a:lnTo>
                    <a:pt x="245" y="332"/>
                  </a:lnTo>
                  <a:lnTo>
                    <a:pt x="219" y="308"/>
                  </a:lnTo>
                  <a:lnTo>
                    <a:pt x="199" y="292"/>
                  </a:lnTo>
                  <a:lnTo>
                    <a:pt x="179" y="273"/>
                  </a:lnTo>
                  <a:lnTo>
                    <a:pt x="161" y="255"/>
                  </a:lnTo>
                  <a:lnTo>
                    <a:pt x="142" y="237"/>
                  </a:lnTo>
                  <a:lnTo>
                    <a:pt x="124" y="217"/>
                  </a:lnTo>
                  <a:lnTo>
                    <a:pt x="108" y="198"/>
                  </a:lnTo>
                  <a:lnTo>
                    <a:pt x="92" y="179"/>
                  </a:lnTo>
                  <a:lnTo>
                    <a:pt x="79" y="160"/>
                  </a:lnTo>
                  <a:lnTo>
                    <a:pt x="72" y="146"/>
                  </a:lnTo>
                  <a:lnTo>
                    <a:pt x="63" y="133"/>
                  </a:lnTo>
                  <a:lnTo>
                    <a:pt x="53" y="118"/>
                  </a:lnTo>
                  <a:lnTo>
                    <a:pt x="42" y="104"/>
                  </a:lnTo>
                  <a:lnTo>
                    <a:pt x="21" y="77"/>
                  </a:lnTo>
                  <a:lnTo>
                    <a:pt x="0" y="49"/>
                  </a:lnTo>
                  <a:lnTo>
                    <a:pt x="46" y="41"/>
                  </a:lnTo>
                  <a:lnTo>
                    <a:pt x="91" y="32"/>
                  </a:lnTo>
                  <a:lnTo>
                    <a:pt x="111" y="26"/>
                  </a:lnTo>
                  <a:lnTo>
                    <a:pt x="129" y="19"/>
                  </a:lnTo>
                  <a:lnTo>
                    <a:pt x="136" y="15"/>
                  </a:lnTo>
                  <a:lnTo>
                    <a:pt x="143" y="11"/>
                  </a:lnTo>
                  <a:lnTo>
                    <a:pt x="148" y="5"/>
                  </a:lnTo>
                  <a:lnTo>
                    <a:pt x="153" y="0"/>
                  </a:lnTo>
                  <a:lnTo>
                    <a:pt x="163" y="9"/>
                  </a:lnTo>
                  <a:lnTo>
                    <a:pt x="175" y="16"/>
                  </a:lnTo>
                  <a:lnTo>
                    <a:pt x="186" y="21"/>
                  </a:lnTo>
                  <a:lnTo>
                    <a:pt x="198" y="26"/>
                  </a:lnTo>
                  <a:lnTo>
                    <a:pt x="221" y="35"/>
                  </a:lnTo>
                  <a:lnTo>
                    <a:pt x="239" y="43"/>
                  </a:lnTo>
                  <a:lnTo>
                    <a:pt x="256" y="55"/>
                  </a:lnTo>
                  <a:lnTo>
                    <a:pt x="269" y="67"/>
                  </a:lnTo>
                  <a:lnTo>
                    <a:pt x="282" y="82"/>
                  </a:lnTo>
                  <a:lnTo>
                    <a:pt x="299" y="104"/>
                  </a:lnTo>
                </a:path>
              </a:pathLst>
            </a:custGeom>
            <a:solidFill>
              <a:srgbClr val="19194D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1448" name="Freeform 543"/>
            <p:cNvSpPr>
              <a:spLocks/>
            </p:cNvSpPr>
            <p:nvPr>
              <p:custDataLst>
                <p:tags r:id="rId374"/>
              </p:custDataLst>
            </p:nvPr>
          </p:nvSpPr>
          <p:spPr bwMode="auto">
            <a:xfrm>
              <a:off x="8720373" y="4274399"/>
              <a:ext cx="25535" cy="57351"/>
            </a:xfrm>
            <a:custGeom>
              <a:avLst/>
              <a:gdLst>
                <a:gd name="T0" fmla="*/ 59 w 59"/>
                <a:gd name="T1" fmla="*/ 6 h 31"/>
                <a:gd name="T2" fmla="*/ 57 w 59"/>
                <a:gd name="T3" fmla="*/ 11 h 31"/>
                <a:gd name="T4" fmla="*/ 53 w 59"/>
                <a:gd name="T5" fmla="*/ 15 h 31"/>
                <a:gd name="T6" fmla="*/ 49 w 59"/>
                <a:gd name="T7" fmla="*/ 19 h 31"/>
                <a:gd name="T8" fmla="*/ 45 w 59"/>
                <a:gd name="T9" fmla="*/ 24 h 31"/>
                <a:gd name="T10" fmla="*/ 40 w 59"/>
                <a:gd name="T11" fmla="*/ 27 h 31"/>
                <a:gd name="T12" fmla="*/ 36 w 59"/>
                <a:gd name="T13" fmla="*/ 29 h 31"/>
                <a:gd name="T14" fmla="*/ 30 w 59"/>
                <a:gd name="T15" fmla="*/ 31 h 31"/>
                <a:gd name="T16" fmla="*/ 26 w 59"/>
                <a:gd name="T17" fmla="*/ 31 h 31"/>
                <a:gd name="T18" fmla="*/ 21 w 59"/>
                <a:gd name="T19" fmla="*/ 31 h 31"/>
                <a:gd name="T20" fmla="*/ 17 w 59"/>
                <a:gd name="T21" fmla="*/ 30 h 31"/>
                <a:gd name="T22" fmla="*/ 14 w 59"/>
                <a:gd name="T23" fmla="*/ 29 h 31"/>
                <a:gd name="T24" fmla="*/ 11 w 59"/>
                <a:gd name="T25" fmla="*/ 27 h 31"/>
                <a:gd name="T26" fmla="*/ 4 w 59"/>
                <a:gd name="T27" fmla="*/ 20 h 31"/>
                <a:gd name="T28" fmla="*/ 0 w 59"/>
                <a:gd name="T29" fmla="*/ 12 h 31"/>
                <a:gd name="T30" fmla="*/ 1 w 59"/>
                <a:gd name="T31" fmla="*/ 9 h 31"/>
                <a:gd name="T32" fmla="*/ 3 w 59"/>
                <a:gd name="T33" fmla="*/ 6 h 31"/>
                <a:gd name="T34" fmla="*/ 5 w 59"/>
                <a:gd name="T35" fmla="*/ 4 h 31"/>
                <a:gd name="T36" fmla="*/ 8 w 59"/>
                <a:gd name="T37" fmla="*/ 3 h 31"/>
                <a:gd name="T38" fmla="*/ 16 w 59"/>
                <a:gd name="T39" fmla="*/ 1 h 31"/>
                <a:gd name="T40" fmla="*/ 24 w 59"/>
                <a:gd name="T41" fmla="*/ 0 h 31"/>
                <a:gd name="T42" fmla="*/ 34 w 59"/>
                <a:gd name="T43" fmla="*/ 0 h 31"/>
                <a:gd name="T44" fmla="*/ 42 w 59"/>
                <a:gd name="T45" fmla="*/ 2 h 31"/>
                <a:gd name="T46" fmla="*/ 51 w 59"/>
                <a:gd name="T47" fmla="*/ 4 h 31"/>
                <a:gd name="T48" fmla="*/ 59 w 59"/>
                <a:gd name="T49" fmla="*/ 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9" h="31">
                  <a:moveTo>
                    <a:pt x="59" y="6"/>
                  </a:moveTo>
                  <a:lnTo>
                    <a:pt x="57" y="11"/>
                  </a:lnTo>
                  <a:lnTo>
                    <a:pt x="53" y="15"/>
                  </a:lnTo>
                  <a:lnTo>
                    <a:pt x="49" y="19"/>
                  </a:lnTo>
                  <a:lnTo>
                    <a:pt x="45" y="24"/>
                  </a:lnTo>
                  <a:lnTo>
                    <a:pt x="40" y="27"/>
                  </a:lnTo>
                  <a:lnTo>
                    <a:pt x="36" y="29"/>
                  </a:lnTo>
                  <a:lnTo>
                    <a:pt x="30" y="31"/>
                  </a:lnTo>
                  <a:lnTo>
                    <a:pt x="26" y="31"/>
                  </a:lnTo>
                  <a:lnTo>
                    <a:pt x="21" y="31"/>
                  </a:lnTo>
                  <a:lnTo>
                    <a:pt x="17" y="30"/>
                  </a:lnTo>
                  <a:lnTo>
                    <a:pt x="14" y="29"/>
                  </a:lnTo>
                  <a:lnTo>
                    <a:pt x="11" y="27"/>
                  </a:lnTo>
                  <a:lnTo>
                    <a:pt x="4" y="20"/>
                  </a:lnTo>
                  <a:lnTo>
                    <a:pt x="0" y="12"/>
                  </a:lnTo>
                  <a:lnTo>
                    <a:pt x="1" y="9"/>
                  </a:lnTo>
                  <a:lnTo>
                    <a:pt x="3" y="6"/>
                  </a:lnTo>
                  <a:lnTo>
                    <a:pt x="5" y="4"/>
                  </a:lnTo>
                  <a:lnTo>
                    <a:pt x="8" y="3"/>
                  </a:lnTo>
                  <a:lnTo>
                    <a:pt x="16" y="1"/>
                  </a:lnTo>
                  <a:lnTo>
                    <a:pt x="24" y="0"/>
                  </a:lnTo>
                  <a:lnTo>
                    <a:pt x="34" y="0"/>
                  </a:lnTo>
                  <a:lnTo>
                    <a:pt x="42" y="2"/>
                  </a:lnTo>
                  <a:lnTo>
                    <a:pt x="51" y="4"/>
                  </a:lnTo>
                  <a:lnTo>
                    <a:pt x="59" y="6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1449" name="Freeform 544"/>
            <p:cNvSpPr>
              <a:spLocks/>
            </p:cNvSpPr>
            <p:nvPr>
              <p:custDataLst>
                <p:tags r:id="rId375"/>
              </p:custDataLst>
            </p:nvPr>
          </p:nvSpPr>
          <p:spPr bwMode="auto">
            <a:xfrm>
              <a:off x="7413294" y="3532208"/>
              <a:ext cx="173958" cy="271574"/>
            </a:xfrm>
            <a:custGeom>
              <a:avLst/>
              <a:gdLst>
                <a:gd name="T0" fmla="*/ 200 w 399"/>
                <a:gd name="T1" fmla="*/ 8 h 518"/>
                <a:gd name="T2" fmla="*/ 202 w 399"/>
                <a:gd name="T3" fmla="*/ 22 h 518"/>
                <a:gd name="T4" fmla="*/ 208 w 399"/>
                <a:gd name="T5" fmla="*/ 36 h 518"/>
                <a:gd name="T6" fmla="*/ 214 w 399"/>
                <a:gd name="T7" fmla="*/ 49 h 518"/>
                <a:gd name="T8" fmla="*/ 224 w 399"/>
                <a:gd name="T9" fmla="*/ 63 h 518"/>
                <a:gd name="T10" fmla="*/ 235 w 399"/>
                <a:gd name="T11" fmla="*/ 75 h 518"/>
                <a:gd name="T12" fmla="*/ 249 w 399"/>
                <a:gd name="T13" fmla="*/ 86 h 518"/>
                <a:gd name="T14" fmla="*/ 264 w 399"/>
                <a:gd name="T15" fmla="*/ 95 h 518"/>
                <a:gd name="T16" fmla="*/ 316 w 399"/>
                <a:gd name="T17" fmla="*/ 106 h 518"/>
                <a:gd name="T18" fmla="*/ 365 w 399"/>
                <a:gd name="T19" fmla="*/ 119 h 518"/>
                <a:gd name="T20" fmla="*/ 380 w 399"/>
                <a:gd name="T21" fmla="*/ 127 h 518"/>
                <a:gd name="T22" fmla="*/ 392 w 399"/>
                <a:gd name="T23" fmla="*/ 137 h 518"/>
                <a:gd name="T24" fmla="*/ 398 w 399"/>
                <a:gd name="T25" fmla="*/ 151 h 518"/>
                <a:gd name="T26" fmla="*/ 398 w 399"/>
                <a:gd name="T27" fmla="*/ 174 h 518"/>
                <a:gd name="T28" fmla="*/ 390 w 399"/>
                <a:gd name="T29" fmla="*/ 200 h 518"/>
                <a:gd name="T30" fmla="*/ 369 w 399"/>
                <a:gd name="T31" fmla="*/ 239 h 518"/>
                <a:gd name="T32" fmla="*/ 344 w 399"/>
                <a:gd name="T33" fmla="*/ 276 h 518"/>
                <a:gd name="T34" fmla="*/ 328 w 399"/>
                <a:gd name="T35" fmla="*/ 303 h 518"/>
                <a:gd name="T36" fmla="*/ 314 w 399"/>
                <a:gd name="T37" fmla="*/ 330 h 518"/>
                <a:gd name="T38" fmla="*/ 307 w 399"/>
                <a:gd name="T39" fmla="*/ 360 h 518"/>
                <a:gd name="T40" fmla="*/ 297 w 399"/>
                <a:gd name="T41" fmla="*/ 377 h 518"/>
                <a:gd name="T42" fmla="*/ 268 w 399"/>
                <a:gd name="T43" fmla="*/ 387 h 518"/>
                <a:gd name="T44" fmla="*/ 246 w 399"/>
                <a:gd name="T45" fmla="*/ 399 h 518"/>
                <a:gd name="T46" fmla="*/ 235 w 399"/>
                <a:gd name="T47" fmla="*/ 408 h 518"/>
                <a:gd name="T48" fmla="*/ 227 w 399"/>
                <a:gd name="T49" fmla="*/ 417 h 518"/>
                <a:gd name="T50" fmla="*/ 224 w 399"/>
                <a:gd name="T51" fmla="*/ 427 h 518"/>
                <a:gd name="T52" fmla="*/ 213 w 399"/>
                <a:gd name="T53" fmla="*/ 438 h 518"/>
                <a:gd name="T54" fmla="*/ 188 w 399"/>
                <a:gd name="T55" fmla="*/ 450 h 518"/>
                <a:gd name="T56" fmla="*/ 173 w 399"/>
                <a:gd name="T57" fmla="*/ 456 h 518"/>
                <a:gd name="T58" fmla="*/ 166 w 399"/>
                <a:gd name="T59" fmla="*/ 467 h 518"/>
                <a:gd name="T60" fmla="*/ 158 w 399"/>
                <a:gd name="T61" fmla="*/ 481 h 518"/>
                <a:gd name="T62" fmla="*/ 146 w 399"/>
                <a:gd name="T63" fmla="*/ 490 h 518"/>
                <a:gd name="T64" fmla="*/ 131 w 399"/>
                <a:gd name="T65" fmla="*/ 494 h 518"/>
                <a:gd name="T66" fmla="*/ 102 w 399"/>
                <a:gd name="T67" fmla="*/ 498 h 518"/>
                <a:gd name="T68" fmla="*/ 73 w 399"/>
                <a:gd name="T69" fmla="*/ 504 h 518"/>
                <a:gd name="T70" fmla="*/ 55 w 399"/>
                <a:gd name="T71" fmla="*/ 512 h 518"/>
                <a:gd name="T72" fmla="*/ 46 w 399"/>
                <a:gd name="T73" fmla="*/ 514 h 518"/>
                <a:gd name="T74" fmla="*/ 43 w 399"/>
                <a:gd name="T75" fmla="*/ 506 h 518"/>
                <a:gd name="T76" fmla="*/ 38 w 399"/>
                <a:gd name="T77" fmla="*/ 497 h 518"/>
                <a:gd name="T78" fmla="*/ 34 w 399"/>
                <a:gd name="T79" fmla="*/ 487 h 518"/>
                <a:gd name="T80" fmla="*/ 33 w 399"/>
                <a:gd name="T81" fmla="*/ 468 h 518"/>
                <a:gd name="T82" fmla="*/ 29 w 399"/>
                <a:gd name="T83" fmla="*/ 445 h 518"/>
                <a:gd name="T84" fmla="*/ 17 w 399"/>
                <a:gd name="T85" fmla="*/ 418 h 518"/>
                <a:gd name="T86" fmla="*/ 0 w 399"/>
                <a:gd name="T87" fmla="*/ 358 h 518"/>
                <a:gd name="T88" fmla="*/ 194 w 399"/>
                <a:gd name="T89" fmla="*/ 185 h 518"/>
                <a:gd name="T90" fmla="*/ 200 w 399"/>
                <a:gd name="T91" fmla="*/ 0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99" h="518">
                  <a:moveTo>
                    <a:pt x="200" y="0"/>
                  </a:moveTo>
                  <a:lnTo>
                    <a:pt x="200" y="8"/>
                  </a:lnTo>
                  <a:lnTo>
                    <a:pt x="201" y="15"/>
                  </a:lnTo>
                  <a:lnTo>
                    <a:pt x="202" y="22"/>
                  </a:lnTo>
                  <a:lnTo>
                    <a:pt x="205" y="29"/>
                  </a:lnTo>
                  <a:lnTo>
                    <a:pt x="208" y="36"/>
                  </a:lnTo>
                  <a:lnTo>
                    <a:pt x="211" y="42"/>
                  </a:lnTo>
                  <a:lnTo>
                    <a:pt x="214" y="49"/>
                  </a:lnTo>
                  <a:lnTo>
                    <a:pt x="219" y="56"/>
                  </a:lnTo>
                  <a:lnTo>
                    <a:pt x="224" y="63"/>
                  </a:lnTo>
                  <a:lnTo>
                    <a:pt x="230" y="69"/>
                  </a:lnTo>
                  <a:lnTo>
                    <a:pt x="235" y="75"/>
                  </a:lnTo>
                  <a:lnTo>
                    <a:pt x="242" y="81"/>
                  </a:lnTo>
                  <a:lnTo>
                    <a:pt x="249" y="86"/>
                  </a:lnTo>
                  <a:lnTo>
                    <a:pt x="256" y="91"/>
                  </a:lnTo>
                  <a:lnTo>
                    <a:pt x="264" y="95"/>
                  </a:lnTo>
                  <a:lnTo>
                    <a:pt x="273" y="98"/>
                  </a:lnTo>
                  <a:lnTo>
                    <a:pt x="316" y="106"/>
                  </a:lnTo>
                  <a:lnTo>
                    <a:pt x="356" y="116"/>
                  </a:lnTo>
                  <a:lnTo>
                    <a:pt x="365" y="119"/>
                  </a:lnTo>
                  <a:lnTo>
                    <a:pt x="374" y="123"/>
                  </a:lnTo>
                  <a:lnTo>
                    <a:pt x="380" y="127"/>
                  </a:lnTo>
                  <a:lnTo>
                    <a:pt x="387" y="132"/>
                  </a:lnTo>
                  <a:lnTo>
                    <a:pt x="392" y="137"/>
                  </a:lnTo>
                  <a:lnTo>
                    <a:pt x="396" y="144"/>
                  </a:lnTo>
                  <a:lnTo>
                    <a:pt x="398" y="151"/>
                  </a:lnTo>
                  <a:lnTo>
                    <a:pt x="399" y="160"/>
                  </a:lnTo>
                  <a:lnTo>
                    <a:pt x="398" y="174"/>
                  </a:lnTo>
                  <a:lnTo>
                    <a:pt x="396" y="187"/>
                  </a:lnTo>
                  <a:lnTo>
                    <a:pt x="390" y="200"/>
                  </a:lnTo>
                  <a:lnTo>
                    <a:pt x="385" y="213"/>
                  </a:lnTo>
                  <a:lnTo>
                    <a:pt x="369" y="239"/>
                  </a:lnTo>
                  <a:lnTo>
                    <a:pt x="353" y="263"/>
                  </a:lnTo>
                  <a:lnTo>
                    <a:pt x="344" y="276"/>
                  </a:lnTo>
                  <a:lnTo>
                    <a:pt x="335" y="290"/>
                  </a:lnTo>
                  <a:lnTo>
                    <a:pt x="328" y="303"/>
                  </a:lnTo>
                  <a:lnTo>
                    <a:pt x="321" y="316"/>
                  </a:lnTo>
                  <a:lnTo>
                    <a:pt x="314" y="330"/>
                  </a:lnTo>
                  <a:lnTo>
                    <a:pt x="310" y="345"/>
                  </a:lnTo>
                  <a:lnTo>
                    <a:pt x="307" y="360"/>
                  </a:lnTo>
                  <a:lnTo>
                    <a:pt x="306" y="376"/>
                  </a:lnTo>
                  <a:lnTo>
                    <a:pt x="297" y="377"/>
                  </a:lnTo>
                  <a:lnTo>
                    <a:pt x="284" y="381"/>
                  </a:lnTo>
                  <a:lnTo>
                    <a:pt x="268" y="387"/>
                  </a:lnTo>
                  <a:lnTo>
                    <a:pt x="254" y="395"/>
                  </a:lnTo>
                  <a:lnTo>
                    <a:pt x="246" y="399"/>
                  </a:lnTo>
                  <a:lnTo>
                    <a:pt x="241" y="403"/>
                  </a:lnTo>
                  <a:lnTo>
                    <a:pt x="235" y="408"/>
                  </a:lnTo>
                  <a:lnTo>
                    <a:pt x="231" y="413"/>
                  </a:lnTo>
                  <a:lnTo>
                    <a:pt x="227" y="417"/>
                  </a:lnTo>
                  <a:lnTo>
                    <a:pt x="225" y="422"/>
                  </a:lnTo>
                  <a:lnTo>
                    <a:pt x="224" y="427"/>
                  </a:lnTo>
                  <a:lnTo>
                    <a:pt x="227" y="431"/>
                  </a:lnTo>
                  <a:lnTo>
                    <a:pt x="213" y="438"/>
                  </a:lnTo>
                  <a:lnTo>
                    <a:pt x="197" y="446"/>
                  </a:lnTo>
                  <a:lnTo>
                    <a:pt x="188" y="450"/>
                  </a:lnTo>
                  <a:lnTo>
                    <a:pt x="179" y="454"/>
                  </a:lnTo>
                  <a:lnTo>
                    <a:pt x="173" y="456"/>
                  </a:lnTo>
                  <a:lnTo>
                    <a:pt x="166" y="456"/>
                  </a:lnTo>
                  <a:lnTo>
                    <a:pt x="166" y="467"/>
                  </a:lnTo>
                  <a:lnTo>
                    <a:pt x="163" y="475"/>
                  </a:lnTo>
                  <a:lnTo>
                    <a:pt x="158" y="481"/>
                  </a:lnTo>
                  <a:lnTo>
                    <a:pt x="153" y="486"/>
                  </a:lnTo>
                  <a:lnTo>
                    <a:pt x="146" y="490"/>
                  </a:lnTo>
                  <a:lnTo>
                    <a:pt x="139" y="493"/>
                  </a:lnTo>
                  <a:lnTo>
                    <a:pt x="131" y="494"/>
                  </a:lnTo>
                  <a:lnTo>
                    <a:pt x="122" y="496"/>
                  </a:lnTo>
                  <a:lnTo>
                    <a:pt x="102" y="498"/>
                  </a:lnTo>
                  <a:lnTo>
                    <a:pt x="83" y="501"/>
                  </a:lnTo>
                  <a:lnTo>
                    <a:pt x="73" y="504"/>
                  </a:lnTo>
                  <a:lnTo>
                    <a:pt x="64" y="507"/>
                  </a:lnTo>
                  <a:lnTo>
                    <a:pt x="55" y="512"/>
                  </a:lnTo>
                  <a:lnTo>
                    <a:pt x="46" y="518"/>
                  </a:lnTo>
                  <a:lnTo>
                    <a:pt x="46" y="514"/>
                  </a:lnTo>
                  <a:lnTo>
                    <a:pt x="45" y="510"/>
                  </a:lnTo>
                  <a:lnTo>
                    <a:pt x="43" y="506"/>
                  </a:lnTo>
                  <a:lnTo>
                    <a:pt x="40" y="501"/>
                  </a:lnTo>
                  <a:lnTo>
                    <a:pt x="38" y="497"/>
                  </a:lnTo>
                  <a:lnTo>
                    <a:pt x="36" y="492"/>
                  </a:lnTo>
                  <a:lnTo>
                    <a:pt x="34" y="487"/>
                  </a:lnTo>
                  <a:lnTo>
                    <a:pt x="33" y="481"/>
                  </a:lnTo>
                  <a:lnTo>
                    <a:pt x="33" y="468"/>
                  </a:lnTo>
                  <a:lnTo>
                    <a:pt x="31" y="456"/>
                  </a:lnTo>
                  <a:lnTo>
                    <a:pt x="29" y="445"/>
                  </a:lnTo>
                  <a:lnTo>
                    <a:pt x="26" y="436"/>
                  </a:lnTo>
                  <a:lnTo>
                    <a:pt x="17" y="418"/>
                  </a:lnTo>
                  <a:lnTo>
                    <a:pt x="7" y="401"/>
                  </a:lnTo>
                  <a:lnTo>
                    <a:pt x="0" y="358"/>
                  </a:lnTo>
                  <a:lnTo>
                    <a:pt x="113" y="332"/>
                  </a:lnTo>
                  <a:lnTo>
                    <a:pt x="194" y="185"/>
                  </a:lnTo>
                  <a:lnTo>
                    <a:pt x="166" y="136"/>
                  </a:lnTo>
                  <a:lnTo>
                    <a:pt x="20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s-ES">
                <a:cs typeface="+mn-cs"/>
              </a:endParaRPr>
            </a:p>
          </p:txBody>
        </p:sp>
        <p:sp>
          <p:nvSpPr>
            <p:cNvPr id="25991" name="Freeform 545"/>
            <p:cNvSpPr>
              <a:spLocks/>
            </p:cNvSpPr>
            <p:nvPr>
              <p:custDataLst>
                <p:tags r:id="rId376"/>
              </p:custDataLst>
            </p:nvPr>
          </p:nvSpPr>
          <p:spPr bwMode="auto">
            <a:xfrm>
              <a:off x="6139494" y="3586602"/>
              <a:ext cx="376238" cy="385762"/>
            </a:xfrm>
            <a:custGeom>
              <a:avLst/>
              <a:gdLst>
                <a:gd name="T0" fmla="*/ 2147483647 w 866"/>
                <a:gd name="T1" fmla="*/ 2147483647 h 740"/>
                <a:gd name="T2" fmla="*/ 2147483647 w 866"/>
                <a:gd name="T3" fmla="*/ 2147483647 h 740"/>
                <a:gd name="T4" fmla="*/ 2147483647 w 866"/>
                <a:gd name="T5" fmla="*/ 2147483647 h 740"/>
                <a:gd name="T6" fmla="*/ 2147483647 w 866"/>
                <a:gd name="T7" fmla="*/ 2147483647 h 740"/>
                <a:gd name="T8" fmla="*/ 2147483647 w 866"/>
                <a:gd name="T9" fmla="*/ 2147483647 h 740"/>
                <a:gd name="T10" fmla="*/ 2147483647 w 866"/>
                <a:gd name="T11" fmla="*/ 2147483647 h 740"/>
                <a:gd name="T12" fmla="*/ 2147483647 w 866"/>
                <a:gd name="T13" fmla="*/ 2147483647 h 740"/>
                <a:gd name="T14" fmla="*/ 2147483647 w 866"/>
                <a:gd name="T15" fmla="*/ 2147483647 h 740"/>
                <a:gd name="T16" fmla="*/ 2147483647 w 866"/>
                <a:gd name="T17" fmla="*/ 2147483647 h 740"/>
                <a:gd name="T18" fmla="*/ 2147483647 w 866"/>
                <a:gd name="T19" fmla="*/ 2147483647 h 740"/>
                <a:gd name="T20" fmla="*/ 2147483647 w 866"/>
                <a:gd name="T21" fmla="*/ 2147483647 h 740"/>
                <a:gd name="T22" fmla="*/ 2147483647 w 866"/>
                <a:gd name="T23" fmla="*/ 2147483647 h 740"/>
                <a:gd name="T24" fmla="*/ 2147483647 w 866"/>
                <a:gd name="T25" fmla="*/ 2147483647 h 740"/>
                <a:gd name="T26" fmla="*/ 2147483647 w 866"/>
                <a:gd name="T27" fmla="*/ 2147483647 h 740"/>
                <a:gd name="T28" fmla="*/ 2147483647 w 866"/>
                <a:gd name="T29" fmla="*/ 2147483647 h 740"/>
                <a:gd name="T30" fmla="*/ 2147483647 w 866"/>
                <a:gd name="T31" fmla="*/ 2147483647 h 740"/>
                <a:gd name="T32" fmla="*/ 2147483647 w 866"/>
                <a:gd name="T33" fmla="*/ 2147483647 h 740"/>
                <a:gd name="T34" fmla="*/ 2147483647 w 866"/>
                <a:gd name="T35" fmla="*/ 2147483647 h 740"/>
                <a:gd name="T36" fmla="*/ 2147483647 w 866"/>
                <a:gd name="T37" fmla="*/ 2147483647 h 740"/>
                <a:gd name="T38" fmla="*/ 2147483647 w 866"/>
                <a:gd name="T39" fmla="*/ 2147483647 h 740"/>
                <a:gd name="T40" fmla="*/ 2147483647 w 866"/>
                <a:gd name="T41" fmla="*/ 2147483647 h 740"/>
                <a:gd name="T42" fmla="*/ 2147483647 w 866"/>
                <a:gd name="T43" fmla="*/ 2147483647 h 740"/>
                <a:gd name="T44" fmla="*/ 2147483647 w 866"/>
                <a:gd name="T45" fmla="*/ 2147483647 h 740"/>
                <a:gd name="T46" fmla="*/ 2147483647 w 866"/>
                <a:gd name="T47" fmla="*/ 2147483647 h 740"/>
                <a:gd name="T48" fmla="*/ 2147483647 w 866"/>
                <a:gd name="T49" fmla="*/ 2147483647 h 740"/>
                <a:gd name="T50" fmla="*/ 2147483647 w 866"/>
                <a:gd name="T51" fmla="*/ 2147483647 h 740"/>
                <a:gd name="T52" fmla="*/ 2147483647 w 866"/>
                <a:gd name="T53" fmla="*/ 2147483647 h 740"/>
                <a:gd name="T54" fmla="*/ 2147483647 w 866"/>
                <a:gd name="T55" fmla="*/ 2147483647 h 740"/>
                <a:gd name="T56" fmla="*/ 2147483647 w 866"/>
                <a:gd name="T57" fmla="*/ 2147483647 h 740"/>
                <a:gd name="T58" fmla="*/ 2147483647 w 866"/>
                <a:gd name="T59" fmla="*/ 2147483647 h 740"/>
                <a:gd name="T60" fmla="*/ 2147483647 w 866"/>
                <a:gd name="T61" fmla="*/ 2147483647 h 740"/>
                <a:gd name="T62" fmla="*/ 2147483647 w 866"/>
                <a:gd name="T63" fmla="*/ 2147483647 h 740"/>
                <a:gd name="T64" fmla="*/ 2147483647 w 866"/>
                <a:gd name="T65" fmla="*/ 2147483647 h 740"/>
                <a:gd name="T66" fmla="*/ 2147483647 w 866"/>
                <a:gd name="T67" fmla="*/ 2147483647 h 740"/>
                <a:gd name="T68" fmla="*/ 2147483647 w 866"/>
                <a:gd name="T69" fmla="*/ 2147483647 h 740"/>
                <a:gd name="T70" fmla="*/ 2147483647 w 866"/>
                <a:gd name="T71" fmla="*/ 2147483647 h 740"/>
                <a:gd name="T72" fmla="*/ 2147483647 w 866"/>
                <a:gd name="T73" fmla="*/ 2147483647 h 740"/>
                <a:gd name="T74" fmla="*/ 2147483647 w 866"/>
                <a:gd name="T75" fmla="*/ 2147483647 h 740"/>
                <a:gd name="T76" fmla="*/ 2147483647 w 866"/>
                <a:gd name="T77" fmla="*/ 2147483647 h 740"/>
                <a:gd name="T78" fmla="*/ 2147483647 w 866"/>
                <a:gd name="T79" fmla="*/ 2147483647 h 740"/>
                <a:gd name="T80" fmla="*/ 2147483647 w 866"/>
                <a:gd name="T81" fmla="*/ 2147483647 h 740"/>
                <a:gd name="T82" fmla="*/ 2147483647 w 866"/>
                <a:gd name="T83" fmla="*/ 2147483647 h 740"/>
                <a:gd name="T84" fmla="*/ 2147483647 w 866"/>
                <a:gd name="T85" fmla="*/ 2147483647 h 740"/>
                <a:gd name="T86" fmla="*/ 2147483647 w 866"/>
                <a:gd name="T87" fmla="*/ 2147483647 h 740"/>
                <a:gd name="T88" fmla="*/ 2147483647 w 866"/>
                <a:gd name="T89" fmla="*/ 2147483647 h 740"/>
                <a:gd name="T90" fmla="*/ 2147483647 w 866"/>
                <a:gd name="T91" fmla="*/ 2147483647 h 740"/>
                <a:gd name="T92" fmla="*/ 2147483647 w 866"/>
                <a:gd name="T93" fmla="*/ 2147483647 h 740"/>
                <a:gd name="T94" fmla="*/ 2147483647 w 866"/>
                <a:gd name="T95" fmla="*/ 2147483647 h 740"/>
                <a:gd name="T96" fmla="*/ 2147483647 w 866"/>
                <a:gd name="T97" fmla="*/ 2147483647 h 740"/>
                <a:gd name="T98" fmla="*/ 2147483647 w 866"/>
                <a:gd name="T99" fmla="*/ 2147483647 h 740"/>
                <a:gd name="T100" fmla="*/ 2147483647 w 866"/>
                <a:gd name="T101" fmla="*/ 2147483647 h 740"/>
                <a:gd name="T102" fmla="*/ 2147483647 w 866"/>
                <a:gd name="T103" fmla="*/ 2147483647 h 740"/>
                <a:gd name="T104" fmla="*/ 2147483647 w 866"/>
                <a:gd name="T105" fmla="*/ 2147483647 h 74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866" h="740">
                  <a:moveTo>
                    <a:pt x="219" y="283"/>
                  </a:moveTo>
                  <a:lnTo>
                    <a:pt x="223" y="278"/>
                  </a:lnTo>
                  <a:lnTo>
                    <a:pt x="227" y="273"/>
                  </a:lnTo>
                  <a:lnTo>
                    <a:pt x="231" y="270"/>
                  </a:lnTo>
                  <a:lnTo>
                    <a:pt x="234" y="267"/>
                  </a:lnTo>
                  <a:lnTo>
                    <a:pt x="238" y="266"/>
                  </a:lnTo>
                  <a:lnTo>
                    <a:pt x="242" y="264"/>
                  </a:lnTo>
                  <a:lnTo>
                    <a:pt x="245" y="264"/>
                  </a:lnTo>
                  <a:lnTo>
                    <a:pt x="250" y="264"/>
                  </a:lnTo>
                  <a:lnTo>
                    <a:pt x="256" y="265"/>
                  </a:lnTo>
                  <a:lnTo>
                    <a:pt x="264" y="268"/>
                  </a:lnTo>
                  <a:lnTo>
                    <a:pt x="272" y="272"/>
                  </a:lnTo>
                  <a:lnTo>
                    <a:pt x="279" y="277"/>
                  </a:lnTo>
                  <a:lnTo>
                    <a:pt x="645" y="6"/>
                  </a:lnTo>
                  <a:lnTo>
                    <a:pt x="649" y="3"/>
                  </a:lnTo>
                  <a:lnTo>
                    <a:pt x="654" y="1"/>
                  </a:lnTo>
                  <a:lnTo>
                    <a:pt x="658" y="0"/>
                  </a:lnTo>
                  <a:lnTo>
                    <a:pt x="663" y="0"/>
                  </a:lnTo>
                  <a:lnTo>
                    <a:pt x="671" y="2"/>
                  </a:lnTo>
                  <a:lnTo>
                    <a:pt x="679" y="6"/>
                  </a:lnTo>
                  <a:lnTo>
                    <a:pt x="689" y="11"/>
                  </a:lnTo>
                  <a:lnTo>
                    <a:pt x="699" y="17"/>
                  </a:lnTo>
                  <a:lnTo>
                    <a:pt x="704" y="19"/>
                  </a:lnTo>
                  <a:lnTo>
                    <a:pt x="711" y="21"/>
                  </a:lnTo>
                  <a:lnTo>
                    <a:pt x="717" y="23"/>
                  </a:lnTo>
                  <a:lnTo>
                    <a:pt x="724" y="25"/>
                  </a:lnTo>
                  <a:lnTo>
                    <a:pt x="726" y="30"/>
                  </a:lnTo>
                  <a:lnTo>
                    <a:pt x="730" y="35"/>
                  </a:lnTo>
                  <a:lnTo>
                    <a:pt x="736" y="42"/>
                  </a:lnTo>
                  <a:lnTo>
                    <a:pt x="744" y="47"/>
                  </a:lnTo>
                  <a:lnTo>
                    <a:pt x="752" y="53"/>
                  </a:lnTo>
                  <a:lnTo>
                    <a:pt x="760" y="57"/>
                  </a:lnTo>
                  <a:lnTo>
                    <a:pt x="769" y="60"/>
                  </a:lnTo>
                  <a:lnTo>
                    <a:pt x="778" y="61"/>
                  </a:lnTo>
                  <a:lnTo>
                    <a:pt x="784" y="60"/>
                  </a:lnTo>
                  <a:lnTo>
                    <a:pt x="791" y="59"/>
                  </a:lnTo>
                  <a:lnTo>
                    <a:pt x="798" y="57"/>
                  </a:lnTo>
                  <a:lnTo>
                    <a:pt x="804" y="54"/>
                  </a:lnTo>
                  <a:lnTo>
                    <a:pt x="816" y="48"/>
                  </a:lnTo>
                  <a:lnTo>
                    <a:pt x="831" y="43"/>
                  </a:lnTo>
                  <a:lnTo>
                    <a:pt x="824" y="122"/>
                  </a:lnTo>
                  <a:lnTo>
                    <a:pt x="836" y="140"/>
                  </a:lnTo>
                  <a:lnTo>
                    <a:pt x="846" y="154"/>
                  </a:lnTo>
                  <a:lnTo>
                    <a:pt x="854" y="166"/>
                  </a:lnTo>
                  <a:lnTo>
                    <a:pt x="859" y="177"/>
                  </a:lnTo>
                  <a:lnTo>
                    <a:pt x="862" y="188"/>
                  </a:lnTo>
                  <a:lnTo>
                    <a:pt x="865" y="197"/>
                  </a:lnTo>
                  <a:lnTo>
                    <a:pt x="866" y="205"/>
                  </a:lnTo>
                  <a:lnTo>
                    <a:pt x="865" y="211"/>
                  </a:lnTo>
                  <a:lnTo>
                    <a:pt x="857" y="234"/>
                  </a:lnTo>
                  <a:lnTo>
                    <a:pt x="850" y="259"/>
                  </a:lnTo>
                  <a:lnTo>
                    <a:pt x="850" y="301"/>
                  </a:lnTo>
                  <a:lnTo>
                    <a:pt x="850" y="334"/>
                  </a:lnTo>
                  <a:lnTo>
                    <a:pt x="850" y="350"/>
                  </a:lnTo>
                  <a:lnTo>
                    <a:pt x="849" y="364"/>
                  </a:lnTo>
                  <a:lnTo>
                    <a:pt x="848" y="376"/>
                  </a:lnTo>
                  <a:lnTo>
                    <a:pt x="846" y="388"/>
                  </a:lnTo>
                  <a:lnTo>
                    <a:pt x="843" y="399"/>
                  </a:lnTo>
                  <a:lnTo>
                    <a:pt x="839" y="411"/>
                  </a:lnTo>
                  <a:lnTo>
                    <a:pt x="834" y="421"/>
                  </a:lnTo>
                  <a:lnTo>
                    <a:pt x="828" y="432"/>
                  </a:lnTo>
                  <a:lnTo>
                    <a:pt x="821" y="443"/>
                  </a:lnTo>
                  <a:lnTo>
                    <a:pt x="813" y="454"/>
                  </a:lnTo>
                  <a:lnTo>
                    <a:pt x="802" y="467"/>
                  </a:lnTo>
                  <a:lnTo>
                    <a:pt x="791" y="480"/>
                  </a:lnTo>
                  <a:lnTo>
                    <a:pt x="786" y="486"/>
                  </a:lnTo>
                  <a:lnTo>
                    <a:pt x="781" y="493"/>
                  </a:lnTo>
                  <a:lnTo>
                    <a:pt x="777" y="499"/>
                  </a:lnTo>
                  <a:lnTo>
                    <a:pt x="773" y="506"/>
                  </a:lnTo>
                  <a:lnTo>
                    <a:pt x="768" y="522"/>
                  </a:lnTo>
                  <a:lnTo>
                    <a:pt x="764" y="537"/>
                  </a:lnTo>
                  <a:lnTo>
                    <a:pt x="758" y="567"/>
                  </a:lnTo>
                  <a:lnTo>
                    <a:pt x="755" y="593"/>
                  </a:lnTo>
                  <a:lnTo>
                    <a:pt x="731" y="585"/>
                  </a:lnTo>
                  <a:lnTo>
                    <a:pt x="698" y="591"/>
                  </a:lnTo>
                  <a:lnTo>
                    <a:pt x="711" y="629"/>
                  </a:lnTo>
                  <a:lnTo>
                    <a:pt x="719" y="636"/>
                  </a:lnTo>
                  <a:lnTo>
                    <a:pt x="704" y="641"/>
                  </a:lnTo>
                  <a:lnTo>
                    <a:pt x="692" y="645"/>
                  </a:lnTo>
                  <a:lnTo>
                    <a:pt x="680" y="646"/>
                  </a:lnTo>
                  <a:lnTo>
                    <a:pt x="670" y="646"/>
                  </a:lnTo>
                  <a:lnTo>
                    <a:pt x="661" y="644"/>
                  </a:lnTo>
                  <a:lnTo>
                    <a:pt x="653" y="641"/>
                  </a:lnTo>
                  <a:lnTo>
                    <a:pt x="644" y="638"/>
                  </a:lnTo>
                  <a:lnTo>
                    <a:pt x="636" y="634"/>
                  </a:lnTo>
                  <a:lnTo>
                    <a:pt x="629" y="631"/>
                  </a:lnTo>
                  <a:lnTo>
                    <a:pt x="620" y="628"/>
                  </a:lnTo>
                  <a:lnTo>
                    <a:pt x="611" y="625"/>
                  </a:lnTo>
                  <a:lnTo>
                    <a:pt x="601" y="624"/>
                  </a:lnTo>
                  <a:lnTo>
                    <a:pt x="591" y="625"/>
                  </a:lnTo>
                  <a:lnTo>
                    <a:pt x="579" y="628"/>
                  </a:lnTo>
                  <a:lnTo>
                    <a:pt x="566" y="633"/>
                  </a:lnTo>
                  <a:lnTo>
                    <a:pt x="552" y="641"/>
                  </a:lnTo>
                  <a:lnTo>
                    <a:pt x="543" y="646"/>
                  </a:lnTo>
                  <a:lnTo>
                    <a:pt x="536" y="652"/>
                  </a:lnTo>
                  <a:lnTo>
                    <a:pt x="530" y="659"/>
                  </a:lnTo>
                  <a:lnTo>
                    <a:pt x="525" y="666"/>
                  </a:lnTo>
                  <a:lnTo>
                    <a:pt x="520" y="673"/>
                  </a:lnTo>
                  <a:lnTo>
                    <a:pt x="514" y="678"/>
                  </a:lnTo>
                  <a:lnTo>
                    <a:pt x="511" y="680"/>
                  </a:lnTo>
                  <a:lnTo>
                    <a:pt x="508" y="683"/>
                  </a:lnTo>
                  <a:lnTo>
                    <a:pt x="503" y="684"/>
                  </a:lnTo>
                  <a:lnTo>
                    <a:pt x="499" y="684"/>
                  </a:lnTo>
                  <a:lnTo>
                    <a:pt x="491" y="684"/>
                  </a:lnTo>
                  <a:lnTo>
                    <a:pt x="486" y="682"/>
                  </a:lnTo>
                  <a:lnTo>
                    <a:pt x="481" y="679"/>
                  </a:lnTo>
                  <a:lnTo>
                    <a:pt x="477" y="676"/>
                  </a:lnTo>
                  <a:lnTo>
                    <a:pt x="470" y="668"/>
                  </a:lnTo>
                  <a:lnTo>
                    <a:pt x="465" y="659"/>
                  </a:lnTo>
                  <a:lnTo>
                    <a:pt x="458" y="650"/>
                  </a:lnTo>
                  <a:lnTo>
                    <a:pt x="451" y="642"/>
                  </a:lnTo>
                  <a:lnTo>
                    <a:pt x="446" y="639"/>
                  </a:lnTo>
                  <a:lnTo>
                    <a:pt x="441" y="637"/>
                  </a:lnTo>
                  <a:lnTo>
                    <a:pt x="433" y="635"/>
                  </a:lnTo>
                  <a:lnTo>
                    <a:pt x="425" y="635"/>
                  </a:lnTo>
                  <a:lnTo>
                    <a:pt x="421" y="635"/>
                  </a:lnTo>
                  <a:lnTo>
                    <a:pt x="417" y="638"/>
                  </a:lnTo>
                  <a:lnTo>
                    <a:pt x="412" y="640"/>
                  </a:lnTo>
                  <a:lnTo>
                    <a:pt x="409" y="644"/>
                  </a:lnTo>
                  <a:lnTo>
                    <a:pt x="405" y="647"/>
                  </a:lnTo>
                  <a:lnTo>
                    <a:pt x="401" y="650"/>
                  </a:lnTo>
                  <a:lnTo>
                    <a:pt x="397" y="652"/>
                  </a:lnTo>
                  <a:lnTo>
                    <a:pt x="392" y="653"/>
                  </a:lnTo>
                  <a:lnTo>
                    <a:pt x="384" y="652"/>
                  </a:lnTo>
                  <a:lnTo>
                    <a:pt x="376" y="651"/>
                  </a:lnTo>
                  <a:lnTo>
                    <a:pt x="369" y="648"/>
                  </a:lnTo>
                  <a:lnTo>
                    <a:pt x="363" y="645"/>
                  </a:lnTo>
                  <a:lnTo>
                    <a:pt x="350" y="638"/>
                  </a:lnTo>
                  <a:lnTo>
                    <a:pt x="339" y="629"/>
                  </a:lnTo>
                  <a:lnTo>
                    <a:pt x="327" y="619"/>
                  </a:lnTo>
                  <a:lnTo>
                    <a:pt x="312" y="611"/>
                  </a:lnTo>
                  <a:lnTo>
                    <a:pt x="306" y="608"/>
                  </a:lnTo>
                  <a:lnTo>
                    <a:pt x="297" y="606"/>
                  </a:lnTo>
                  <a:lnTo>
                    <a:pt x="289" y="604"/>
                  </a:lnTo>
                  <a:lnTo>
                    <a:pt x="279" y="603"/>
                  </a:lnTo>
                  <a:lnTo>
                    <a:pt x="271" y="604"/>
                  </a:lnTo>
                  <a:lnTo>
                    <a:pt x="262" y="606"/>
                  </a:lnTo>
                  <a:lnTo>
                    <a:pt x="253" y="610"/>
                  </a:lnTo>
                  <a:lnTo>
                    <a:pt x="245" y="615"/>
                  </a:lnTo>
                  <a:lnTo>
                    <a:pt x="237" y="620"/>
                  </a:lnTo>
                  <a:lnTo>
                    <a:pt x="229" y="628"/>
                  </a:lnTo>
                  <a:lnTo>
                    <a:pt x="222" y="636"/>
                  </a:lnTo>
                  <a:lnTo>
                    <a:pt x="216" y="644"/>
                  </a:lnTo>
                  <a:lnTo>
                    <a:pt x="209" y="653"/>
                  </a:lnTo>
                  <a:lnTo>
                    <a:pt x="204" y="662"/>
                  </a:lnTo>
                  <a:lnTo>
                    <a:pt x="198" y="671"/>
                  </a:lnTo>
                  <a:lnTo>
                    <a:pt x="194" y="682"/>
                  </a:lnTo>
                  <a:lnTo>
                    <a:pt x="190" y="692"/>
                  </a:lnTo>
                  <a:lnTo>
                    <a:pt x="188" y="702"/>
                  </a:lnTo>
                  <a:lnTo>
                    <a:pt x="187" y="711"/>
                  </a:lnTo>
                  <a:lnTo>
                    <a:pt x="186" y="720"/>
                  </a:lnTo>
                  <a:lnTo>
                    <a:pt x="178" y="719"/>
                  </a:lnTo>
                  <a:lnTo>
                    <a:pt x="172" y="717"/>
                  </a:lnTo>
                  <a:lnTo>
                    <a:pt x="164" y="712"/>
                  </a:lnTo>
                  <a:lnTo>
                    <a:pt x="156" y="708"/>
                  </a:lnTo>
                  <a:lnTo>
                    <a:pt x="149" y="702"/>
                  </a:lnTo>
                  <a:lnTo>
                    <a:pt x="141" y="697"/>
                  </a:lnTo>
                  <a:lnTo>
                    <a:pt x="134" y="693"/>
                  </a:lnTo>
                  <a:lnTo>
                    <a:pt x="127" y="690"/>
                  </a:lnTo>
                  <a:lnTo>
                    <a:pt x="100" y="740"/>
                  </a:lnTo>
                  <a:lnTo>
                    <a:pt x="73" y="740"/>
                  </a:lnTo>
                  <a:lnTo>
                    <a:pt x="70" y="725"/>
                  </a:lnTo>
                  <a:lnTo>
                    <a:pt x="67" y="712"/>
                  </a:lnTo>
                  <a:lnTo>
                    <a:pt x="66" y="699"/>
                  </a:lnTo>
                  <a:lnTo>
                    <a:pt x="66" y="686"/>
                  </a:lnTo>
                  <a:lnTo>
                    <a:pt x="66" y="672"/>
                  </a:lnTo>
                  <a:lnTo>
                    <a:pt x="66" y="658"/>
                  </a:lnTo>
                  <a:lnTo>
                    <a:pt x="64" y="644"/>
                  </a:lnTo>
                  <a:lnTo>
                    <a:pt x="60" y="629"/>
                  </a:lnTo>
                  <a:lnTo>
                    <a:pt x="58" y="622"/>
                  </a:lnTo>
                  <a:lnTo>
                    <a:pt x="53" y="618"/>
                  </a:lnTo>
                  <a:lnTo>
                    <a:pt x="50" y="613"/>
                  </a:lnTo>
                  <a:lnTo>
                    <a:pt x="46" y="609"/>
                  </a:lnTo>
                  <a:lnTo>
                    <a:pt x="36" y="601"/>
                  </a:lnTo>
                  <a:lnTo>
                    <a:pt x="25" y="592"/>
                  </a:lnTo>
                  <a:lnTo>
                    <a:pt x="20" y="587"/>
                  </a:lnTo>
                  <a:lnTo>
                    <a:pt x="16" y="581"/>
                  </a:lnTo>
                  <a:lnTo>
                    <a:pt x="11" y="575"/>
                  </a:lnTo>
                  <a:lnTo>
                    <a:pt x="8" y="566"/>
                  </a:lnTo>
                  <a:lnTo>
                    <a:pt x="5" y="558"/>
                  </a:lnTo>
                  <a:lnTo>
                    <a:pt x="3" y="548"/>
                  </a:lnTo>
                  <a:lnTo>
                    <a:pt x="0" y="537"/>
                  </a:lnTo>
                  <a:lnTo>
                    <a:pt x="0" y="524"/>
                  </a:lnTo>
                  <a:lnTo>
                    <a:pt x="53" y="530"/>
                  </a:lnTo>
                  <a:lnTo>
                    <a:pt x="59" y="526"/>
                  </a:lnTo>
                  <a:lnTo>
                    <a:pt x="64" y="522"/>
                  </a:lnTo>
                  <a:lnTo>
                    <a:pt x="71" y="520"/>
                  </a:lnTo>
                  <a:lnTo>
                    <a:pt x="76" y="518"/>
                  </a:lnTo>
                  <a:lnTo>
                    <a:pt x="91" y="514"/>
                  </a:lnTo>
                  <a:lnTo>
                    <a:pt x="106" y="512"/>
                  </a:lnTo>
                  <a:lnTo>
                    <a:pt x="121" y="511"/>
                  </a:lnTo>
                  <a:lnTo>
                    <a:pt x="139" y="510"/>
                  </a:lnTo>
                  <a:lnTo>
                    <a:pt x="155" y="508"/>
                  </a:lnTo>
                  <a:lnTo>
                    <a:pt x="173" y="505"/>
                  </a:lnTo>
                  <a:lnTo>
                    <a:pt x="177" y="503"/>
                  </a:lnTo>
                  <a:lnTo>
                    <a:pt x="182" y="500"/>
                  </a:lnTo>
                  <a:lnTo>
                    <a:pt x="185" y="497"/>
                  </a:lnTo>
                  <a:lnTo>
                    <a:pt x="189" y="494"/>
                  </a:lnTo>
                  <a:lnTo>
                    <a:pt x="196" y="485"/>
                  </a:lnTo>
                  <a:lnTo>
                    <a:pt x="201" y="475"/>
                  </a:lnTo>
                  <a:lnTo>
                    <a:pt x="207" y="464"/>
                  </a:lnTo>
                  <a:lnTo>
                    <a:pt x="211" y="451"/>
                  </a:lnTo>
                  <a:lnTo>
                    <a:pt x="216" y="438"/>
                  </a:lnTo>
                  <a:lnTo>
                    <a:pt x="219" y="424"/>
                  </a:lnTo>
                  <a:lnTo>
                    <a:pt x="221" y="410"/>
                  </a:lnTo>
                  <a:lnTo>
                    <a:pt x="223" y="395"/>
                  </a:lnTo>
                  <a:lnTo>
                    <a:pt x="224" y="381"/>
                  </a:lnTo>
                  <a:lnTo>
                    <a:pt x="224" y="367"/>
                  </a:lnTo>
                  <a:lnTo>
                    <a:pt x="224" y="354"/>
                  </a:lnTo>
                  <a:lnTo>
                    <a:pt x="223" y="341"/>
                  </a:lnTo>
                  <a:lnTo>
                    <a:pt x="221" y="330"/>
                  </a:lnTo>
                  <a:lnTo>
                    <a:pt x="219" y="320"/>
                  </a:lnTo>
                  <a:lnTo>
                    <a:pt x="219" y="28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92" name="Freeform 546"/>
            <p:cNvSpPr>
              <a:spLocks/>
            </p:cNvSpPr>
            <p:nvPr>
              <p:custDataLst>
                <p:tags r:id="rId377"/>
              </p:custDataLst>
            </p:nvPr>
          </p:nvSpPr>
          <p:spPr bwMode="auto">
            <a:xfrm>
              <a:off x="5809294" y="3204014"/>
              <a:ext cx="300038" cy="260350"/>
            </a:xfrm>
            <a:custGeom>
              <a:avLst/>
              <a:gdLst>
                <a:gd name="T0" fmla="*/ 2147483647 w 697"/>
                <a:gd name="T1" fmla="*/ 2147483647 h 500"/>
                <a:gd name="T2" fmla="*/ 2147483647 w 697"/>
                <a:gd name="T3" fmla="*/ 2147483647 h 500"/>
                <a:gd name="T4" fmla="*/ 2147483647 w 697"/>
                <a:gd name="T5" fmla="*/ 2147483647 h 500"/>
                <a:gd name="T6" fmla="*/ 2147483647 w 697"/>
                <a:gd name="T7" fmla="*/ 2147483647 h 500"/>
                <a:gd name="T8" fmla="*/ 2147483647 w 697"/>
                <a:gd name="T9" fmla="*/ 2147483647 h 500"/>
                <a:gd name="T10" fmla="*/ 2147483647 w 697"/>
                <a:gd name="T11" fmla="*/ 2147483647 h 500"/>
                <a:gd name="T12" fmla="*/ 2147483647 w 697"/>
                <a:gd name="T13" fmla="*/ 2147483647 h 500"/>
                <a:gd name="T14" fmla="*/ 2147483647 w 697"/>
                <a:gd name="T15" fmla="*/ 2147483647 h 500"/>
                <a:gd name="T16" fmla="*/ 2147483647 w 697"/>
                <a:gd name="T17" fmla="*/ 2147483647 h 500"/>
                <a:gd name="T18" fmla="*/ 2147483647 w 697"/>
                <a:gd name="T19" fmla="*/ 2147483647 h 500"/>
                <a:gd name="T20" fmla="*/ 2147483647 w 697"/>
                <a:gd name="T21" fmla="*/ 2147483647 h 500"/>
                <a:gd name="T22" fmla="*/ 2147483647 w 697"/>
                <a:gd name="T23" fmla="*/ 2147483647 h 500"/>
                <a:gd name="T24" fmla="*/ 2147483647 w 697"/>
                <a:gd name="T25" fmla="*/ 2147483647 h 500"/>
                <a:gd name="T26" fmla="*/ 2147483647 w 697"/>
                <a:gd name="T27" fmla="*/ 2147483647 h 500"/>
                <a:gd name="T28" fmla="*/ 2147483647 w 697"/>
                <a:gd name="T29" fmla="*/ 2147483647 h 500"/>
                <a:gd name="T30" fmla="*/ 2147483647 w 697"/>
                <a:gd name="T31" fmla="*/ 2147483647 h 500"/>
                <a:gd name="T32" fmla="*/ 2147483647 w 697"/>
                <a:gd name="T33" fmla="*/ 2147483647 h 500"/>
                <a:gd name="T34" fmla="*/ 2147483647 w 697"/>
                <a:gd name="T35" fmla="*/ 2147483647 h 500"/>
                <a:gd name="T36" fmla="*/ 2147483647 w 697"/>
                <a:gd name="T37" fmla="*/ 2147483647 h 500"/>
                <a:gd name="T38" fmla="*/ 2147483647 w 697"/>
                <a:gd name="T39" fmla="*/ 2147483647 h 500"/>
                <a:gd name="T40" fmla="*/ 2147483647 w 697"/>
                <a:gd name="T41" fmla="*/ 2147483647 h 500"/>
                <a:gd name="T42" fmla="*/ 2147483647 w 697"/>
                <a:gd name="T43" fmla="*/ 2147483647 h 500"/>
                <a:gd name="T44" fmla="*/ 2147483647 w 697"/>
                <a:gd name="T45" fmla="*/ 2147483647 h 500"/>
                <a:gd name="T46" fmla="*/ 2147483647 w 697"/>
                <a:gd name="T47" fmla="*/ 2147483647 h 500"/>
                <a:gd name="T48" fmla="*/ 2147483647 w 697"/>
                <a:gd name="T49" fmla="*/ 2147483647 h 500"/>
                <a:gd name="T50" fmla="*/ 2147483647 w 697"/>
                <a:gd name="T51" fmla="*/ 2147483647 h 500"/>
                <a:gd name="T52" fmla="*/ 2147483647 w 697"/>
                <a:gd name="T53" fmla="*/ 2147483647 h 500"/>
                <a:gd name="T54" fmla="*/ 2147483647 w 697"/>
                <a:gd name="T55" fmla="*/ 2147483647 h 500"/>
                <a:gd name="T56" fmla="*/ 2147483647 w 697"/>
                <a:gd name="T57" fmla="*/ 2147483647 h 500"/>
                <a:gd name="T58" fmla="*/ 2147483647 w 697"/>
                <a:gd name="T59" fmla="*/ 2147483647 h 500"/>
                <a:gd name="T60" fmla="*/ 2147483647 w 697"/>
                <a:gd name="T61" fmla="*/ 2147483647 h 500"/>
                <a:gd name="T62" fmla="*/ 2147483647 w 697"/>
                <a:gd name="T63" fmla="*/ 2147483647 h 500"/>
                <a:gd name="T64" fmla="*/ 2147483647 w 697"/>
                <a:gd name="T65" fmla="*/ 2147483647 h 500"/>
                <a:gd name="T66" fmla="*/ 2147483647 w 697"/>
                <a:gd name="T67" fmla="*/ 2147483647 h 500"/>
                <a:gd name="T68" fmla="*/ 2147483647 w 697"/>
                <a:gd name="T69" fmla="*/ 2147483647 h 500"/>
                <a:gd name="T70" fmla="*/ 2147483647 w 697"/>
                <a:gd name="T71" fmla="*/ 2147483647 h 500"/>
                <a:gd name="T72" fmla="*/ 2147483647 w 697"/>
                <a:gd name="T73" fmla="*/ 2147483647 h 500"/>
                <a:gd name="T74" fmla="*/ 2147483647 w 697"/>
                <a:gd name="T75" fmla="*/ 2147483647 h 500"/>
                <a:gd name="T76" fmla="*/ 2147483647 w 697"/>
                <a:gd name="T77" fmla="*/ 2147483647 h 500"/>
                <a:gd name="T78" fmla="*/ 2147483647 w 697"/>
                <a:gd name="T79" fmla="*/ 2147483647 h 500"/>
                <a:gd name="T80" fmla="*/ 2147483647 w 697"/>
                <a:gd name="T81" fmla="*/ 2147483647 h 500"/>
                <a:gd name="T82" fmla="*/ 2147483647 w 697"/>
                <a:gd name="T83" fmla="*/ 2147483647 h 500"/>
                <a:gd name="T84" fmla="*/ 2147483647 w 697"/>
                <a:gd name="T85" fmla="*/ 2147483647 h 500"/>
                <a:gd name="T86" fmla="*/ 2147483647 w 697"/>
                <a:gd name="T87" fmla="*/ 2147483647 h 500"/>
                <a:gd name="T88" fmla="*/ 2147483647 w 697"/>
                <a:gd name="T89" fmla="*/ 2147483647 h 500"/>
                <a:gd name="T90" fmla="*/ 2147483647 w 697"/>
                <a:gd name="T91" fmla="*/ 2147483647 h 500"/>
                <a:gd name="T92" fmla="*/ 2147483647 w 697"/>
                <a:gd name="T93" fmla="*/ 2147483647 h 500"/>
                <a:gd name="T94" fmla="*/ 2147483647 w 697"/>
                <a:gd name="T95" fmla="*/ 2147483647 h 500"/>
                <a:gd name="T96" fmla="*/ 2147483647 w 697"/>
                <a:gd name="T97" fmla="*/ 2147483647 h 500"/>
                <a:gd name="T98" fmla="*/ 2147483647 w 697"/>
                <a:gd name="T99" fmla="*/ 2147483647 h 500"/>
                <a:gd name="T100" fmla="*/ 2147483647 w 697"/>
                <a:gd name="T101" fmla="*/ 2147483647 h 500"/>
                <a:gd name="T102" fmla="*/ 2147483647 w 697"/>
                <a:gd name="T103" fmla="*/ 2147483647 h 50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0" t="0" r="r" b="b"/>
              <a:pathLst>
                <a:path w="697" h="500">
                  <a:moveTo>
                    <a:pt x="631" y="50"/>
                  </a:moveTo>
                  <a:lnTo>
                    <a:pt x="635" y="51"/>
                  </a:lnTo>
                  <a:lnTo>
                    <a:pt x="648" y="53"/>
                  </a:lnTo>
                  <a:lnTo>
                    <a:pt x="659" y="55"/>
                  </a:lnTo>
                  <a:lnTo>
                    <a:pt x="664" y="56"/>
                  </a:lnTo>
                  <a:lnTo>
                    <a:pt x="657" y="161"/>
                  </a:lnTo>
                  <a:lnTo>
                    <a:pt x="657" y="163"/>
                  </a:lnTo>
                  <a:lnTo>
                    <a:pt x="659" y="165"/>
                  </a:lnTo>
                  <a:lnTo>
                    <a:pt x="661" y="167"/>
                  </a:lnTo>
                  <a:lnTo>
                    <a:pt x="664" y="169"/>
                  </a:lnTo>
                  <a:lnTo>
                    <a:pt x="669" y="173"/>
                  </a:lnTo>
                  <a:lnTo>
                    <a:pt x="677" y="177"/>
                  </a:lnTo>
                  <a:lnTo>
                    <a:pt x="685" y="181"/>
                  </a:lnTo>
                  <a:lnTo>
                    <a:pt x="691" y="185"/>
                  </a:lnTo>
                  <a:lnTo>
                    <a:pt x="694" y="189"/>
                  </a:lnTo>
                  <a:lnTo>
                    <a:pt x="696" y="192"/>
                  </a:lnTo>
                  <a:lnTo>
                    <a:pt x="697" y="195"/>
                  </a:lnTo>
                  <a:lnTo>
                    <a:pt x="697" y="198"/>
                  </a:lnTo>
                  <a:lnTo>
                    <a:pt x="697" y="203"/>
                  </a:lnTo>
                  <a:lnTo>
                    <a:pt x="696" y="208"/>
                  </a:lnTo>
                  <a:lnTo>
                    <a:pt x="694" y="211"/>
                  </a:lnTo>
                  <a:lnTo>
                    <a:pt x="691" y="214"/>
                  </a:lnTo>
                  <a:lnTo>
                    <a:pt x="688" y="216"/>
                  </a:lnTo>
                  <a:lnTo>
                    <a:pt x="685" y="217"/>
                  </a:lnTo>
                  <a:lnTo>
                    <a:pt x="680" y="218"/>
                  </a:lnTo>
                  <a:lnTo>
                    <a:pt x="676" y="219"/>
                  </a:lnTo>
                  <a:lnTo>
                    <a:pt x="655" y="218"/>
                  </a:lnTo>
                  <a:lnTo>
                    <a:pt x="631" y="216"/>
                  </a:lnTo>
                  <a:lnTo>
                    <a:pt x="619" y="221"/>
                  </a:lnTo>
                  <a:lnTo>
                    <a:pt x="605" y="228"/>
                  </a:lnTo>
                  <a:lnTo>
                    <a:pt x="589" y="235"/>
                  </a:lnTo>
                  <a:lnTo>
                    <a:pt x="574" y="245"/>
                  </a:lnTo>
                  <a:lnTo>
                    <a:pt x="567" y="250"/>
                  </a:lnTo>
                  <a:lnTo>
                    <a:pt x="560" y="256"/>
                  </a:lnTo>
                  <a:lnTo>
                    <a:pt x="554" y="261"/>
                  </a:lnTo>
                  <a:lnTo>
                    <a:pt x="549" y="267"/>
                  </a:lnTo>
                  <a:lnTo>
                    <a:pt x="544" y="274"/>
                  </a:lnTo>
                  <a:lnTo>
                    <a:pt x="541" y="281"/>
                  </a:lnTo>
                  <a:lnTo>
                    <a:pt x="539" y="288"/>
                  </a:lnTo>
                  <a:lnTo>
                    <a:pt x="538" y="296"/>
                  </a:lnTo>
                  <a:lnTo>
                    <a:pt x="529" y="299"/>
                  </a:lnTo>
                  <a:lnTo>
                    <a:pt x="521" y="302"/>
                  </a:lnTo>
                  <a:lnTo>
                    <a:pt x="514" y="306"/>
                  </a:lnTo>
                  <a:lnTo>
                    <a:pt x="506" y="312"/>
                  </a:lnTo>
                  <a:lnTo>
                    <a:pt x="491" y="324"/>
                  </a:lnTo>
                  <a:lnTo>
                    <a:pt x="475" y="339"/>
                  </a:lnTo>
                  <a:lnTo>
                    <a:pt x="465" y="346"/>
                  </a:lnTo>
                  <a:lnTo>
                    <a:pt x="455" y="352"/>
                  </a:lnTo>
                  <a:lnTo>
                    <a:pt x="445" y="360"/>
                  </a:lnTo>
                  <a:lnTo>
                    <a:pt x="433" y="365"/>
                  </a:lnTo>
                  <a:lnTo>
                    <a:pt x="420" y="370"/>
                  </a:lnTo>
                  <a:lnTo>
                    <a:pt x="406" y="373"/>
                  </a:lnTo>
                  <a:lnTo>
                    <a:pt x="389" y="376"/>
                  </a:lnTo>
                  <a:lnTo>
                    <a:pt x="372" y="377"/>
                  </a:lnTo>
                  <a:lnTo>
                    <a:pt x="361" y="377"/>
                  </a:lnTo>
                  <a:lnTo>
                    <a:pt x="352" y="378"/>
                  </a:lnTo>
                  <a:lnTo>
                    <a:pt x="344" y="380"/>
                  </a:lnTo>
                  <a:lnTo>
                    <a:pt x="337" y="382"/>
                  </a:lnTo>
                  <a:lnTo>
                    <a:pt x="326" y="389"/>
                  </a:lnTo>
                  <a:lnTo>
                    <a:pt x="316" y="396"/>
                  </a:lnTo>
                  <a:lnTo>
                    <a:pt x="306" y="404"/>
                  </a:lnTo>
                  <a:lnTo>
                    <a:pt x="296" y="413"/>
                  </a:lnTo>
                  <a:lnTo>
                    <a:pt x="290" y="417"/>
                  </a:lnTo>
                  <a:lnTo>
                    <a:pt x="283" y="420"/>
                  </a:lnTo>
                  <a:lnTo>
                    <a:pt x="274" y="423"/>
                  </a:lnTo>
                  <a:lnTo>
                    <a:pt x="265" y="426"/>
                  </a:lnTo>
                  <a:lnTo>
                    <a:pt x="272" y="494"/>
                  </a:lnTo>
                  <a:lnTo>
                    <a:pt x="0" y="500"/>
                  </a:lnTo>
                  <a:lnTo>
                    <a:pt x="5" y="496"/>
                  </a:lnTo>
                  <a:lnTo>
                    <a:pt x="13" y="492"/>
                  </a:lnTo>
                  <a:lnTo>
                    <a:pt x="22" y="490"/>
                  </a:lnTo>
                  <a:lnTo>
                    <a:pt x="32" y="487"/>
                  </a:lnTo>
                  <a:lnTo>
                    <a:pt x="55" y="483"/>
                  </a:lnTo>
                  <a:lnTo>
                    <a:pt x="80" y="475"/>
                  </a:lnTo>
                  <a:lnTo>
                    <a:pt x="85" y="473"/>
                  </a:lnTo>
                  <a:lnTo>
                    <a:pt x="90" y="469"/>
                  </a:lnTo>
                  <a:lnTo>
                    <a:pt x="92" y="465"/>
                  </a:lnTo>
                  <a:lnTo>
                    <a:pt x="93" y="459"/>
                  </a:lnTo>
                  <a:lnTo>
                    <a:pt x="93" y="451"/>
                  </a:lnTo>
                  <a:lnTo>
                    <a:pt x="93" y="444"/>
                  </a:lnTo>
                  <a:lnTo>
                    <a:pt x="99" y="438"/>
                  </a:lnTo>
                  <a:lnTo>
                    <a:pt x="104" y="432"/>
                  </a:lnTo>
                  <a:lnTo>
                    <a:pt x="112" y="427"/>
                  </a:lnTo>
                  <a:lnTo>
                    <a:pt x="119" y="422"/>
                  </a:lnTo>
                  <a:lnTo>
                    <a:pt x="136" y="414"/>
                  </a:lnTo>
                  <a:lnTo>
                    <a:pt x="152" y="404"/>
                  </a:lnTo>
                  <a:lnTo>
                    <a:pt x="160" y="399"/>
                  </a:lnTo>
                  <a:lnTo>
                    <a:pt x="168" y="394"/>
                  </a:lnTo>
                  <a:lnTo>
                    <a:pt x="174" y="388"/>
                  </a:lnTo>
                  <a:lnTo>
                    <a:pt x="181" y="382"/>
                  </a:lnTo>
                  <a:lnTo>
                    <a:pt x="185" y="375"/>
                  </a:lnTo>
                  <a:lnTo>
                    <a:pt x="189" y="366"/>
                  </a:lnTo>
                  <a:lnTo>
                    <a:pt x="192" y="357"/>
                  </a:lnTo>
                  <a:lnTo>
                    <a:pt x="192" y="345"/>
                  </a:lnTo>
                  <a:lnTo>
                    <a:pt x="193" y="332"/>
                  </a:lnTo>
                  <a:lnTo>
                    <a:pt x="193" y="316"/>
                  </a:lnTo>
                  <a:lnTo>
                    <a:pt x="194" y="296"/>
                  </a:lnTo>
                  <a:lnTo>
                    <a:pt x="195" y="275"/>
                  </a:lnTo>
                  <a:lnTo>
                    <a:pt x="195" y="254"/>
                  </a:lnTo>
                  <a:lnTo>
                    <a:pt x="195" y="232"/>
                  </a:lnTo>
                  <a:lnTo>
                    <a:pt x="194" y="211"/>
                  </a:lnTo>
                  <a:lnTo>
                    <a:pt x="192" y="192"/>
                  </a:lnTo>
                  <a:lnTo>
                    <a:pt x="201" y="192"/>
                  </a:lnTo>
                  <a:lnTo>
                    <a:pt x="207" y="190"/>
                  </a:lnTo>
                  <a:lnTo>
                    <a:pt x="214" y="189"/>
                  </a:lnTo>
                  <a:lnTo>
                    <a:pt x="219" y="185"/>
                  </a:lnTo>
                  <a:lnTo>
                    <a:pt x="224" y="182"/>
                  </a:lnTo>
                  <a:lnTo>
                    <a:pt x="228" y="179"/>
                  </a:lnTo>
                  <a:lnTo>
                    <a:pt x="232" y="176"/>
                  </a:lnTo>
                  <a:lnTo>
                    <a:pt x="236" y="172"/>
                  </a:lnTo>
                  <a:lnTo>
                    <a:pt x="241" y="165"/>
                  </a:lnTo>
                  <a:lnTo>
                    <a:pt x="247" y="158"/>
                  </a:lnTo>
                  <a:lnTo>
                    <a:pt x="249" y="155"/>
                  </a:lnTo>
                  <a:lnTo>
                    <a:pt x="252" y="152"/>
                  </a:lnTo>
                  <a:lnTo>
                    <a:pt x="256" y="150"/>
                  </a:lnTo>
                  <a:lnTo>
                    <a:pt x="259" y="149"/>
                  </a:lnTo>
                  <a:lnTo>
                    <a:pt x="281" y="146"/>
                  </a:lnTo>
                  <a:lnTo>
                    <a:pt x="297" y="145"/>
                  </a:lnTo>
                  <a:lnTo>
                    <a:pt x="306" y="144"/>
                  </a:lnTo>
                  <a:lnTo>
                    <a:pt x="314" y="143"/>
                  </a:lnTo>
                  <a:lnTo>
                    <a:pt x="323" y="140"/>
                  </a:lnTo>
                  <a:lnTo>
                    <a:pt x="331" y="137"/>
                  </a:lnTo>
                  <a:lnTo>
                    <a:pt x="340" y="131"/>
                  </a:lnTo>
                  <a:lnTo>
                    <a:pt x="348" y="124"/>
                  </a:lnTo>
                  <a:lnTo>
                    <a:pt x="354" y="116"/>
                  </a:lnTo>
                  <a:lnTo>
                    <a:pt x="360" y="108"/>
                  </a:lnTo>
                  <a:lnTo>
                    <a:pt x="371" y="89"/>
                  </a:lnTo>
                  <a:lnTo>
                    <a:pt x="380" y="68"/>
                  </a:lnTo>
                  <a:lnTo>
                    <a:pt x="388" y="48"/>
                  </a:lnTo>
                  <a:lnTo>
                    <a:pt x="397" y="29"/>
                  </a:lnTo>
                  <a:lnTo>
                    <a:pt x="402" y="21"/>
                  </a:lnTo>
                  <a:lnTo>
                    <a:pt x="407" y="12"/>
                  </a:lnTo>
                  <a:lnTo>
                    <a:pt x="413" y="6"/>
                  </a:lnTo>
                  <a:lnTo>
                    <a:pt x="418" y="0"/>
                  </a:lnTo>
                  <a:lnTo>
                    <a:pt x="426" y="8"/>
                  </a:lnTo>
                  <a:lnTo>
                    <a:pt x="433" y="14"/>
                  </a:lnTo>
                  <a:lnTo>
                    <a:pt x="441" y="17"/>
                  </a:lnTo>
                  <a:lnTo>
                    <a:pt x="449" y="20"/>
                  </a:lnTo>
                  <a:lnTo>
                    <a:pt x="465" y="20"/>
                  </a:lnTo>
                  <a:lnTo>
                    <a:pt x="485" y="20"/>
                  </a:lnTo>
                  <a:lnTo>
                    <a:pt x="512" y="18"/>
                  </a:lnTo>
                  <a:lnTo>
                    <a:pt x="543" y="16"/>
                  </a:lnTo>
                  <a:lnTo>
                    <a:pt x="571" y="14"/>
                  </a:lnTo>
                  <a:lnTo>
                    <a:pt x="590" y="13"/>
                  </a:lnTo>
                  <a:lnTo>
                    <a:pt x="594" y="13"/>
                  </a:lnTo>
                  <a:lnTo>
                    <a:pt x="595" y="15"/>
                  </a:lnTo>
                  <a:lnTo>
                    <a:pt x="597" y="17"/>
                  </a:lnTo>
                  <a:lnTo>
                    <a:pt x="599" y="21"/>
                  </a:lnTo>
                  <a:lnTo>
                    <a:pt x="601" y="28"/>
                  </a:lnTo>
                  <a:lnTo>
                    <a:pt x="605" y="36"/>
                  </a:lnTo>
                  <a:lnTo>
                    <a:pt x="607" y="44"/>
                  </a:lnTo>
                  <a:lnTo>
                    <a:pt x="609" y="49"/>
                  </a:lnTo>
                  <a:lnTo>
                    <a:pt x="611" y="51"/>
                  </a:lnTo>
                  <a:lnTo>
                    <a:pt x="613" y="52"/>
                  </a:lnTo>
                  <a:lnTo>
                    <a:pt x="615" y="51"/>
                  </a:lnTo>
                  <a:lnTo>
                    <a:pt x="618" y="50"/>
                  </a:lnTo>
                  <a:lnTo>
                    <a:pt x="631" y="50"/>
                  </a:lnTo>
                </a:path>
              </a:pathLst>
            </a:custGeom>
            <a:solidFill>
              <a:srgbClr val="19194D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93" name="Freeform 547"/>
            <p:cNvSpPr>
              <a:spLocks/>
            </p:cNvSpPr>
            <p:nvPr>
              <p:custDataLst>
                <p:tags r:id="rId378"/>
              </p:custDataLst>
            </p:nvPr>
          </p:nvSpPr>
          <p:spPr bwMode="auto">
            <a:xfrm>
              <a:off x="6509382" y="2134039"/>
              <a:ext cx="236537" cy="92075"/>
            </a:xfrm>
            <a:custGeom>
              <a:avLst/>
              <a:gdLst>
                <a:gd name="T0" fmla="*/ 2147483647 w 546"/>
                <a:gd name="T1" fmla="*/ 2147483647 h 173"/>
                <a:gd name="T2" fmla="*/ 2147483647 w 546"/>
                <a:gd name="T3" fmla="*/ 2147483647 h 173"/>
                <a:gd name="T4" fmla="*/ 2147483647 w 546"/>
                <a:gd name="T5" fmla="*/ 2147483647 h 173"/>
                <a:gd name="T6" fmla="*/ 2147483647 w 546"/>
                <a:gd name="T7" fmla="*/ 2147483647 h 173"/>
                <a:gd name="T8" fmla="*/ 2147483647 w 546"/>
                <a:gd name="T9" fmla="*/ 2147483647 h 173"/>
                <a:gd name="T10" fmla="*/ 2147483647 w 546"/>
                <a:gd name="T11" fmla="*/ 2147483647 h 173"/>
                <a:gd name="T12" fmla="*/ 2147483647 w 546"/>
                <a:gd name="T13" fmla="*/ 2147483647 h 173"/>
                <a:gd name="T14" fmla="*/ 2147483647 w 546"/>
                <a:gd name="T15" fmla="*/ 2147483647 h 173"/>
                <a:gd name="T16" fmla="*/ 2147483647 w 546"/>
                <a:gd name="T17" fmla="*/ 2147483647 h 173"/>
                <a:gd name="T18" fmla="*/ 2147483647 w 546"/>
                <a:gd name="T19" fmla="*/ 2147483647 h 173"/>
                <a:gd name="T20" fmla="*/ 2147483647 w 546"/>
                <a:gd name="T21" fmla="*/ 2147483647 h 173"/>
                <a:gd name="T22" fmla="*/ 2147483647 w 546"/>
                <a:gd name="T23" fmla="*/ 2147483647 h 173"/>
                <a:gd name="T24" fmla="*/ 2147483647 w 546"/>
                <a:gd name="T25" fmla="*/ 2147483647 h 173"/>
                <a:gd name="T26" fmla="*/ 2147483647 w 546"/>
                <a:gd name="T27" fmla="*/ 2147483647 h 173"/>
                <a:gd name="T28" fmla="*/ 2147483647 w 546"/>
                <a:gd name="T29" fmla="*/ 0 h 173"/>
                <a:gd name="T30" fmla="*/ 2147483647 w 546"/>
                <a:gd name="T31" fmla="*/ 2147483647 h 173"/>
                <a:gd name="T32" fmla="*/ 2147483647 w 546"/>
                <a:gd name="T33" fmla="*/ 2147483647 h 173"/>
                <a:gd name="T34" fmla="*/ 2147483647 w 546"/>
                <a:gd name="T35" fmla="*/ 2147483647 h 173"/>
                <a:gd name="T36" fmla="*/ 2147483647 w 546"/>
                <a:gd name="T37" fmla="*/ 2147483647 h 173"/>
                <a:gd name="T38" fmla="*/ 2147483647 w 546"/>
                <a:gd name="T39" fmla="*/ 2147483647 h 173"/>
                <a:gd name="T40" fmla="*/ 2147483647 w 546"/>
                <a:gd name="T41" fmla="*/ 2147483647 h 173"/>
                <a:gd name="T42" fmla="*/ 2147483647 w 546"/>
                <a:gd name="T43" fmla="*/ 2147483647 h 173"/>
                <a:gd name="T44" fmla="*/ 2147483647 w 546"/>
                <a:gd name="T45" fmla="*/ 2147483647 h 173"/>
                <a:gd name="T46" fmla="*/ 2147483647 w 546"/>
                <a:gd name="T47" fmla="*/ 2147483647 h 173"/>
                <a:gd name="T48" fmla="*/ 2147483647 w 546"/>
                <a:gd name="T49" fmla="*/ 2147483647 h 173"/>
                <a:gd name="T50" fmla="*/ 2147483647 w 546"/>
                <a:gd name="T51" fmla="*/ 2147483647 h 173"/>
                <a:gd name="T52" fmla="*/ 2147483647 w 546"/>
                <a:gd name="T53" fmla="*/ 2147483647 h 173"/>
                <a:gd name="T54" fmla="*/ 2147483647 w 546"/>
                <a:gd name="T55" fmla="*/ 2147483647 h 173"/>
                <a:gd name="T56" fmla="*/ 2147483647 w 546"/>
                <a:gd name="T57" fmla="*/ 2147483647 h 173"/>
                <a:gd name="T58" fmla="*/ 2147483647 w 546"/>
                <a:gd name="T59" fmla="*/ 2147483647 h 173"/>
                <a:gd name="T60" fmla="*/ 2147483647 w 546"/>
                <a:gd name="T61" fmla="*/ 2147483647 h 173"/>
                <a:gd name="T62" fmla="*/ 2147483647 w 546"/>
                <a:gd name="T63" fmla="*/ 2147483647 h 173"/>
                <a:gd name="T64" fmla="*/ 2147483647 w 546"/>
                <a:gd name="T65" fmla="*/ 2147483647 h 173"/>
                <a:gd name="T66" fmla="*/ 2147483647 w 546"/>
                <a:gd name="T67" fmla="*/ 2147483647 h 173"/>
                <a:gd name="T68" fmla="*/ 2147483647 w 546"/>
                <a:gd name="T69" fmla="*/ 2147483647 h 173"/>
                <a:gd name="T70" fmla="*/ 2147483647 w 546"/>
                <a:gd name="T71" fmla="*/ 2147483647 h 173"/>
                <a:gd name="T72" fmla="*/ 2147483647 w 546"/>
                <a:gd name="T73" fmla="*/ 2147483647 h 173"/>
                <a:gd name="T74" fmla="*/ 2147483647 w 546"/>
                <a:gd name="T75" fmla="*/ 2147483647 h 173"/>
                <a:gd name="T76" fmla="*/ 2147483647 w 546"/>
                <a:gd name="T77" fmla="*/ 2147483647 h 173"/>
                <a:gd name="T78" fmla="*/ 2147483647 w 546"/>
                <a:gd name="T79" fmla="*/ 2147483647 h 173"/>
                <a:gd name="T80" fmla="*/ 2147483647 w 546"/>
                <a:gd name="T81" fmla="*/ 2147483647 h 173"/>
                <a:gd name="T82" fmla="*/ 2147483647 w 546"/>
                <a:gd name="T83" fmla="*/ 2147483647 h 173"/>
                <a:gd name="T84" fmla="*/ 2147483647 w 546"/>
                <a:gd name="T85" fmla="*/ 2147483647 h 173"/>
                <a:gd name="T86" fmla="*/ 2147483647 w 546"/>
                <a:gd name="T87" fmla="*/ 2147483647 h 173"/>
                <a:gd name="T88" fmla="*/ 2147483647 w 546"/>
                <a:gd name="T89" fmla="*/ 2147483647 h 173"/>
                <a:gd name="T90" fmla="*/ 2147483647 w 546"/>
                <a:gd name="T91" fmla="*/ 2147483647 h 173"/>
                <a:gd name="T92" fmla="*/ 2147483647 w 546"/>
                <a:gd name="T93" fmla="*/ 2147483647 h 173"/>
                <a:gd name="T94" fmla="*/ 2147483647 w 546"/>
                <a:gd name="T95" fmla="*/ 2147483647 h 173"/>
                <a:gd name="T96" fmla="*/ 2147483647 w 546"/>
                <a:gd name="T97" fmla="*/ 2147483647 h 173"/>
                <a:gd name="T98" fmla="*/ 2147483647 w 546"/>
                <a:gd name="T99" fmla="*/ 2147483647 h 173"/>
                <a:gd name="T100" fmla="*/ 2147483647 w 546"/>
                <a:gd name="T101" fmla="*/ 2147483647 h 173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46" h="173">
                  <a:moveTo>
                    <a:pt x="47" y="12"/>
                  </a:moveTo>
                  <a:lnTo>
                    <a:pt x="61" y="15"/>
                  </a:lnTo>
                  <a:lnTo>
                    <a:pt x="74" y="19"/>
                  </a:lnTo>
                  <a:lnTo>
                    <a:pt x="61" y="38"/>
                  </a:lnTo>
                  <a:lnTo>
                    <a:pt x="87" y="38"/>
                  </a:lnTo>
                  <a:lnTo>
                    <a:pt x="94" y="34"/>
                  </a:lnTo>
                  <a:lnTo>
                    <a:pt x="102" y="31"/>
                  </a:lnTo>
                  <a:lnTo>
                    <a:pt x="107" y="29"/>
                  </a:lnTo>
                  <a:lnTo>
                    <a:pt x="110" y="27"/>
                  </a:lnTo>
                  <a:lnTo>
                    <a:pt x="112" y="23"/>
                  </a:lnTo>
                  <a:lnTo>
                    <a:pt x="113" y="19"/>
                  </a:lnTo>
                  <a:lnTo>
                    <a:pt x="132" y="27"/>
                  </a:lnTo>
                  <a:lnTo>
                    <a:pt x="142" y="32"/>
                  </a:lnTo>
                  <a:lnTo>
                    <a:pt x="150" y="36"/>
                  </a:lnTo>
                  <a:lnTo>
                    <a:pt x="161" y="44"/>
                  </a:lnTo>
                  <a:lnTo>
                    <a:pt x="161" y="19"/>
                  </a:lnTo>
                  <a:lnTo>
                    <a:pt x="188" y="19"/>
                  </a:lnTo>
                  <a:lnTo>
                    <a:pt x="209" y="19"/>
                  </a:lnTo>
                  <a:lnTo>
                    <a:pt x="224" y="19"/>
                  </a:lnTo>
                  <a:lnTo>
                    <a:pt x="233" y="19"/>
                  </a:lnTo>
                  <a:lnTo>
                    <a:pt x="243" y="19"/>
                  </a:lnTo>
                  <a:lnTo>
                    <a:pt x="253" y="19"/>
                  </a:lnTo>
                  <a:lnTo>
                    <a:pt x="256" y="17"/>
                  </a:lnTo>
                  <a:lnTo>
                    <a:pt x="260" y="16"/>
                  </a:lnTo>
                  <a:lnTo>
                    <a:pt x="264" y="14"/>
                  </a:lnTo>
                  <a:lnTo>
                    <a:pt x="266" y="12"/>
                  </a:lnTo>
                  <a:lnTo>
                    <a:pt x="269" y="14"/>
                  </a:lnTo>
                  <a:lnTo>
                    <a:pt x="273" y="14"/>
                  </a:lnTo>
                  <a:lnTo>
                    <a:pt x="276" y="13"/>
                  </a:lnTo>
                  <a:lnTo>
                    <a:pt x="279" y="11"/>
                  </a:lnTo>
                  <a:lnTo>
                    <a:pt x="281" y="8"/>
                  </a:lnTo>
                  <a:lnTo>
                    <a:pt x="285" y="6"/>
                  </a:lnTo>
                  <a:lnTo>
                    <a:pt x="286" y="3"/>
                  </a:lnTo>
                  <a:lnTo>
                    <a:pt x="287" y="0"/>
                  </a:lnTo>
                  <a:lnTo>
                    <a:pt x="320" y="0"/>
                  </a:lnTo>
                  <a:lnTo>
                    <a:pt x="321" y="5"/>
                  </a:lnTo>
                  <a:lnTo>
                    <a:pt x="324" y="9"/>
                  </a:lnTo>
                  <a:lnTo>
                    <a:pt x="329" y="11"/>
                  </a:lnTo>
                  <a:lnTo>
                    <a:pt x="333" y="12"/>
                  </a:lnTo>
                  <a:lnTo>
                    <a:pt x="338" y="11"/>
                  </a:lnTo>
                  <a:lnTo>
                    <a:pt x="345" y="9"/>
                  </a:lnTo>
                  <a:lnTo>
                    <a:pt x="348" y="7"/>
                  </a:lnTo>
                  <a:lnTo>
                    <a:pt x="351" y="5"/>
                  </a:lnTo>
                  <a:lnTo>
                    <a:pt x="353" y="3"/>
                  </a:lnTo>
                  <a:lnTo>
                    <a:pt x="353" y="0"/>
                  </a:lnTo>
                  <a:lnTo>
                    <a:pt x="358" y="3"/>
                  </a:lnTo>
                  <a:lnTo>
                    <a:pt x="363" y="6"/>
                  </a:lnTo>
                  <a:lnTo>
                    <a:pt x="367" y="7"/>
                  </a:lnTo>
                  <a:lnTo>
                    <a:pt x="371" y="8"/>
                  </a:lnTo>
                  <a:lnTo>
                    <a:pt x="380" y="8"/>
                  </a:lnTo>
                  <a:lnTo>
                    <a:pt x="389" y="7"/>
                  </a:lnTo>
                  <a:lnTo>
                    <a:pt x="404" y="3"/>
                  </a:lnTo>
                  <a:lnTo>
                    <a:pt x="420" y="0"/>
                  </a:lnTo>
                  <a:lnTo>
                    <a:pt x="436" y="1"/>
                  </a:lnTo>
                  <a:lnTo>
                    <a:pt x="453" y="2"/>
                  </a:lnTo>
                  <a:lnTo>
                    <a:pt x="467" y="4"/>
                  </a:lnTo>
                  <a:lnTo>
                    <a:pt x="482" y="6"/>
                  </a:lnTo>
                  <a:lnTo>
                    <a:pt x="498" y="9"/>
                  </a:lnTo>
                  <a:lnTo>
                    <a:pt x="513" y="11"/>
                  </a:lnTo>
                  <a:lnTo>
                    <a:pt x="528" y="12"/>
                  </a:lnTo>
                  <a:lnTo>
                    <a:pt x="546" y="12"/>
                  </a:lnTo>
                  <a:lnTo>
                    <a:pt x="546" y="44"/>
                  </a:lnTo>
                  <a:lnTo>
                    <a:pt x="545" y="49"/>
                  </a:lnTo>
                  <a:lnTo>
                    <a:pt x="542" y="55"/>
                  </a:lnTo>
                  <a:lnTo>
                    <a:pt x="539" y="58"/>
                  </a:lnTo>
                  <a:lnTo>
                    <a:pt x="537" y="60"/>
                  </a:lnTo>
                  <a:lnTo>
                    <a:pt x="535" y="61"/>
                  </a:lnTo>
                  <a:lnTo>
                    <a:pt x="533" y="62"/>
                  </a:lnTo>
                  <a:lnTo>
                    <a:pt x="513" y="62"/>
                  </a:lnTo>
                  <a:lnTo>
                    <a:pt x="498" y="60"/>
                  </a:lnTo>
                  <a:lnTo>
                    <a:pt x="490" y="57"/>
                  </a:lnTo>
                  <a:lnTo>
                    <a:pt x="483" y="54"/>
                  </a:lnTo>
                  <a:lnTo>
                    <a:pt x="478" y="50"/>
                  </a:lnTo>
                  <a:lnTo>
                    <a:pt x="472" y="44"/>
                  </a:lnTo>
                  <a:lnTo>
                    <a:pt x="413" y="44"/>
                  </a:lnTo>
                  <a:lnTo>
                    <a:pt x="421" y="58"/>
                  </a:lnTo>
                  <a:lnTo>
                    <a:pt x="428" y="70"/>
                  </a:lnTo>
                  <a:lnTo>
                    <a:pt x="438" y="81"/>
                  </a:lnTo>
                  <a:lnTo>
                    <a:pt x="448" y="89"/>
                  </a:lnTo>
                  <a:lnTo>
                    <a:pt x="459" y="96"/>
                  </a:lnTo>
                  <a:lnTo>
                    <a:pt x="471" y="102"/>
                  </a:lnTo>
                  <a:lnTo>
                    <a:pt x="484" y="107"/>
                  </a:lnTo>
                  <a:lnTo>
                    <a:pt x="499" y="111"/>
                  </a:lnTo>
                  <a:lnTo>
                    <a:pt x="493" y="119"/>
                  </a:lnTo>
                  <a:lnTo>
                    <a:pt x="488" y="126"/>
                  </a:lnTo>
                  <a:lnTo>
                    <a:pt x="481" y="132"/>
                  </a:lnTo>
                  <a:lnTo>
                    <a:pt x="475" y="136"/>
                  </a:lnTo>
                  <a:lnTo>
                    <a:pt x="466" y="139"/>
                  </a:lnTo>
                  <a:lnTo>
                    <a:pt x="458" y="141"/>
                  </a:lnTo>
                  <a:lnTo>
                    <a:pt x="449" y="142"/>
                  </a:lnTo>
                  <a:lnTo>
                    <a:pt x="439" y="142"/>
                  </a:lnTo>
                  <a:lnTo>
                    <a:pt x="432" y="142"/>
                  </a:lnTo>
                  <a:lnTo>
                    <a:pt x="426" y="141"/>
                  </a:lnTo>
                  <a:lnTo>
                    <a:pt x="421" y="139"/>
                  </a:lnTo>
                  <a:lnTo>
                    <a:pt x="416" y="136"/>
                  </a:lnTo>
                  <a:lnTo>
                    <a:pt x="412" y="134"/>
                  </a:lnTo>
                  <a:lnTo>
                    <a:pt x="409" y="132"/>
                  </a:lnTo>
                  <a:lnTo>
                    <a:pt x="404" y="131"/>
                  </a:lnTo>
                  <a:lnTo>
                    <a:pt x="399" y="130"/>
                  </a:lnTo>
                  <a:lnTo>
                    <a:pt x="394" y="128"/>
                  </a:lnTo>
                  <a:lnTo>
                    <a:pt x="390" y="125"/>
                  </a:lnTo>
                  <a:lnTo>
                    <a:pt x="385" y="121"/>
                  </a:lnTo>
                  <a:lnTo>
                    <a:pt x="381" y="116"/>
                  </a:lnTo>
                  <a:lnTo>
                    <a:pt x="378" y="110"/>
                  </a:lnTo>
                  <a:lnTo>
                    <a:pt x="375" y="104"/>
                  </a:lnTo>
                  <a:lnTo>
                    <a:pt x="374" y="98"/>
                  </a:lnTo>
                  <a:lnTo>
                    <a:pt x="372" y="93"/>
                  </a:lnTo>
                  <a:lnTo>
                    <a:pt x="365" y="92"/>
                  </a:lnTo>
                  <a:lnTo>
                    <a:pt x="358" y="90"/>
                  </a:lnTo>
                  <a:lnTo>
                    <a:pt x="351" y="87"/>
                  </a:lnTo>
                  <a:lnTo>
                    <a:pt x="344" y="84"/>
                  </a:lnTo>
                  <a:lnTo>
                    <a:pt x="337" y="81"/>
                  </a:lnTo>
                  <a:lnTo>
                    <a:pt x="331" y="78"/>
                  </a:lnTo>
                  <a:lnTo>
                    <a:pt x="325" y="76"/>
                  </a:lnTo>
                  <a:lnTo>
                    <a:pt x="320" y="75"/>
                  </a:lnTo>
                  <a:lnTo>
                    <a:pt x="314" y="78"/>
                  </a:lnTo>
                  <a:lnTo>
                    <a:pt x="303" y="87"/>
                  </a:lnTo>
                  <a:lnTo>
                    <a:pt x="289" y="101"/>
                  </a:lnTo>
                  <a:lnTo>
                    <a:pt x="274" y="117"/>
                  </a:lnTo>
                  <a:lnTo>
                    <a:pt x="258" y="134"/>
                  </a:lnTo>
                  <a:lnTo>
                    <a:pt x="246" y="150"/>
                  </a:lnTo>
                  <a:lnTo>
                    <a:pt x="241" y="157"/>
                  </a:lnTo>
                  <a:lnTo>
                    <a:pt x="236" y="163"/>
                  </a:lnTo>
                  <a:lnTo>
                    <a:pt x="234" y="169"/>
                  </a:lnTo>
                  <a:lnTo>
                    <a:pt x="233" y="173"/>
                  </a:lnTo>
                  <a:lnTo>
                    <a:pt x="220" y="172"/>
                  </a:lnTo>
                  <a:lnTo>
                    <a:pt x="209" y="171"/>
                  </a:lnTo>
                  <a:lnTo>
                    <a:pt x="198" y="169"/>
                  </a:lnTo>
                  <a:lnTo>
                    <a:pt x="188" y="167"/>
                  </a:lnTo>
                  <a:lnTo>
                    <a:pt x="180" y="163"/>
                  </a:lnTo>
                  <a:lnTo>
                    <a:pt x="172" y="160"/>
                  </a:lnTo>
                  <a:lnTo>
                    <a:pt x="165" y="155"/>
                  </a:lnTo>
                  <a:lnTo>
                    <a:pt x="158" y="151"/>
                  </a:lnTo>
                  <a:lnTo>
                    <a:pt x="136" y="128"/>
                  </a:lnTo>
                  <a:lnTo>
                    <a:pt x="113" y="105"/>
                  </a:lnTo>
                  <a:lnTo>
                    <a:pt x="108" y="100"/>
                  </a:lnTo>
                  <a:lnTo>
                    <a:pt x="101" y="95"/>
                  </a:lnTo>
                  <a:lnTo>
                    <a:pt x="95" y="91"/>
                  </a:lnTo>
                  <a:lnTo>
                    <a:pt x="88" y="87"/>
                  </a:lnTo>
                  <a:lnTo>
                    <a:pt x="74" y="81"/>
                  </a:lnTo>
                  <a:lnTo>
                    <a:pt x="60" y="76"/>
                  </a:lnTo>
                  <a:lnTo>
                    <a:pt x="45" y="70"/>
                  </a:lnTo>
                  <a:lnTo>
                    <a:pt x="31" y="64"/>
                  </a:lnTo>
                  <a:lnTo>
                    <a:pt x="16" y="58"/>
                  </a:lnTo>
                  <a:lnTo>
                    <a:pt x="0" y="50"/>
                  </a:lnTo>
                  <a:lnTo>
                    <a:pt x="6" y="41"/>
                  </a:lnTo>
                  <a:lnTo>
                    <a:pt x="11" y="34"/>
                  </a:lnTo>
                  <a:lnTo>
                    <a:pt x="16" y="28"/>
                  </a:lnTo>
                  <a:lnTo>
                    <a:pt x="21" y="22"/>
                  </a:lnTo>
                  <a:lnTo>
                    <a:pt x="28" y="19"/>
                  </a:lnTo>
                  <a:lnTo>
                    <a:pt x="33" y="15"/>
                  </a:lnTo>
                  <a:lnTo>
                    <a:pt x="40" y="13"/>
                  </a:lnTo>
                  <a:lnTo>
                    <a:pt x="47" y="12"/>
                  </a:lnTo>
                </a:path>
              </a:pathLst>
            </a:custGeom>
            <a:solidFill>
              <a:srgbClr val="FF00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94" name="Freeform 548"/>
            <p:cNvSpPr>
              <a:spLocks/>
            </p:cNvSpPr>
            <p:nvPr>
              <p:custDataLst>
                <p:tags r:id="rId379"/>
              </p:custDataLst>
            </p:nvPr>
          </p:nvSpPr>
          <p:spPr bwMode="auto">
            <a:xfrm>
              <a:off x="7020557" y="2118164"/>
              <a:ext cx="107950" cy="60325"/>
            </a:xfrm>
            <a:custGeom>
              <a:avLst/>
              <a:gdLst>
                <a:gd name="T0" fmla="*/ 2147483647 w 246"/>
                <a:gd name="T1" fmla="*/ 2147483647 h 42"/>
                <a:gd name="T2" fmla="*/ 2147483647 w 246"/>
                <a:gd name="T3" fmla="*/ 2147483647 h 42"/>
                <a:gd name="T4" fmla="*/ 2147483647 w 246"/>
                <a:gd name="T5" fmla="*/ 2147483647 h 42"/>
                <a:gd name="T6" fmla="*/ 2147483647 w 246"/>
                <a:gd name="T7" fmla="*/ 2147483647 h 42"/>
                <a:gd name="T8" fmla="*/ 2147483647 w 246"/>
                <a:gd name="T9" fmla="*/ 2147483647 h 42"/>
                <a:gd name="T10" fmla="*/ 2147483647 w 246"/>
                <a:gd name="T11" fmla="*/ 2147483647 h 42"/>
                <a:gd name="T12" fmla="*/ 2147483647 w 246"/>
                <a:gd name="T13" fmla="*/ 2147483647 h 42"/>
                <a:gd name="T14" fmla="*/ 2147483647 w 246"/>
                <a:gd name="T15" fmla="*/ 2147483647 h 42"/>
                <a:gd name="T16" fmla="*/ 2147483647 w 246"/>
                <a:gd name="T17" fmla="*/ 2147483647 h 42"/>
                <a:gd name="T18" fmla="*/ 2147483647 w 246"/>
                <a:gd name="T19" fmla="*/ 2147483647 h 42"/>
                <a:gd name="T20" fmla="*/ 2147483647 w 246"/>
                <a:gd name="T21" fmla="*/ 2147483647 h 42"/>
                <a:gd name="T22" fmla="*/ 2147483647 w 246"/>
                <a:gd name="T23" fmla="*/ 2147483647 h 42"/>
                <a:gd name="T24" fmla="*/ 2147483647 w 246"/>
                <a:gd name="T25" fmla="*/ 2147483647 h 42"/>
                <a:gd name="T26" fmla="*/ 2147483647 w 246"/>
                <a:gd name="T27" fmla="*/ 2147483647 h 42"/>
                <a:gd name="T28" fmla="*/ 2147483647 w 246"/>
                <a:gd name="T29" fmla="*/ 2147483647 h 42"/>
                <a:gd name="T30" fmla="*/ 2147483647 w 246"/>
                <a:gd name="T31" fmla="*/ 2147483647 h 42"/>
                <a:gd name="T32" fmla="*/ 2147483647 w 246"/>
                <a:gd name="T33" fmla="*/ 2147483647 h 42"/>
                <a:gd name="T34" fmla="*/ 2147483647 w 246"/>
                <a:gd name="T35" fmla="*/ 2147483647 h 42"/>
                <a:gd name="T36" fmla="*/ 2147483647 w 246"/>
                <a:gd name="T37" fmla="*/ 2147483647 h 42"/>
                <a:gd name="T38" fmla="*/ 2147483647 w 246"/>
                <a:gd name="T39" fmla="*/ 2147483647 h 42"/>
                <a:gd name="T40" fmla="*/ 2147483647 w 246"/>
                <a:gd name="T41" fmla="*/ 2147483647 h 42"/>
                <a:gd name="T42" fmla="*/ 2147483647 w 246"/>
                <a:gd name="T43" fmla="*/ 2147483647 h 42"/>
                <a:gd name="T44" fmla="*/ 2147483647 w 246"/>
                <a:gd name="T45" fmla="*/ 2147483647 h 42"/>
                <a:gd name="T46" fmla="*/ 2147483647 w 246"/>
                <a:gd name="T47" fmla="*/ 2147483647 h 42"/>
                <a:gd name="T48" fmla="*/ 2147483647 w 246"/>
                <a:gd name="T49" fmla="*/ 2147483647 h 42"/>
                <a:gd name="T50" fmla="*/ 2147483647 w 246"/>
                <a:gd name="T51" fmla="*/ 2147483647 h 42"/>
                <a:gd name="T52" fmla="*/ 2147483647 w 246"/>
                <a:gd name="T53" fmla="*/ 2147483647 h 42"/>
                <a:gd name="T54" fmla="*/ 2147483647 w 246"/>
                <a:gd name="T55" fmla="*/ 2147483647 h 42"/>
                <a:gd name="T56" fmla="*/ 2147483647 w 246"/>
                <a:gd name="T57" fmla="*/ 2147483647 h 42"/>
                <a:gd name="T58" fmla="*/ 2147483647 w 246"/>
                <a:gd name="T59" fmla="*/ 2147483647 h 42"/>
                <a:gd name="T60" fmla="*/ 2147483647 w 246"/>
                <a:gd name="T61" fmla="*/ 2147483647 h 42"/>
                <a:gd name="T62" fmla="*/ 2147483647 w 246"/>
                <a:gd name="T63" fmla="*/ 2147483647 h 42"/>
                <a:gd name="T64" fmla="*/ 2147483647 w 246"/>
                <a:gd name="T65" fmla="*/ 0 h 42"/>
                <a:gd name="T66" fmla="*/ 2147483647 w 246"/>
                <a:gd name="T67" fmla="*/ 2147483647 h 42"/>
                <a:gd name="T68" fmla="*/ 2147483647 w 246"/>
                <a:gd name="T69" fmla="*/ 2147483647 h 42"/>
                <a:gd name="T70" fmla="*/ 2147483647 w 246"/>
                <a:gd name="T71" fmla="*/ 2147483647 h 42"/>
                <a:gd name="T72" fmla="*/ 2147483647 w 246"/>
                <a:gd name="T73" fmla="*/ 2147483647 h 42"/>
                <a:gd name="T74" fmla="*/ 2147483647 w 246"/>
                <a:gd name="T75" fmla="*/ 2147483647 h 42"/>
                <a:gd name="T76" fmla="*/ 2147483647 w 246"/>
                <a:gd name="T77" fmla="*/ 2147483647 h 42"/>
                <a:gd name="T78" fmla="*/ 2147483647 w 246"/>
                <a:gd name="T79" fmla="*/ 2147483647 h 42"/>
                <a:gd name="T80" fmla="*/ 2147483647 w 246"/>
                <a:gd name="T81" fmla="*/ 2147483647 h 42"/>
                <a:gd name="T82" fmla="*/ 2147483647 w 246"/>
                <a:gd name="T83" fmla="*/ 2147483647 h 42"/>
                <a:gd name="T84" fmla="*/ 2147483647 w 246"/>
                <a:gd name="T85" fmla="*/ 2147483647 h 42"/>
                <a:gd name="T86" fmla="*/ 2147483647 w 246"/>
                <a:gd name="T87" fmla="*/ 2147483647 h 42"/>
                <a:gd name="T88" fmla="*/ 2147483647 w 246"/>
                <a:gd name="T89" fmla="*/ 2147483647 h 42"/>
                <a:gd name="T90" fmla="*/ 2147483647 w 246"/>
                <a:gd name="T91" fmla="*/ 2147483647 h 42"/>
                <a:gd name="T92" fmla="*/ 0 w 246"/>
                <a:gd name="T93" fmla="*/ 2147483647 h 42"/>
                <a:gd name="T94" fmla="*/ 2147483647 w 246"/>
                <a:gd name="T95" fmla="*/ 2147483647 h 42"/>
                <a:gd name="T96" fmla="*/ 2147483647 w 246"/>
                <a:gd name="T97" fmla="*/ 2147483647 h 42"/>
                <a:gd name="T98" fmla="*/ 2147483647 w 246"/>
                <a:gd name="T99" fmla="*/ 2147483647 h 42"/>
                <a:gd name="T100" fmla="*/ 2147483647 w 246"/>
                <a:gd name="T101" fmla="*/ 2147483647 h 42"/>
                <a:gd name="T102" fmla="*/ 2147483647 w 246"/>
                <a:gd name="T103" fmla="*/ 2147483647 h 42"/>
                <a:gd name="T104" fmla="*/ 2147483647 w 246"/>
                <a:gd name="T105" fmla="*/ 2147483647 h 4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46" h="42">
                  <a:moveTo>
                    <a:pt x="27" y="36"/>
                  </a:moveTo>
                  <a:lnTo>
                    <a:pt x="36" y="36"/>
                  </a:lnTo>
                  <a:lnTo>
                    <a:pt x="45" y="35"/>
                  </a:lnTo>
                  <a:lnTo>
                    <a:pt x="53" y="33"/>
                  </a:lnTo>
                  <a:lnTo>
                    <a:pt x="59" y="31"/>
                  </a:lnTo>
                  <a:lnTo>
                    <a:pt x="66" y="30"/>
                  </a:lnTo>
                  <a:lnTo>
                    <a:pt x="72" y="29"/>
                  </a:lnTo>
                  <a:lnTo>
                    <a:pt x="80" y="29"/>
                  </a:lnTo>
                  <a:lnTo>
                    <a:pt x="87" y="30"/>
                  </a:lnTo>
                  <a:lnTo>
                    <a:pt x="87" y="42"/>
                  </a:lnTo>
                  <a:lnTo>
                    <a:pt x="154" y="42"/>
                  </a:lnTo>
                  <a:lnTo>
                    <a:pt x="154" y="39"/>
                  </a:lnTo>
                  <a:lnTo>
                    <a:pt x="156" y="36"/>
                  </a:lnTo>
                  <a:lnTo>
                    <a:pt x="159" y="33"/>
                  </a:lnTo>
                  <a:lnTo>
                    <a:pt x="163" y="31"/>
                  </a:lnTo>
                  <a:lnTo>
                    <a:pt x="175" y="26"/>
                  </a:lnTo>
                  <a:lnTo>
                    <a:pt x="190" y="23"/>
                  </a:lnTo>
                  <a:lnTo>
                    <a:pt x="221" y="17"/>
                  </a:lnTo>
                  <a:lnTo>
                    <a:pt x="246" y="12"/>
                  </a:lnTo>
                  <a:lnTo>
                    <a:pt x="212" y="13"/>
                  </a:lnTo>
                  <a:lnTo>
                    <a:pt x="186" y="14"/>
                  </a:lnTo>
                  <a:lnTo>
                    <a:pt x="178" y="15"/>
                  </a:lnTo>
                  <a:lnTo>
                    <a:pt x="171" y="15"/>
                  </a:lnTo>
                  <a:lnTo>
                    <a:pt x="168" y="14"/>
                  </a:lnTo>
                  <a:lnTo>
                    <a:pt x="167" y="12"/>
                  </a:lnTo>
                  <a:lnTo>
                    <a:pt x="159" y="16"/>
                  </a:lnTo>
                  <a:lnTo>
                    <a:pt x="152" y="17"/>
                  </a:lnTo>
                  <a:lnTo>
                    <a:pt x="147" y="17"/>
                  </a:lnTo>
                  <a:lnTo>
                    <a:pt x="141" y="15"/>
                  </a:lnTo>
                  <a:lnTo>
                    <a:pt x="137" y="12"/>
                  </a:lnTo>
                  <a:lnTo>
                    <a:pt x="133" y="9"/>
                  </a:lnTo>
                  <a:lnTo>
                    <a:pt x="129" y="5"/>
                  </a:lnTo>
                  <a:lnTo>
                    <a:pt x="126" y="0"/>
                  </a:lnTo>
                  <a:lnTo>
                    <a:pt x="121" y="2"/>
                  </a:lnTo>
                  <a:lnTo>
                    <a:pt x="113" y="4"/>
                  </a:lnTo>
                  <a:lnTo>
                    <a:pt x="103" y="5"/>
                  </a:lnTo>
                  <a:lnTo>
                    <a:pt x="93" y="5"/>
                  </a:lnTo>
                  <a:lnTo>
                    <a:pt x="74" y="6"/>
                  </a:lnTo>
                  <a:lnTo>
                    <a:pt x="60" y="6"/>
                  </a:lnTo>
                  <a:lnTo>
                    <a:pt x="58" y="9"/>
                  </a:lnTo>
                  <a:lnTo>
                    <a:pt x="56" y="12"/>
                  </a:lnTo>
                  <a:lnTo>
                    <a:pt x="54" y="15"/>
                  </a:lnTo>
                  <a:lnTo>
                    <a:pt x="50" y="17"/>
                  </a:lnTo>
                  <a:lnTo>
                    <a:pt x="42" y="20"/>
                  </a:lnTo>
                  <a:lnTo>
                    <a:pt x="33" y="22"/>
                  </a:lnTo>
                  <a:lnTo>
                    <a:pt x="14" y="24"/>
                  </a:lnTo>
                  <a:lnTo>
                    <a:pt x="0" y="24"/>
                  </a:lnTo>
                  <a:lnTo>
                    <a:pt x="1" y="27"/>
                  </a:lnTo>
                  <a:lnTo>
                    <a:pt x="3" y="29"/>
                  </a:lnTo>
                  <a:lnTo>
                    <a:pt x="5" y="31"/>
                  </a:lnTo>
                  <a:lnTo>
                    <a:pt x="9" y="33"/>
                  </a:lnTo>
                  <a:lnTo>
                    <a:pt x="17" y="35"/>
                  </a:lnTo>
                  <a:lnTo>
                    <a:pt x="27" y="36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95" name="Freeform 549"/>
            <p:cNvSpPr>
              <a:spLocks/>
            </p:cNvSpPr>
            <p:nvPr>
              <p:custDataLst>
                <p:tags r:id="rId380"/>
              </p:custDataLst>
            </p:nvPr>
          </p:nvSpPr>
          <p:spPr bwMode="auto">
            <a:xfrm>
              <a:off x="7163432" y="2100702"/>
              <a:ext cx="63500" cy="57150"/>
            </a:xfrm>
            <a:custGeom>
              <a:avLst/>
              <a:gdLst>
                <a:gd name="T0" fmla="*/ 2147483647 w 149"/>
                <a:gd name="T1" fmla="*/ 0 h 61"/>
                <a:gd name="T2" fmla="*/ 2147483647 w 149"/>
                <a:gd name="T3" fmla="*/ 2147483647 h 61"/>
                <a:gd name="T4" fmla="*/ 2147483647 w 149"/>
                <a:gd name="T5" fmla="*/ 2147483647 h 61"/>
                <a:gd name="T6" fmla="*/ 2147483647 w 149"/>
                <a:gd name="T7" fmla="*/ 2147483647 h 61"/>
                <a:gd name="T8" fmla="*/ 2147483647 w 149"/>
                <a:gd name="T9" fmla="*/ 2147483647 h 61"/>
                <a:gd name="T10" fmla="*/ 2147483647 w 149"/>
                <a:gd name="T11" fmla="*/ 2147483647 h 61"/>
                <a:gd name="T12" fmla="*/ 2147483647 w 149"/>
                <a:gd name="T13" fmla="*/ 2147483647 h 61"/>
                <a:gd name="T14" fmla="*/ 2147483647 w 149"/>
                <a:gd name="T15" fmla="*/ 2147483647 h 61"/>
                <a:gd name="T16" fmla="*/ 2147483647 w 149"/>
                <a:gd name="T17" fmla="*/ 2147483647 h 61"/>
                <a:gd name="T18" fmla="*/ 2147483647 w 149"/>
                <a:gd name="T19" fmla="*/ 2147483647 h 61"/>
                <a:gd name="T20" fmla="*/ 2147483647 w 149"/>
                <a:gd name="T21" fmla="*/ 2147483647 h 61"/>
                <a:gd name="T22" fmla="*/ 2147483647 w 149"/>
                <a:gd name="T23" fmla="*/ 2147483647 h 61"/>
                <a:gd name="T24" fmla="*/ 2147483647 w 149"/>
                <a:gd name="T25" fmla="*/ 2147483647 h 61"/>
                <a:gd name="T26" fmla="*/ 2147483647 w 149"/>
                <a:gd name="T27" fmla="*/ 2147483647 h 61"/>
                <a:gd name="T28" fmla="*/ 2147483647 w 149"/>
                <a:gd name="T29" fmla="*/ 2147483647 h 61"/>
                <a:gd name="T30" fmla="*/ 2147483647 w 149"/>
                <a:gd name="T31" fmla="*/ 2147483647 h 61"/>
                <a:gd name="T32" fmla="*/ 2147483647 w 149"/>
                <a:gd name="T33" fmla="*/ 2147483647 h 61"/>
                <a:gd name="T34" fmla="*/ 2147483647 w 149"/>
                <a:gd name="T35" fmla="*/ 2147483647 h 61"/>
                <a:gd name="T36" fmla="*/ 2147483647 w 149"/>
                <a:gd name="T37" fmla="*/ 2147483647 h 61"/>
                <a:gd name="T38" fmla="*/ 2147483647 w 149"/>
                <a:gd name="T39" fmla="*/ 2147483647 h 61"/>
                <a:gd name="T40" fmla="*/ 2147483647 w 149"/>
                <a:gd name="T41" fmla="*/ 2147483647 h 61"/>
                <a:gd name="T42" fmla="*/ 2147483647 w 149"/>
                <a:gd name="T43" fmla="*/ 2147483647 h 61"/>
                <a:gd name="T44" fmla="*/ 2147483647 w 149"/>
                <a:gd name="T45" fmla="*/ 2147483647 h 61"/>
                <a:gd name="T46" fmla="*/ 2147483647 w 149"/>
                <a:gd name="T47" fmla="*/ 2147483647 h 61"/>
                <a:gd name="T48" fmla="*/ 2147483647 w 149"/>
                <a:gd name="T49" fmla="*/ 2147483647 h 61"/>
                <a:gd name="T50" fmla="*/ 2147483647 w 149"/>
                <a:gd name="T51" fmla="*/ 2147483647 h 61"/>
                <a:gd name="T52" fmla="*/ 2147483647 w 149"/>
                <a:gd name="T53" fmla="*/ 2147483647 h 61"/>
                <a:gd name="T54" fmla="*/ 2147483647 w 149"/>
                <a:gd name="T55" fmla="*/ 2147483647 h 61"/>
                <a:gd name="T56" fmla="*/ 2147483647 w 149"/>
                <a:gd name="T57" fmla="*/ 2147483647 h 61"/>
                <a:gd name="T58" fmla="*/ 2147483647 w 149"/>
                <a:gd name="T59" fmla="*/ 2147483647 h 61"/>
                <a:gd name="T60" fmla="*/ 2147483647 w 149"/>
                <a:gd name="T61" fmla="*/ 2147483647 h 61"/>
                <a:gd name="T62" fmla="*/ 2147483647 w 149"/>
                <a:gd name="T63" fmla="*/ 2147483647 h 61"/>
                <a:gd name="T64" fmla="*/ 0 w 149"/>
                <a:gd name="T65" fmla="*/ 2147483647 h 61"/>
                <a:gd name="T66" fmla="*/ 0 w 149"/>
                <a:gd name="T67" fmla="*/ 2147483647 h 61"/>
                <a:gd name="T68" fmla="*/ 2147483647 w 149"/>
                <a:gd name="T69" fmla="*/ 2147483647 h 61"/>
                <a:gd name="T70" fmla="*/ 2147483647 w 149"/>
                <a:gd name="T71" fmla="*/ 2147483647 h 61"/>
                <a:gd name="T72" fmla="*/ 2147483647 w 149"/>
                <a:gd name="T73" fmla="*/ 2147483647 h 61"/>
                <a:gd name="T74" fmla="*/ 2147483647 w 149"/>
                <a:gd name="T75" fmla="*/ 2147483647 h 61"/>
                <a:gd name="T76" fmla="*/ 2147483647 w 149"/>
                <a:gd name="T77" fmla="*/ 2147483647 h 61"/>
                <a:gd name="T78" fmla="*/ 2147483647 w 149"/>
                <a:gd name="T79" fmla="*/ 2147483647 h 61"/>
                <a:gd name="T80" fmla="*/ 2147483647 w 149"/>
                <a:gd name="T81" fmla="*/ 2147483647 h 61"/>
                <a:gd name="T82" fmla="*/ 2147483647 w 149"/>
                <a:gd name="T83" fmla="*/ 2147483647 h 61"/>
                <a:gd name="T84" fmla="*/ 2147483647 w 149"/>
                <a:gd name="T85" fmla="*/ 0 h 6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49" h="61">
                  <a:moveTo>
                    <a:pt x="103" y="0"/>
                  </a:moveTo>
                  <a:lnTo>
                    <a:pt x="118" y="1"/>
                  </a:lnTo>
                  <a:lnTo>
                    <a:pt x="134" y="3"/>
                  </a:lnTo>
                  <a:lnTo>
                    <a:pt x="145" y="5"/>
                  </a:lnTo>
                  <a:lnTo>
                    <a:pt x="149" y="6"/>
                  </a:lnTo>
                  <a:lnTo>
                    <a:pt x="149" y="8"/>
                  </a:lnTo>
                  <a:lnTo>
                    <a:pt x="147" y="10"/>
                  </a:lnTo>
                  <a:lnTo>
                    <a:pt x="145" y="12"/>
                  </a:lnTo>
                  <a:lnTo>
                    <a:pt x="141" y="13"/>
                  </a:lnTo>
                  <a:lnTo>
                    <a:pt x="137" y="14"/>
                  </a:lnTo>
                  <a:lnTo>
                    <a:pt x="132" y="14"/>
                  </a:lnTo>
                  <a:lnTo>
                    <a:pt x="127" y="14"/>
                  </a:lnTo>
                  <a:lnTo>
                    <a:pt x="123" y="12"/>
                  </a:lnTo>
                  <a:lnTo>
                    <a:pt x="123" y="23"/>
                  </a:lnTo>
                  <a:lnTo>
                    <a:pt x="123" y="33"/>
                  </a:lnTo>
                  <a:lnTo>
                    <a:pt x="123" y="41"/>
                  </a:lnTo>
                  <a:lnTo>
                    <a:pt x="123" y="49"/>
                  </a:lnTo>
                  <a:lnTo>
                    <a:pt x="116" y="50"/>
                  </a:lnTo>
                  <a:lnTo>
                    <a:pt x="109" y="51"/>
                  </a:lnTo>
                  <a:lnTo>
                    <a:pt x="104" y="53"/>
                  </a:lnTo>
                  <a:lnTo>
                    <a:pt x="100" y="55"/>
                  </a:lnTo>
                  <a:lnTo>
                    <a:pt x="94" y="57"/>
                  </a:lnTo>
                  <a:lnTo>
                    <a:pt x="89" y="59"/>
                  </a:lnTo>
                  <a:lnTo>
                    <a:pt x="83" y="61"/>
                  </a:lnTo>
                  <a:lnTo>
                    <a:pt x="76" y="61"/>
                  </a:lnTo>
                  <a:lnTo>
                    <a:pt x="67" y="60"/>
                  </a:lnTo>
                  <a:lnTo>
                    <a:pt x="53" y="57"/>
                  </a:lnTo>
                  <a:lnTo>
                    <a:pt x="39" y="54"/>
                  </a:lnTo>
                  <a:lnTo>
                    <a:pt x="25" y="49"/>
                  </a:lnTo>
                  <a:lnTo>
                    <a:pt x="12" y="45"/>
                  </a:lnTo>
                  <a:lnTo>
                    <a:pt x="3" y="41"/>
                  </a:lnTo>
                  <a:lnTo>
                    <a:pt x="1" y="39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3" y="37"/>
                  </a:lnTo>
                  <a:lnTo>
                    <a:pt x="19" y="36"/>
                  </a:lnTo>
                  <a:lnTo>
                    <a:pt x="35" y="35"/>
                  </a:lnTo>
                  <a:lnTo>
                    <a:pt x="48" y="32"/>
                  </a:lnTo>
                  <a:lnTo>
                    <a:pt x="60" y="27"/>
                  </a:lnTo>
                  <a:lnTo>
                    <a:pt x="72" y="22"/>
                  </a:lnTo>
                  <a:lnTo>
                    <a:pt x="82" y="16"/>
                  </a:lnTo>
                  <a:lnTo>
                    <a:pt x="93" y="8"/>
                  </a:lnTo>
                  <a:lnTo>
                    <a:pt x="103" y="0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  <p:sp>
          <p:nvSpPr>
            <p:cNvPr id="25996" name="Freeform 550"/>
            <p:cNvSpPr>
              <a:spLocks/>
            </p:cNvSpPr>
            <p:nvPr>
              <p:custDataLst>
                <p:tags r:id="rId381"/>
              </p:custDataLst>
            </p:nvPr>
          </p:nvSpPr>
          <p:spPr bwMode="auto">
            <a:xfrm>
              <a:off x="7199944" y="2108639"/>
              <a:ext cx="130175" cy="57150"/>
            </a:xfrm>
            <a:custGeom>
              <a:avLst/>
              <a:gdLst>
                <a:gd name="T0" fmla="*/ 2147483647 w 299"/>
                <a:gd name="T1" fmla="*/ 2147483647 h 74"/>
                <a:gd name="T2" fmla="*/ 2147483647 w 299"/>
                <a:gd name="T3" fmla="*/ 2147483647 h 74"/>
                <a:gd name="T4" fmla="*/ 2147483647 w 299"/>
                <a:gd name="T5" fmla="*/ 2147483647 h 74"/>
                <a:gd name="T6" fmla="*/ 2147483647 w 299"/>
                <a:gd name="T7" fmla="*/ 2147483647 h 74"/>
                <a:gd name="T8" fmla="*/ 2147483647 w 299"/>
                <a:gd name="T9" fmla="*/ 2147483647 h 74"/>
                <a:gd name="T10" fmla="*/ 2147483647 w 299"/>
                <a:gd name="T11" fmla="*/ 2147483647 h 74"/>
                <a:gd name="T12" fmla="*/ 2147483647 w 299"/>
                <a:gd name="T13" fmla="*/ 2147483647 h 74"/>
                <a:gd name="T14" fmla="*/ 2147483647 w 299"/>
                <a:gd name="T15" fmla="*/ 2147483647 h 74"/>
                <a:gd name="T16" fmla="*/ 2147483647 w 299"/>
                <a:gd name="T17" fmla="*/ 2147483647 h 74"/>
                <a:gd name="T18" fmla="*/ 2147483647 w 299"/>
                <a:gd name="T19" fmla="*/ 2147483647 h 74"/>
                <a:gd name="T20" fmla="*/ 2147483647 w 299"/>
                <a:gd name="T21" fmla="*/ 2147483647 h 74"/>
                <a:gd name="T22" fmla="*/ 2147483647 w 299"/>
                <a:gd name="T23" fmla="*/ 2147483647 h 74"/>
                <a:gd name="T24" fmla="*/ 2147483647 w 299"/>
                <a:gd name="T25" fmla="*/ 2147483647 h 74"/>
                <a:gd name="T26" fmla="*/ 2147483647 w 299"/>
                <a:gd name="T27" fmla="*/ 2147483647 h 74"/>
                <a:gd name="T28" fmla="*/ 2147483647 w 299"/>
                <a:gd name="T29" fmla="*/ 2147483647 h 74"/>
                <a:gd name="T30" fmla="*/ 2147483647 w 299"/>
                <a:gd name="T31" fmla="*/ 2147483647 h 74"/>
                <a:gd name="T32" fmla="*/ 2147483647 w 299"/>
                <a:gd name="T33" fmla="*/ 2147483647 h 74"/>
                <a:gd name="T34" fmla="*/ 2147483647 w 299"/>
                <a:gd name="T35" fmla="*/ 2147483647 h 74"/>
                <a:gd name="T36" fmla="*/ 2147483647 w 299"/>
                <a:gd name="T37" fmla="*/ 2147483647 h 74"/>
                <a:gd name="T38" fmla="*/ 2147483647 w 299"/>
                <a:gd name="T39" fmla="*/ 2147483647 h 74"/>
                <a:gd name="T40" fmla="*/ 2147483647 w 299"/>
                <a:gd name="T41" fmla="*/ 2147483647 h 74"/>
                <a:gd name="T42" fmla="*/ 2147483647 w 299"/>
                <a:gd name="T43" fmla="*/ 2147483647 h 74"/>
                <a:gd name="T44" fmla="*/ 2147483647 w 299"/>
                <a:gd name="T45" fmla="*/ 0 h 74"/>
                <a:gd name="T46" fmla="*/ 2147483647 w 299"/>
                <a:gd name="T47" fmla="*/ 2147483647 h 74"/>
                <a:gd name="T48" fmla="*/ 2147483647 w 299"/>
                <a:gd name="T49" fmla="*/ 2147483647 h 74"/>
                <a:gd name="T50" fmla="*/ 2147483647 w 299"/>
                <a:gd name="T51" fmla="*/ 2147483647 h 74"/>
                <a:gd name="T52" fmla="*/ 2147483647 w 299"/>
                <a:gd name="T53" fmla="*/ 2147483647 h 74"/>
                <a:gd name="T54" fmla="*/ 2147483647 w 299"/>
                <a:gd name="T55" fmla="*/ 2147483647 h 74"/>
                <a:gd name="T56" fmla="*/ 2147483647 w 299"/>
                <a:gd name="T57" fmla="*/ 2147483647 h 74"/>
                <a:gd name="T58" fmla="*/ 2147483647 w 299"/>
                <a:gd name="T59" fmla="*/ 2147483647 h 74"/>
                <a:gd name="T60" fmla="*/ 2147483647 w 299"/>
                <a:gd name="T61" fmla="*/ 2147483647 h 74"/>
                <a:gd name="T62" fmla="*/ 2147483647 w 299"/>
                <a:gd name="T63" fmla="*/ 2147483647 h 74"/>
                <a:gd name="T64" fmla="*/ 2147483647 w 299"/>
                <a:gd name="T65" fmla="*/ 2147483647 h 74"/>
                <a:gd name="T66" fmla="*/ 2147483647 w 299"/>
                <a:gd name="T67" fmla="*/ 2147483647 h 74"/>
                <a:gd name="T68" fmla="*/ 2147483647 w 299"/>
                <a:gd name="T69" fmla="*/ 2147483647 h 7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299" h="74">
                  <a:moveTo>
                    <a:pt x="126" y="74"/>
                  </a:moveTo>
                  <a:lnTo>
                    <a:pt x="133" y="72"/>
                  </a:lnTo>
                  <a:lnTo>
                    <a:pt x="142" y="69"/>
                  </a:lnTo>
                  <a:lnTo>
                    <a:pt x="154" y="65"/>
                  </a:lnTo>
                  <a:lnTo>
                    <a:pt x="166" y="60"/>
                  </a:lnTo>
                  <a:lnTo>
                    <a:pt x="178" y="54"/>
                  </a:lnTo>
                  <a:lnTo>
                    <a:pt x="189" y="48"/>
                  </a:lnTo>
                  <a:lnTo>
                    <a:pt x="199" y="42"/>
                  </a:lnTo>
                  <a:lnTo>
                    <a:pt x="205" y="37"/>
                  </a:lnTo>
                  <a:lnTo>
                    <a:pt x="207" y="40"/>
                  </a:lnTo>
                  <a:lnTo>
                    <a:pt x="209" y="43"/>
                  </a:lnTo>
                  <a:lnTo>
                    <a:pt x="211" y="46"/>
                  </a:lnTo>
                  <a:lnTo>
                    <a:pt x="214" y="48"/>
                  </a:lnTo>
                  <a:lnTo>
                    <a:pt x="220" y="51"/>
                  </a:lnTo>
                  <a:lnTo>
                    <a:pt x="227" y="53"/>
                  </a:lnTo>
                  <a:lnTo>
                    <a:pt x="243" y="55"/>
                  </a:lnTo>
                  <a:lnTo>
                    <a:pt x="259" y="55"/>
                  </a:lnTo>
                  <a:lnTo>
                    <a:pt x="269" y="55"/>
                  </a:lnTo>
                  <a:lnTo>
                    <a:pt x="278" y="55"/>
                  </a:lnTo>
                  <a:lnTo>
                    <a:pt x="286" y="55"/>
                  </a:lnTo>
                  <a:lnTo>
                    <a:pt x="292" y="55"/>
                  </a:lnTo>
                  <a:lnTo>
                    <a:pt x="293" y="46"/>
                  </a:lnTo>
                  <a:lnTo>
                    <a:pt x="295" y="38"/>
                  </a:lnTo>
                  <a:lnTo>
                    <a:pt x="298" y="31"/>
                  </a:lnTo>
                  <a:lnTo>
                    <a:pt x="299" y="25"/>
                  </a:lnTo>
                  <a:lnTo>
                    <a:pt x="279" y="25"/>
                  </a:lnTo>
                  <a:lnTo>
                    <a:pt x="260" y="25"/>
                  </a:lnTo>
                  <a:lnTo>
                    <a:pt x="244" y="25"/>
                  </a:lnTo>
                  <a:lnTo>
                    <a:pt x="232" y="25"/>
                  </a:lnTo>
                  <a:lnTo>
                    <a:pt x="225" y="25"/>
                  </a:lnTo>
                  <a:lnTo>
                    <a:pt x="220" y="26"/>
                  </a:lnTo>
                  <a:lnTo>
                    <a:pt x="214" y="27"/>
                  </a:lnTo>
                  <a:lnTo>
                    <a:pt x="211" y="29"/>
                  </a:lnTo>
                  <a:lnTo>
                    <a:pt x="204" y="33"/>
                  </a:lnTo>
                  <a:lnTo>
                    <a:pt x="199" y="37"/>
                  </a:lnTo>
                  <a:lnTo>
                    <a:pt x="172" y="37"/>
                  </a:lnTo>
                  <a:lnTo>
                    <a:pt x="174" y="32"/>
                  </a:lnTo>
                  <a:lnTo>
                    <a:pt x="176" y="28"/>
                  </a:lnTo>
                  <a:lnTo>
                    <a:pt x="178" y="24"/>
                  </a:lnTo>
                  <a:lnTo>
                    <a:pt x="180" y="21"/>
                  </a:lnTo>
                  <a:lnTo>
                    <a:pt x="187" y="16"/>
                  </a:lnTo>
                  <a:lnTo>
                    <a:pt x="194" y="13"/>
                  </a:lnTo>
                  <a:lnTo>
                    <a:pt x="202" y="11"/>
                  </a:lnTo>
                  <a:lnTo>
                    <a:pt x="210" y="9"/>
                  </a:lnTo>
                  <a:lnTo>
                    <a:pt x="217" y="5"/>
                  </a:lnTo>
                  <a:lnTo>
                    <a:pt x="225" y="0"/>
                  </a:lnTo>
                  <a:lnTo>
                    <a:pt x="199" y="0"/>
                  </a:lnTo>
                  <a:lnTo>
                    <a:pt x="185" y="3"/>
                  </a:lnTo>
                  <a:lnTo>
                    <a:pt x="170" y="7"/>
                  </a:lnTo>
                  <a:lnTo>
                    <a:pt x="157" y="11"/>
                  </a:lnTo>
                  <a:lnTo>
                    <a:pt x="145" y="18"/>
                  </a:lnTo>
                  <a:lnTo>
                    <a:pt x="134" y="25"/>
                  </a:lnTo>
                  <a:lnTo>
                    <a:pt x="123" y="32"/>
                  </a:lnTo>
                  <a:lnTo>
                    <a:pt x="114" y="40"/>
                  </a:lnTo>
                  <a:lnTo>
                    <a:pt x="105" y="49"/>
                  </a:lnTo>
                  <a:lnTo>
                    <a:pt x="100" y="53"/>
                  </a:lnTo>
                  <a:lnTo>
                    <a:pt x="95" y="56"/>
                  </a:lnTo>
                  <a:lnTo>
                    <a:pt x="87" y="59"/>
                  </a:lnTo>
                  <a:lnTo>
                    <a:pt x="80" y="61"/>
                  </a:lnTo>
                  <a:lnTo>
                    <a:pt x="64" y="63"/>
                  </a:lnTo>
                  <a:lnTo>
                    <a:pt x="47" y="64"/>
                  </a:lnTo>
                  <a:lnTo>
                    <a:pt x="32" y="64"/>
                  </a:lnTo>
                  <a:lnTo>
                    <a:pt x="18" y="65"/>
                  </a:lnTo>
                  <a:lnTo>
                    <a:pt x="12" y="67"/>
                  </a:lnTo>
                  <a:lnTo>
                    <a:pt x="7" y="68"/>
                  </a:lnTo>
                  <a:lnTo>
                    <a:pt x="2" y="70"/>
                  </a:lnTo>
                  <a:lnTo>
                    <a:pt x="0" y="74"/>
                  </a:lnTo>
                  <a:lnTo>
                    <a:pt x="39" y="74"/>
                  </a:lnTo>
                  <a:lnTo>
                    <a:pt x="73" y="74"/>
                  </a:lnTo>
                  <a:lnTo>
                    <a:pt x="102" y="74"/>
                  </a:lnTo>
                  <a:lnTo>
                    <a:pt x="126" y="74"/>
                  </a:lnTo>
                </a:path>
              </a:pathLst>
            </a:custGeom>
            <a:solidFill>
              <a:srgbClr val="FFFF0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es-ES"/>
            </a:p>
          </p:txBody>
        </p:sp>
      </p:grpSp>
      <p:grpSp>
        <p:nvGrpSpPr>
          <p:cNvPr id="25604" name="Agrupar 1627"/>
          <p:cNvGrpSpPr>
            <a:grpSpLocks/>
          </p:cNvGrpSpPr>
          <p:nvPr/>
        </p:nvGrpSpPr>
        <p:grpSpPr bwMode="auto">
          <a:xfrm>
            <a:off x="270490" y="5163129"/>
            <a:ext cx="2542833" cy="956914"/>
            <a:chOff x="683568" y="5508625"/>
            <a:chExt cx="2303950" cy="763969"/>
          </a:xfrm>
        </p:grpSpPr>
        <p:sp>
          <p:nvSpPr>
            <p:cNvPr id="25610" name="CuadroTexto 4"/>
            <p:cNvSpPr txBox="1">
              <a:spLocks noChangeArrowheads="1"/>
            </p:cNvSpPr>
            <p:nvPr/>
          </p:nvSpPr>
          <p:spPr bwMode="auto">
            <a:xfrm>
              <a:off x="900113" y="5508625"/>
              <a:ext cx="1356843" cy="221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s-E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Países receptores</a:t>
              </a:r>
            </a:p>
          </p:txBody>
        </p:sp>
        <p:sp>
          <p:nvSpPr>
            <p:cNvPr id="25611" name="CuadroTexto 5"/>
            <p:cNvSpPr txBox="1">
              <a:spLocks noChangeArrowheads="1"/>
            </p:cNvSpPr>
            <p:nvPr/>
          </p:nvSpPr>
          <p:spPr bwMode="auto">
            <a:xfrm>
              <a:off x="900113" y="5710161"/>
              <a:ext cx="1256626" cy="2211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s-E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Países emisores</a:t>
              </a:r>
            </a:p>
          </p:txBody>
        </p:sp>
        <p:sp>
          <p:nvSpPr>
            <p:cNvPr id="25612" name="CuadroTexto 6"/>
            <p:cNvSpPr txBox="1">
              <a:spLocks noChangeArrowheads="1"/>
            </p:cNvSpPr>
            <p:nvPr/>
          </p:nvSpPr>
          <p:spPr bwMode="auto">
            <a:xfrm>
              <a:off x="900113" y="5904016"/>
              <a:ext cx="2087405" cy="3685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s-ES" sz="1200" b="1" dirty="0">
                  <a:latin typeface="Century Gothic" panose="020B0502020202020204" pitchFamily="34" charset="0"/>
                  <a:cs typeface="Verdana" charset="0"/>
                </a:rPr>
                <a:t>Países </a:t>
              </a:r>
              <a:r>
                <a:rPr lang="es-ES" sz="1200" b="1" dirty="0">
                  <a:latin typeface="Arial" panose="020B0604020202020204" pitchFamily="34" charset="0"/>
                  <a:cs typeface="Arial" panose="020B0604020202020204" pitchFamily="34" charset="0"/>
                </a:rPr>
                <a:t>receptores</a:t>
              </a:r>
              <a:r>
                <a:rPr lang="es-ES" sz="1200" b="1" dirty="0">
                  <a:latin typeface="Century Gothic" panose="020B0502020202020204" pitchFamily="34" charset="0"/>
                  <a:cs typeface="Verdana" charset="0"/>
                </a:rPr>
                <a:t> y emisores</a:t>
              </a:r>
            </a:p>
            <a:p>
              <a:pPr eaLnBrk="1" hangingPunct="1"/>
              <a:endParaRPr lang="es-ES" sz="1200" b="1" dirty="0">
                <a:latin typeface="Century Gothic" panose="020B0502020202020204" pitchFamily="34" charset="0"/>
                <a:cs typeface="Verdana" charset="0"/>
              </a:endParaRPr>
            </a:p>
          </p:txBody>
        </p:sp>
        <p:sp>
          <p:nvSpPr>
            <p:cNvPr id="1625" name="Rectángulo 1624"/>
            <p:cNvSpPr/>
            <p:nvPr/>
          </p:nvSpPr>
          <p:spPr bwMode="auto">
            <a:xfrm>
              <a:off x="683568" y="5589720"/>
              <a:ext cx="142875" cy="144697"/>
            </a:xfrm>
            <a:prstGeom prst="rect">
              <a:avLst/>
            </a:prstGeom>
            <a:solidFill>
              <a:srgbClr val="19194D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sz="1000" b="1">
                <a:latin typeface="Century Gothic" panose="020B0502020202020204" pitchFamily="34" charset="0"/>
                <a:cs typeface="Verdana"/>
              </a:endParaRPr>
            </a:p>
          </p:txBody>
        </p:sp>
        <p:sp>
          <p:nvSpPr>
            <p:cNvPr id="1626" name="Rectángulo 1625"/>
            <p:cNvSpPr/>
            <p:nvPr/>
          </p:nvSpPr>
          <p:spPr bwMode="auto">
            <a:xfrm>
              <a:off x="683568" y="5783710"/>
              <a:ext cx="142875" cy="143108"/>
            </a:xfrm>
            <a:prstGeom prst="rect">
              <a:avLst/>
            </a:prstGeom>
            <a:solidFill>
              <a:srgbClr val="FF00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sz="1000" b="1">
                <a:latin typeface="Century Gothic" panose="020B0502020202020204" pitchFamily="34" charset="0"/>
                <a:cs typeface="Verdana"/>
              </a:endParaRPr>
            </a:p>
          </p:txBody>
        </p:sp>
        <p:sp>
          <p:nvSpPr>
            <p:cNvPr id="1627" name="Rectángulo 1626"/>
            <p:cNvSpPr/>
            <p:nvPr/>
          </p:nvSpPr>
          <p:spPr bwMode="auto">
            <a:xfrm>
              <a:off x="683568" y="5987241"/>
              <a:ext cx="142875" cy="144697"/>
            </a:xfrm>
            <a:prstGeom prst="rect">
              <a:avLst/>
            </a:prstGeom>
            <a:solidFill>
              <a:srgbClr val="FFFF0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 sz="1000" b="1">
                <a:latin typeface="Century Gothic" panose="020B0502020202020204" pitchFamily="34" charset="0"/>
                <a:cs typeface="Verdana"/>
              </a:endParaRPr>
            </a:p>
          </p:txBody>
        </p:sp>
      </p:grpSp>
      <p:sp>
        <p:nvSpPr>
          <p:cNvPr id="25606" name="Rectángulo 53"/>
          <p:cNvSpPr>
            <a:spLocks noChangeArrowheads="1"/>
          </p:cNvSpPr>
          <p:nvPr/>
        </p:nvSpPr>
        <p:spPr bwMode="auto">
          <a:xfrm>
            <a:off x="9939" y="6225848"/>
            <a:ext cx="5942439" cy="600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S_tradnl" sz="1100" dirty="0">
                <a:latin typeface="Century Gothic" panose="020B0502020202020204" pitchFamily="34" charset="0"/>
                <a:cs typeface="Verdana" charset="0"/>
              </a:rPr>
              <a:t>Fuente: </a:t>
            </a:r>
            <a:r>
              <a:rPr lang="en-AU" sz="1100" dirty="0">
                <a:latin typeface="Century Gothic" panose="020B0502020202020204" pitchFamily="34" charset="0"/>
                <a:cs typeface="Verdana" charset="0"/>
              </a:rPr>
              <a:t>John Hopkins University. The Protection Project (2012). </a:t>
            </a:r>
            <a:r>
              <a:rPr lang="en-AU" sz="1100" i="1" dirty="0">
                <a:latin typeface="Century Gothic" panose="020B0502020202020204" pitchFamily="34" charset="0"/>
                <a:cs typeface="Verdana" charset="0"/>
              </a:rPr>
              <a:t>Review on the trafficking in Persons Report</a:t>
            </a:r>
            <a:r>
              <a:rPr lang="en-AU" sz="1100" dirty="0">
                <a:latin typeface="Century Gothic" panose="020B0502020202020204" pitchFamily="34" charset="0"/>
                <a:cs typeface="Verdana" charset="0"/>
              </a:rPr>
              <a:t>. P. 34</a:t>
            </a:r>
          </a:p>
        </p:txBody>
      </p:sp>
      <p:sp>
        <p:nvSpPr>
          <p:cNvPr id="564" name="CuadroTexto 9"/>
          <p:cNvSpPr txBox="1"/>
          <p:nvPr/>
        </p:nvSpPr>
        <p:spPr>
          <a:xfrm>
            <a:off x="0" y="0"/>
            <a:ext cx="9143999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Dónde ocurre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565" name="564 Imagen"/>
          <p:cNvPicPr>
            <a:picLocks noChangeAspect="1"/>
          </p:cNvPicPr>
          <p:nvPr/>
        </p:nvPicPr>
        <p:blipFill>
          <a:blip r:embed="rId38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260" y="6012489"/>
            <a:ext cx="2877806" cy="8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90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8975" y="2582863"/>
            <a:ext cx="2328863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2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0225" y="2506663"/>
            <a:ext cx="9906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24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0" y="2582863"/>
            <a:ext cx="9906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25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988" y="4191000"/>
            <a:ext cx="2438400" cy="83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26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3475" y="4000500"/>
            <a:ext cx="1884363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27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3940175"/>
            <a:ext cx="1219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28" name="Object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4700" y="3889375"/>
            <a:ext cx="1219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29" name="Picture 8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9825" y="160338"/>
            <a:ext cx="1323975" cy="1325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130" name="Rectangle 9"/>
          <p:cNvSpPr>
            <a:spLocks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</a:pPr>
            <a:endParaRPr lang="es-ES" altLang="es-ES"/>
          </a:p>
        </p:txBody>
      </p:sp>
      <p:sp>
        <p:nvSpPr>
          <p:cNvPr id="5131" name="Rectangle 10"/>
          <p:cNvSpPr>
            <a:spLocks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</a:pPr>
            <a:endParaRPr lang="es-ES" altLang="es-ES"/>
          </a:p>
        </p:txBody>
      </p:sp>
      <p:pic>
        <p:nvPicPr>
          <p:cNvPr id="5132" name="Picture 1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288" y="5464175"/>
            <a:ext cx="838200" cy="129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33" name="Picture 1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87650" y="5857875"/>
            <a:ext cx="3143250" cy="94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5134" name="Picture 1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2239963"/>
            <a:ext cx="23622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5135" name="AutoShape 14"/>
          <p:cNvSpPr>
            <a:spLocks/>
          </p:cNvSpPr>
          <p:nvPr/>
        </p:nvSpPr>
        <p:spPr bwMode="auto">
          <a:xfrm rot="5400000">
            <a:off x="4015582" y="-2459831"/>
            <a:ext cx="966787" cy="8912225"/>
          </a:xfrm>
          <a:prstGeom prst="leftBrace">
            <a:avLst>
              <a:gd name="adj1" fmla="val 8322"/>
              <a:gd name="adj2" fmla="val 50000"/>
            </a:avLst>
          </a:prstGeom>
          <a:noFill/>
          <a:ln w="38160" cap="sq">
            <a:solidFill>
              <a:srgbClr val="FEA022"/>
            </a:solidFill>
            <a:miter lim="800000"/>
            <a:headEnd/>
            <a:tailEnd/>
          </a:ln>
          <a:effectLst>
            <a:outerShdw dist="23040" dir="5400000" algn="ctr" rotWithShape="0">
              <a:srgbClr val="808080">
                <a:alpha val="35036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pPr>
              <a:buClr>
                <a:srgbClr val="000000"/>
              </a:buClr>
              <a:buSzPct val="100000"/>
              <a:buFont typeface="Times New Roman" pitchFamily="16" charset="0"/>
              <a:buNone/>
            </a:pPr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405617630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CuadroTexto 9"/>
          <p:cNvSpPr txBox="1"/>
          <p:nvPr/>
        </p:nvSpPr>
        <p:spPr>
          <a:xfrm>
            <a:off x="0" y="0"/>
            <a:ext cx="9143999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Lo que sabemos de las víctimas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565" name="564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260" y="6012489"/>
            <a:ext cx="2877806" cy="813523"/>
          </a:xfrm>
          <a:prstGeom prst="rect">
            <a:avLst/>
          </a:prstGeom>
        </p:spPr>
      </p:pic>
      <p:pic>
        <p:nvPicPr>
          <p:cNvPr id="2" name="1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4331924"/>
            <a:ext cx="3986344" cy="2543944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47" y="833074"/>
            <a:ext cx="3279775" cy="3498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63" name="2 Marcador de contenido"/>
          <p:cNvSpPr txBox="1">
            <a:spLocks/>
          </p:cNvSpPr>
          <p:nvPr/>
        </p:nvSpPr>
        <p:spPr>
          <a:xfrm>
            <a:off x="611560" y="1052735"/>
            <a:ext cx="3024336" cy="2330648"/>
          </a:xfrm>
          <a:prstGeom prst="roundRect">
            <a:avLst>
              <a:gd name="adj" fmla="val 2761"/>
            </a:avLst>
          </a:prstGeom>
          <a:solidFill>
            <a:srgbClr val="FFFFFF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  <a:defRPr/>
            </a:pPr>
            <a:r>
              <a:rPr lang="es-E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trapados en la pobreza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defRPr/>
            </a:pPr>
            <a:r>
              <a:rPr lang="es-ES_tradnl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Grupos </a:t>
            </a:r>
            <a:r>
              <a:rPr lang="es-E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inoritarios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defRPr/>
            </a:pPr>
            <a:r>
              <a:rPr lang="es-E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iven en la calle</a:t>
            </a:r>
          </a:p>
          <a:p>
            <a:pPr>
              <a:lnSpc>
                <a:spcPct val="150000"/>
              </a:lnSpc>
              <a:spcBef>
                <a:spcPct val="0"/>
              </a:spcBef>
              <a:defRPr/>
            </a:pPr>
            <a:r>
              <a:rPr lang="es-E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Abusados o descuidados en casa</a:t>
            </a:r>
          </a:p>
          <a:p>
            <a:pPr algn="just">
              <a:lnSpc>
                <a:spcPct val="150000"/>
              </a:lnSpc>
              <a:spcBef>
                <a:spcPct val="0"/>
              </a:spcBef>
              <a:defRPr/>
            </a:pPr>
            <a:r>
              <a:rPr lang="es-E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Huérfanos del SIDA</a:t>
            </a:r>
            <a:endParaRPr lang="es-E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3995936" y="852011"/>
            <a:ext cx="4968552" cy="15297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oría de las víctimas son </a:t>
            </a:r>
            <a:r>
              <a:rPr lang="es-E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cas adolescentes</a:t>
            </a:r>
            <a:r>
              <a:rPr lang="es-E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unque  niños y niñas de ambos sexos son altamente vulnerables. LGBT también son un grupo especialmente vulnerable.</a:t>
            </a:r>
            <a:endParaRPr lang="es-ES_tradn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6" name="565 Rectángulo"/>
          <p:cNvSpPr/>
          <p:nvPr/>
        </p:nvSpPr>
        <p:spPr>
          <a:xfrm>
            <a:off x="3995936" y="2582499"/>
            <a:ext cx="4968552" cy="15297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explotación de </a:t>
            </a:r>
            <a:r>
              <a:rPr lang="es-ES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ños</a:t>
            </a:r>
            <a:r>
              <a:rPr lang="es-ES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tinúa siendo un tema tabú y muy desconocido. En estudios de varios países se ha constatado que los agresores buscan la explotación prioritaria de varones.</a:t>
            </a:r>
            <a:endParaRPr lang="es-ES_tradn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746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CuadroTexto 9"/>
          <p:cNvSpPr txBox="1"/>
          <p:nvPr/>
        </p:nvSpPr>
        <p:spPr>
          <a:xfrm>
            <a:off x="0" y="0"/>
            <a:ext cx="9143999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Lo que sabemos de los agresores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565" name="564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260" y="6012489"/>
            <a:ext cx="2877806" cy="813523"/>
          </a:xfrm>
          <a:prstGeom prst="rect">
            <a:avLst/>
          </a:prstGeom>
        </p:spPr>
      </p:pic>
      <p:pic>
        <p:nvPicPr>
          <p:cNvPr id="3" name="2 Imagen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6747" y="5013176"/>
            <a:ext cx="3074706" cy="1844824"/>
          </a:xfrm>
          <a:prstGeom prst="rect">
            <a:avLst/>
          </a:prstGeom>
        </p:spPr>
      </p:pic>
      <p:sp>
        <p:nvSpPr>
          <p:cNvPr id="8" name="Llamada de flecha a la derecha 12"/>
          <p:cNvSpPr/>
          <p:nvPr/>
        </p:nvSpPr>
        <p:spPr>
          <a:xfrm>
            <a:off x="251519" y="908720"/>
            <a:ext cx="4871061" cy="5760640"/>
          </a:xfrm>
          <a:prstGeom prst="rightArrowCallout">
            <a:avLst>
              <a:gd name="adj1" fmla="val 25000"/>
              <a:gd name="adj2" fmla="val 32841"/>
              <a:gd name="adj3" fmla="val 13517"/>
              <a:gd name="adj4" fmla="val 81757"/>
            </a:avLst>
          </a:prstGeom>
          <a:solidFill>
            <a:schemeClr val="bg1">
              <a:lumMod val="95000"/>
            </a:schemeClr>
          </a:solidFill>
          <a:ln>
            <a:solidFill>
              <a:srgbClr val="1025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9" name="Pentágono 14"/>
          <p:cNvSpPr/>
          <p:nvPr/>
        </p:nvSpPr>
        <p:spPr>
          <a:xfrm rot="5400000">
            <a:off x="1502034" y="-125771"/>
            <a:ext cx="1459409" cy="3672408"/>
          </a:xfrm>
          <a:prstGeom prst="homePlate">
            <a:avLst>
              <a:gd name="adj" fmla="val 17940"/>
            </a:avLst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10" name="Rectángulo 15"/>
          <p:cNvSpPr/>
          <p:nvPr/>
        </p:nvSpPr>
        <p:spPr>
          <a:xfrm>
            <a:off x="424314" y="1007271"/>
            <a:ext cx="364363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s-ES" sz="16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existe un perfil único </a:t>
            </a:r>
            <a:r>
              <a:rPr lang="es-ES" sz="1600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permita identificar a los turistas sexuales</a:t>
            </a:r>
          </a:p>
        </p:txBody>
      </p:sp>
      <p:sp>
        <p:nvSpPr>
          <p:cNvPr id="11" name="Rectángulo redondeado 9"/>
          <p:cNvSpPr>
            <a:spLocks noChangeArrowheads="1"/>
          </p:cNvSpPr>
          <p:nvPr/>
        </p:nvSpPr>
        <p:spPr bwMode="auto">
          <a:xfrm>
            <a:off x="467034" y="2587302"/>
            <a:ext cx="3600910" cy="3980051"/>
          </a:xfrm>
          <a:prstGeom prst="roundRect">
            <a:avLst>
              <a:gd name="adj" fmla="val 8773"/>
            </a:avLst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Pueden provenir de muchos ámbitos distintos (solteros o casados, hombres o mujeres, pertenecientes a cualquier clase socioeconómica y de cualquier edad); pueden ser extranjeros o viajeros que se desplazan dentro de su propio país. </a:t>
            </a:r>
          </a:p>
        </p:txBody>
      </p:sp>
      <p:sp>
        <p:nvSpPr>
          <p:cNvPr id="12" name="Rectángulo redondeado 16"/>
          <p:cNvSpPr/>
          <p:nvPr/>
        </p:nvSpPr>
        <p:spPr>
          <a:xfrm>
            <a:off x="5426406" y="2127238"/>
            <a:ext cx="3466074" cy="2634952"/>
          </a:xfrm>
          <a:prstGeom prst="roundRect">
            <a:avLst>
              <a:gd name="adj" fmla="val 5927"/>
            </a:avLst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13" name="CuadroTexto 18"/>
          <p:cNvSpPr txBox="1"/>
          <p:nvPr/>
        </p:nvSpPr>
        <p:spPr>
          <a:xfrm>
            <a:off x="5500862" y="2620875"/>
            <a:ext cx="3192463" cy="361474"/>
          </a:xfrm>
          <a:prstGeom prst="roundRect">
            <a:avLst>
              <a:gd name="adj" fmla="val 11494"/>
            </a:avLst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marL="285750" indent="-285750">
              <a:buFont typeface="Wingdings" charset="2"/>
              <a:buChar char="ü"/>
              <a:defRPr/>
            </a:pPr>
            <a:r>
              <a:rPr lang="es-ES" sz="1600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ista sexual ocasional</a:t>
            </a:r>
          </a:p>
        </p:txBody>
      </p:sp>
      <p:sp>
        <p:nvSpPr>
          <p:cNvPr id="14" name="CuadroTexto 2"/>
          <p:cNvSpPr txBox="1">
            <a:spLocks noChangeArrowheads="1"/>
          </p:cNvSpPr>
          <p:nvPr/>
        </p:nvSpPr>
        <p:spPr bwMode="auto">
          <a:xfrm>
            <a:off x="5516737" y="3257428"/>
            <a:ext cx="3176588" cy="37457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</a:schemeClr>
            </a:solidFill>
          </a:ln>
          <a:extLst/>
        </p:spPr>
        <p:txBody>
          <a:bodyPr wrap="square">
            <a:spAutoFit/>
          </a:bodyPr>
          <a:lstStyle>
            <a:defPPr>
              <a:defRPr lang="es-ES"/>
            </a:defPPr>
            <a:lvl1pPr>
              <a:defRPr sz="1400" b="1">
                <a:solidFill>
                  <a:srgbClr val="10253F"/>
                </a:solidFill>
                <a:latin typeface="Verdana"/>
                <a:cs typeface="Verdana"/>
              </a:defRPr>
            </a:lvl1pPr>
          </a:lstStyle>
          <a:p>
            <a:pPr marL="285750" indent="-285750">
              <a:buFont typeface="Wingdings" charset="2"/>
              <a:buChar char="ü"/>
              <a:defRPr/>
            </a:pPr>
            <a:r>
              <a:rPr lang="es-ES" sz="1600" dirty="0">
                <a:latin typeface="Arial" panose="020B0604020202020204" pitchFamily="34" charset="0"/>
                <a:cs typeface="Arial" panose="020B0604020202020204" pitchFamily="34" charset="0"/>
              </a:rPr>
              <a:t>Turista sexual preferencial</a:t>
            </a:r>
          </a:p>
        </p:txBody>
      </p:sp>
      <p:sp>
        <p:nvSpPr>
          <p:cNvPr id="15" name="CuadroTexto 19"/>
          <p:cNvSpPr txBox="1"/>
          <p:nvPr/>
        </p:nvSpPr>
        <p:spPr>
          <a:xfrm>
            <a:off x="5537728" y="3852624"/>
            <a:ext cx="3176588" cy="37457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txBody>
          <a:bodyPr>
            <a:spAutoFit/>
          </a:bodyPr>
          <a:lstStyle>
            <a:defPPr>
              <a:defRPr lang="es-ES"/>
            </a:defPPr>
            <a:lvl1pPr>
              <a:defRPr sz="1400" b="1">
                <a:solidFill>
                  <a:srgbClr val="10253F"/>
                </a:solidFill>
                <a:latin typeface="Verdana"/>
                <a:cs typeface="Verdana"/>
              </a:defRPr>
            </a:lvl1pPr>
          </a:lstStyle>
          <a:p>
            <a:pPr marL="285750" indent="-285750">
              <a:buFont typeface="Wingdings" charset="2"/>
              <a:buChar char="ü"/>
              <a:defRPr/>
            </a:pPr>
            <a:r>
              <a:rPr lang="es-E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Pedófilo</a:t>
            </a:r>
            <a:endParaRPr lang="es-E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699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CuadroTexto 9"/>
          <p:cNvSpPr txBox="1"/>
          <p:nvPr/>
        </p:nvSpPr>
        <p:spPr>
          <a:xfrm>
            <a:off x="0" y="0"/>
            <a:ext cx="9143999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Lo que sabemos de los agresores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565" name="564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6098697"/>
            <a:ext cx="2572850" cy="727315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783" y="742632"/>
            <a:ext cx="8658965" cy="532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3461614" y="1540705"/>
            <a:ext cx="2277647" cy="5760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b="1" dirty="0" smtClean="0">
                <a:latin typeface="Arial" panose="020B0604020202020204" pitchFamily="34" charset="0"/>
                <a:cs typeface="Arial" panose="020B0604020202020204" pitchFamily="34" charset="0"/>
              </a:rPr>
              <a:t>Ejemplos de agresores</a:t>
            </a:r>
            <a:r>
              <a:rPr lang="es-ES" b="1" dirty="0" smtClean="0"/>
              <a:t>:</a:t>
            </a:r>
            <a:endParaRPr lang="es-ES_tradnl" b="1" dirty="0"/>
          </a:p>
        </p:txBody>
      </p:sp>
      <p:sp>
        <p:nvSpPr>
          <p:cNvPr id="6" name="5 Rectángulo"/>
          <p:cNvSpPr/>
          <p:nvPr/>
        </p:nvSpPr>
        <p:spPr>
          <a:xfrm>
            <a:off x="3526160" y="2116769"/>
            <a:ext cx="2190506" cy="49361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s-ES" dirty="0" smtClean="0">
                <a:latin typeface="Arial" panose="020B0604020202020204" pitchFamily="34" charset="0"/>
                <a:cs typeface="Arial" panose="020B0604020202020204" pitchFamily="34" charset="0"/>
              </a:rPr>
              <a:t>Expatriados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6 Rectángulo"/>
          <p:cNvSpPr/>
          <p:nvPr/>
        </p:nvSpPr>
        <p:spPr>
          <a:xfrm>
            <a:off x="3461615" y="2585654"/>
            <a:ext cx="2277646" cy="71814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s-ES" dirty="0" smtClean="0">
                <a:latin typeface="Arial" panose="020B0604020202020204" pitchFamily="34" charset="0"/>
                <a:cs typeface="Arial" panose="020B0604020202020204" pitchFamily="34" charset="0"/>
              </a:rPr>
              <a:t>Trabajadores de negocios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7 Rectángulo"/>
          <p:cNvSpPr/>
          <p:nvPr/>
        </p:nvSpPr>
        <p:spPr>
          <a:xfrm>
            <a:off x="3531987" y="3303800"/>
            <a:ext cx="2190506" cy="5760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s-ES" dirty="0" smtClean="0">
                <a:latin typeface="Arial" panose="020B0604020202020204" pitchFamily="34" charset="0"/>
                <a:cs typeface="Arial" panose="020B0604020202020204" pitchFamily="34" charset="0"/>
              </a:rPr>
              <a:t>Trabajadores en la construcción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8 Rectángulo"/>
          <p:cNvSpPr/>
          <p:nvPr/>
        </p:nvSpPr>
        <p:spPr>
          <a:xfrm>
            <a:off x="3496072" y="3912213"/>
            <a:ext cx="2190506" cy="5760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s-ES" dirty="0" smtClean="0">
                <a:latin typeface="Arial" panose="020B0604020202020204" pitchFamily="34" charset="0"/>
                <a:cs typeface="Arial" panose="020B0604020202020204" pitchFamily="34" charset="0"/>
              </a:rPr>
              <a:t>Voluntarios</a:t>
            </a:r>
            <a:endParaRPr lang="es-ES_tradn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539552" y="4711766"/>
            <a:ext cx="6984776" cy="9494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dirty="0" smtClean="0">
              <a:solidFill>
                <a:sysClr val="windowText" lastClr="000000"/>
              </a:solidFill>
            </a:endParaRPr>
          </a:p>
          <a:p>
            <a:endParaRPr lang="es-ES" dirty="0">
              <a:solidFill>
                <a:sysClr val="windowText" lastClr="000000"/>
              </a:solidFill>
            </a:endParaRPr>
          </a:p>
          <a:p>
            <a:r>
              <a:rPr lang="es-ES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esores pueden ser turistas o trabajadores que se desplazan a un país o dentro del suyo propio. Pueden ser por tanto agresores nacionales o internacionales.</a:t>
            </a:r>
          </a:p>
          <a:p>
            <a:endParaRPr lang="es-ES" dirty="0" smtClean="0">
              <a:solidFill>
                <a:sysClr val="windowText" lastClr="000000"/>
              </a:solidFill>
            </a:endParaRPr>
          </a:p>
          <a:p>
            <a:pPr algn="ctr"/>
            <a:endParaRPr lang="es-ES_tradnl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355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a-ES" dirty="0" smtClean="0">
                <a:latin typeface="Arial" panose="020B0604020202020204" pitchFamily="34" charset="0"/>
                <a:cs typeface="Arial" panose="020B0604020202020204" pitchFamily="34" charset="0"/>
              </a:rPr>
              <a:t>Vídeo:</a:t>
            </a:r>
          </a:p>
          <a:p>
            <a:r>
              <a:rPr lang="ca-ES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://www.rtve.es/alacarta/videos/telediario/codigo-conducta-contra-turismo-sexual-abuso-menores/1586424/</a:t>
            </a:r>
            <a:endParaRPr lang="ca-E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ca-ES" dirty="0"/>
          </a:p>
        </p:txBody>
      </p:sp>
    </p:spTree>
    <p:extLst>
      <p:ext uri="{BB962C8B-B14F-4D97-AF65-F5344CB8AC3E}">
        <p14:creationId xmlns:p14="http://schemas.microsoft.com/office/powerpoint/2010/main" val="42425606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CuadroTexto 9"/>
          <p:cNvSpPr txBox="1"/>
          <p:nvPr/>
        </p:nvSpPr>
        <p:spPr>
          <a:xfrm>
            <a:off x="0" y="0"/>
            <a:ext cx="9143999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Lo que sabemos de los agresores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sp>
        <p:nvSpPr>
          <p:cNvPr id="3" name="2 Rectángulo"/>
          <p:cNvSpPr/>
          <p:nvPr/>
        </p:nvSpPr>
        <p:spPr>
          <a:xfrm>
            <a:off x="0" y="836713"/>
            <a:ext cx="9144000" cy="10801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ES" sz="2000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ES" sz="2000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ES" sz="2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 porcentaje significativo son agresores </a:t>
            </a:r>
            <a:r>
              <a:rPr lang="es-ES" sz="20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TUACIONALES</a:t>
            </a:r>
            <a:r>
              <a:rPr lang="es-ES" sz="2000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no viajan con la motivación expresa de mantener relaciones sexuales con menores de edad, pero al llegar al destino y presentarse la oportunidad llevan a cabo el abuso.</a:t>
            </a:r>
            <a:endParaRPr lang="es-ES" dirty="0" smtClean="0">
              <a:solidFill>
                <a:sysClr val="windowText" lastClr="000000"/>
              </a:solidFill>
            </a:endParaRPr>
          </a:p>
          <a:p>
            <a:pPr algn="ctr"/>
            <a:endParaRPr lang="es-ES" sz="2400" b="1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s-ES" sz="2400" b="1" dirty="0" smtClean="0">
                <a:solidFill>
                  <a:sysClr val="windowText" lastClr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s factores que contribuyen a ello:</a:t>
            </a:r>
            <a:endParaRPr lang="es-ES_tradnl" b="1" dirty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3 Diagrama"/>
          <p:cNvGraphicFramePr/>
          <p:nvPr>
            <p:extLst>
              <p:ext uri="{D42A27DB-BD31-4B8C-83A1-F6EECF244321}">
                <p14:modId xmlns:p14="http://schemas.microsoft.com/office/powerpoint/2010/main" val="3538506274"/>
              </p:ext>
            </p:extLst>
          </p:nvPr>
        </p:nvGraphicFramePr>
        <p:xfrm>
          <a:off x="179512" y="2636912"/>
          <a:ext cx="8909554" cy="3816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75670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4" name="CuadroTexto 9"/>
          <p:cNvSpPr txBox="1"/>
          <p:nvPr/>
        </p:nvSpPr>
        <p:spPr>
          <a:xfrm>
            <a:off x="0" y="0"/>
            <a:ext cx="9143999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Todos estamos implicados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565" name="564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260" y="6012489"/>
            <a:ext cx="2877806" cy="813523"/>
          </a:xfrm>
          <a:prstGeom prst="rect">
            <a:avLst/>
          </a:prstGeom>
        </p:spPr>
      </p:pic>
      <p:sp>
        <p:nvSpPr>
          <p:cNvPr id="16" name="CuadroTexto 9"/>
          <p:cNvSpPr txBox="1"/>
          <p:nvPr/>
        </p:nvSpPr>
        <p:spPr>
          <a:xfrm>
            <a:off x="124742" y="875331"/>
            <a:ext cx="8894513" cy="2247424"/>
          </a:xfrm>
          <a:prstGeom prst="round2DiagRect">
            <a:avLst/>
          </a:prstGeom>
          <a:solidFill>
            <a:srgbClr val="F2F2F2"/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indent="-571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A6A4F"/>
              </a:buClr>
              <a:defRPr/>
            </a:pPr>
            <a:r>
              <a:rPr lang="es-ES" sz="1600" b="1" u="sng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turismo </a:t>
            </a:r>
            <a:r>
              <a:rPr lang="es-ES" b="1" u="sng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  <a:r>
              <a:rPr lang="es-ES" sz="1600" b="1" u="sng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s la causa  </a:t>
            </a:r>
            <a:r>
              <a:rPr lang="es-ES" sz="1600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o </a:t>
            </a:r>
            <a:r>
              <a:rPr lang="es-ES_tradnl" sz="1600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s </a:t>
            </a:r>
            <a:r>
              <a:rPr lang="es-ES_tradnl" sz="1600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esores sexuales usan los canales y servicios de la industria </a:t>
            </a:r>
            <a:r>
              <a:rPr lang="es-ES_tradnl" sz="1600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ística para </a:t>
            </a:r>
            <a:r>
              <a:rPr lang="es-ES_tradnl" sz="1600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ter sus </a:t>
            </a:r>
            <a:r>
              <a:rPr lang="es-ES_tradnl" sz="1600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ímenes.</a:t>
            </a:r>
          </a:p>
          <a:p>
            <a:pPr indent="-571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A6A4F"/>
              </a:buClr>
              <a:defRPr/>
            </a:pPr>
            <a:r>
              <a:rPr lang="es-ES" sz="1600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 requiere la implicación de todos los agentes implicados en los viajes y el turismo así como otros profesionales de atención directa que pudieran detectar o identificar posibles víctimas: </a:t>
            </a: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CSE, trabajadores sociales, médicos, etc.</a:t>
            </a:r>
            <a:endParaRPr lang="es-ES" b="1" dirty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ángulo redondeado 12"/>
          <p:cNvSpPr/>
          <p:nvPr/>
        </p:nvSpPr>
        <p:spPr>
          <a:xfrm>
            <a:off x="124740" y="3845896"/>
            <a:ext cx="4753093" cy="2573354"/>
          </a:xfrm>
          <a:prstGeom prst="roundRect">
            <a:avLst>
              <a:gd name="adj" fmla="val 5636"/>
            </a:avLst>
          </a:prstGeom>
          <a:solidFill>
            <a:schemeClr val="tx2">
              <a:lumMod val="50000"/>
            </a:schemeClr>
          </a:solidFill>
          <a:ln w="28575" cmpd="sng">
            <a:solidFill>
              <a:schemeClr val="tx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>
              <a:solidFill>
                <a:srgbClr val="FFFFFF"/>
              </a:solidFill>
            </a:endParaRPr>
          </a:p>
        </p:txBody>
      </p:sp>
      <p:sp>
        <p:nvSpPr>
          <p:cNvPr id="18" name="CuadroTexto 20"/>
          <p:cNvSpPr txBox="1">
            <a:spLocks noChangeArrowheads="1"/>
          </p:cNvSpPr>
          <p:nvPr/>
        </p:nvSpPr>
        <p:spPr bwMode="auto">
          <a:xfrm>
            <a:off x="368149" y="3913529"/>
            <a:ext cx="4159540" cy="2354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>
              <a:lnSpc>
                <a:spcPct val="150000"/>
              </a:lnSpc>
              <a:buFont typeface="Arial" charset="0"/>
              <a:buChar char="•"/>
            </a:pPr>
            <a:r>
              <a:rPr lang="es-ES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ención del fenómeno, </a:t>
            </a:r>
          </a:p>
          <a:p>
            <a:pPr algn="just" eaLnBrk="1" hangingPunct="1">
              <a:lnSpc>
                <a:spcPct val="150000"/>
              </a:lnSpc>
              <a:buFont typeface="Arial" charset="0"/>
              <a:buChar char="•"/>
            </a:pPr>
            <a:r>
              <a:rPr lang="es-ES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ersecución de los agresores, </a:t>
            </a:r>
          </a:p>
          <a:p>
            <a:pPr algn="just" eaLnBrk="1" hangingPunct="1">
              <a:lnSpc>
                <a:spcPct val="150000"/>
              </a:lnSpc>
              <a:buFont typeface="Arial" charset="0"/>
              <a:buChar char="•"/>
            </a:pPr>
            <a:r>
              <a:rPr lang="es-ES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rotección de las víctimas, </a:t>
            </a:r>
          </a:p>
          <a:p>
            <a:pPr algn="just" eaLnBrk="1" hangingPunct="1">
              <a:lnSpc>
                <a:spcPct val="150000"/>
              </a:lnSpc>
              <a:buFont typeface="Arial" charset="0"/>
              <a:buChar char="•"/>
            </a:pPr>
            <a:r>
              <a:rPr lang="es-ES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desarrollo de políticas </a:t>
            </a:r>
            <a:r>
              <a:rPr lang="es-ES" sz="14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cionales e internacionales adecuadas</a:t>
            </a:r>
            <a:endParaRPr lang="es-ES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eaLnBrk="1" hangingPunct="1">
              <a:lnSpc>
                <a:spcPct val="150000"/>
              </a:lnSpc>
              <a:buFont typeface="Arial" charset="0"/>
              <a:buChar char="•"/>
            </a:pPr>
            <a:r>
              <a:rPr lang="es-ES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cooperación internacional</a:t>
            </a:r>
          </a:p>
          <a:p>
            <a:pPr algn="just" eaLnBrk="1" hangingPunct="1">
              <a:lnSpc>
                <a:spcPct val="150000"/>
              </a:lnSpc>
              <a:buFont typeface="Arial" charset="0"/>
              <a:buChar char="•"/>
            </a:pPr>
            <a:r>
              <a:rPr lang="es-ES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mplicación de  agentes públicos y privados.</a:t>
            </a:r>
            <a:r>
              <a:rPr lang="es-ES_tradnl" sz="1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ES" sz="1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5"/>
          <p:cNvSpPr txBox="1">
            <a:spLocks noChangeArrowheads="1"/>
          </p:cNvSpPr>
          <p:nvPr/>
        </p:nvSpPr>
        <p:spPr bwMode="auto">
          <a:xfrm>
            <a:off x="899592" y="3356992"/>
            <a:ext cx="321113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Medidas prioritarias:</a:t>
            </a:r>
          </a:p>
        </p:txBody>
      </p:sp>
      <p:sp>
        <p:nvSpPr>
          <p:cNvPr id="20" name="CuadroTexto 4"/>
          <p:cNvSpPr txBox="1">
            <a:spLocks noChangeArrowheads="1"/>
          </p:cNvSpPr>
          <p:nvPr/>
        </p:nvSpPr>
        <p:spPr bwMode="auto">
          <a:xfrm>
            <a:off x="4877833" y="4167187"/>
            <a:ext cx="4141421" cy="15240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>
              <a:lnSpc>
                <a:spcPct val="150000"/>
              </a:lnSpc>
            </a:pPr>
            <a:r>
              <a:rPr lang="es-ES" sz="1600" b="1" dirty="0">
                <a:latin typeface="Arial" panose="020B0604020202020204" pitchFamily="34" charset="0"/>
                <a:cs typeface="Arial" panose="020B0604020202020204" pitchFamily="34" charset="0"/>
              </a:rPr>
              <a:t>“Pese a los esfuerzos invertidos en materia de sensibilización social, los casos de turismo sexual infantil se han incrementado de forma alarmante”.</a:t>
            </a:r>
            <a:r>
              <a:rPr lang="es-ES_tradnl" sz="16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E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560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1371600"/>
            <a:ext cx="9144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>
              <a:lnSpc>
                <a:spcPct val="150000"/>
              </a:lnSpc>
            </a:pPr>
            <a:r>
              <a:rPr lang="es-ES_tradnl" altLang="es-ES" sz="1400">
                <a:solidFill>
                  <a:srgbClr val="333399"/>
                </a:solidFill>
              </a:rPr>
              <a:t>	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8" name="7 Rectángulo"/>
          <p:cNvSpPr/>
          <p:nvPr/>
        </p:nvSpPr>
        <p:spPr>
          <a:xfrm>
            <a:off x="0" y="0"/>
            <a:ext cx="88392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2000" b="1" dirty="0">
                <a:latin typeface="Century Gothic" pitchFamily="34" charset="0"/>
              </a:rPr>
              <a:t>MARCO DE TRABAJO</a:t>
            </a:r>
          </a:p>
          <a:p>
            <a:pPr>
              <a:lnSpc>
                <a:spcPct val="150000"/>
              </a:lnSpc>
              <a:defRPr/>
            </a:pPr>
            <a:endParaRPr lang="es-ES" sz="2000" b="1" dirty="0">
              <a:latin typeface="Century Gothic" pitchFamily="34" charset="0"/>
            </a:endParaRPr>
          </a:p>
        </p:txBody>
      </p:sp>
      <p:sp>
        <p:nvSpPr>
          <p:cNvPr id="12" name="11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utas y actuaciones de prevención</a:t>
            </a:r>
            <a:endParaRPr lang="es-ES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1 Diagrama"/>
          <p:cNvGraphicFramePr/>
          <p:nvPr>
            <p:extLst>
              <p:ext uri="{D42A27DB-BD31-4B8C-83A1-F6EECF244321}">
                <p14:modId xmlns:p14="http://schemas.microsoft.com/office/powerpoint/2010/main" val="3117351311"/>
              </p:ext>
            </p:extLst>
          </p:nvPr>
        </p:nvGraphicFramePr>
        <p:xfrm>
          <a:off x="107504" y="836712"/>
          <a:ext cx="9036496" cy="59046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371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1371600"/>
            <a:ext cx="9144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>
              <a:lnSpc>
                <a:spcPct val="150000"/>
              </a:lnSpc>
            </a:pPr>
            <a:r>
              <a:rPr lang="es-ES_tradnl" altLang="es-ES" sz="1400">
                <a:solidFill>
                  <a:srgbClr val="333399"/>
                </a:solidFill>
              </a:rPr>
              <a:t>	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8" name="7 Rectángulo"/>
          <p:cNvSpPr/>
          <p:nvPr/>
        </p:nvSpPr>
        <p:spPr>
          <a:xfrm>
            <a:off x="0" y="0"/>
            <a:ext cx="88392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2000" b="1" dirty="0">
                <a:latin typeface="Century Gothic" pitchFamily="34" charset="0"/>
              </a:rPr>
              <a:t>MARCO DE TRABAJO</a:t>
            </a:r>
          </a:p>
          <a:p>
            <a:pPr>
              <a:lnSpc>
                <a:spcPct val="150000"/>
              </a:lnSpc>
              <a:defRPr/>
            </a:pPr>
            <a:endParaRPr lang="es-ES" sz="2000" b="1" dirty="0">
              <a:latin typeface="Century Gothic" pitchFamily="34" charset="0"/>
            </a:endParaRPr>
          </a:p>
        </p:txBody>
      </p:sp>
      <p:sp>
        <p:nvSpPr>
          <p:cNvPr id="12" name="11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tuaciones encaminadas a las notificación</a:t>
            </a:r>
            <a:endParaRPr lang="es-ES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CuadroTexto 9"/>
          <p:cNvSpPr txBox="1"/>
          <p:nvPr/>
        </p:nvSpPr>
        <p:spPr>
          <a:xfrm>
            <a:off x="95367" y="728662"/>
            <a:ext cx="9048633" cy="5618559"/>
          </a:xfrm>
          <a:prstGeom prst="round2DiagRect">
            <a:avLst/>
          </a:prstGeom>
          <a:solidFill>
            <a:srgbClr val="F2F2F2"/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indent="-5715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A6A4F"/>
              </a:buClr>
              <a:defRPr/>
            </a:pPr>
            <a:r>
              <a:rPr lang="es-ES" sz="1600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 en alguna ocasión a lo largo de tu vida profesional identificas/eres testigo/conocedor de una situación de abuso de menores de edad:</a:t>
            </a:r>
          </a:p>
          <a:p>
            <a:pPr marL="400050" indent="-4572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A6A4F"/>
              </a:buClr>
              <a:buAutoNum type="arabicPeriod"/>
              <a:defRPr/>
            </a:pP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nte en contacto con tu superior y notifícale la situación</a:t>
            </a:r>
          </a:p>
          <a:p>
            <a:pPr marL="400050" indent="-457200" algn="just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2A6A4F"/>
              </a:buClr>
              <a:buAutoNum type="arabicPeriod"/>
              <a:defRPr/>
            </a:pP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isar a los FCSE para que procedan a la investigación de la situación:</a:t>
            </a:r>
          </a:p>
          <a:p>
            <a:pPr marL="1200150" lvl="2" indent="-342900" algn="just">
              <a:lnSpc>
                <a:spcPct val="150000"/>
              </a:lnSpc>
              <a:buClr>
                <a:srgbClr val="2A6A4F"/>
              </a:buClr>
              <a:buFontTx/>
              <a:buChar char="-"/>
              <a:defRPr/>
            </a:pP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ágenes de abuso </a:t>
            </a:r>
            <a:r>
              <a:rPr lang="es-ES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xual infantil: </a:t>
            </a:r>
            <a:r>
              <a:rPr lang="es-ES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</a:t>
            </a: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www.policia.es/formulario_generico.php?ordenes=6</a:t>
            </a:r>
            <a:endParaRPr lang="es-ES" b="1" dirty="0" smtClean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00150" lvl="2" indent="-342900" algn="just">
              <a:lnSpc>
                <a:spcPct val="150000"/>
              </a:lnSpc>
              <a:buClr>
                <a:srgbClr val="2A6A4F"/>
              </a:buClr>
              <a:buFontTx/>
              <a:buChar char="-"/>
              <a:defRPr/>
            </a:pPr>
            <a:r>
              <a:rPr lang="es-ES" b="1" dirty="0" smtClean="0">
                <a:latin typeface="Arial" panose="020B0604020202020204" pitchFamily="34" charset="0"/>
                <a:cs typeface="Arial" panose="020B0604020202020204" pitchFamily="34" charset="0"/>
              </a:rPr>
              <a:t>Trata: </a:t>
            </a:r>
            <a:r>
              <a:rPr lang="en-GB" u="sng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trata@policia.es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o a </a:t>
            </a:r>
            <a:r>
              <a:rPr lang="en-GB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avés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 del </a:t>
            </a:r>
            <a:r>
              <a:rPr lang="en-GB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eléfono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900 10 50 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90</a:t>
            </a:r>
          </a:p>
          <a:p>
            <a:pPr marL="1200150" lvl="2" indent="-342900" algn="just">
              <a:lnSpc>
                <a:spcPct val="150000"/>
              </a:lnSpc>
              <a:buClr>
                <a:srgbClr val="2A6A4F"/>
              </a:buClr>
              <a:buFontTx/>
              <a:buChar char="-"/>
              <a:defRPr/>
            </a:pP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EMUME: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062</a:t>
            </a:r>
          </a:p>
          <a:p>
            <a:pPr marL="1200150" lvl="2" indent="-342900">
              <a:lnSpc>
                <a:spcPct val="150000"/>
              </a:lnSpc>
              <a:buClr>
                <a:srgbClr val="2A6A4F"/>
              </a:buClr>
              <a:buFontTx/>
              <a:buChar char="-"/>
              <a:defRPr/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Guardia civil </a:t>
            </a:r>
            <a:r>
              <a:rPr lang="en-GB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rupo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GB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elitos</a:t>
            </a:r>
            <a:r>
              <a:rPr lang="en-GB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elemáticos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s://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www.gdt.guardiacivil.es/webgdt/denuncia.php</a:t>
            </a:r>
            <a:endParaRPr lang="es-ES" sz="2000" b="1" dirty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00150" lvl="2" indent="-342900" algn="just">
              <a:lnSpc>
                <a:spcPct val="150000"/>
              </a:lnSpc>
              <a:buClr>
                <a:srgbClr val="2A6A4F"/>
              </a:buClr>
              <a:buFontTx/>
              <a:buChar char="-"/>
              <a:defRPr/>
            </a:pPr>
            <a:r>
              <a:rPr lang="es-E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Teléfono europeo ayuda a la infancia: </a:t>
            </a:r>
            <a:r>
              <a:rPr lang="es-ES" sz="2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16111</a:t>
            </a:r>
          </a:p>
          <a:p>
            <a:pPr marL="1200150" lvl="2" indent="-342900" algn="just">
              <a:lnSpc>
                <a:spcPct val="150000"/>
              </a:lnSpc>
              <a:buClr>
                <a:srgbClr val="2A6A4F"/>
              </a:buClr>
              <a:buFontTx/>
              <a:buChar char="-"/>
              <a:defRPr/>
            </a:pPr>
            <a:r>
              <a:rPr lang="es-E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Policía local o autonómica</a:t>
            </a:r>
            <a:endParaRPr lang="en-GB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39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1371599"/>
            <a:ext cx="9144000" cy="5479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>
              <a:lnSpc>
                <a:spcPct val="150000"/>
              </a:lnSpc>
            </a:pPr>
            <a:r>
              <a:rPr lang="es-ES_tradnl" altLang="es-ES" sz="1400">
                <a:solidFill>
                  <a:srgbClr val="333399"/>
                </a:solidFill>
              </a:rPr>
              <a:t>	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8" name="7 Rectángulo"/>
          <p:cNvSpPr/>
          <p:nvPr/>
        </p:nvSpPr>
        <p:spPr>
          <a:xfrm>
            <a:off x="0" y="0"/>
            <a:ext cx="88392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2000" b="1" dirty="0">
                <a:latin typeface="Century Gothic" pitchFamily="34" charset="0"/>
              </a:rPr>
              <a:t>MARCO DE TRABAJO</a:t>
            </a:r>
          </a:p>
          <a:p>
            <a:pPr>
              <a:lnSpc>
                <a:spcPct val="150000"/>
              </a:lnSpc>
              <a:defRPr/>
            </a:pPr>
            <a:endParaRPr lang="es-ES" sz="2000" b="1" dirty="0">
              <a:latin typeface="Century Gothic" pitchFamily="34" charset="0"/>
            </a:endParaRPr>
          </a:p>
        </p:txBody>
      </p:sp>
      <p:sp>
        <p:nvSpPr>
          <p:cNvPr id="12" name="11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ativas de prevención/protección</a:t>
            </a:r>
            <a:endParaRPr lang="es-ES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1 Título"/>
          <p:cNvSpPr txBox="1">
            <a:spLocks/>
          </p:cNvSpPr>
          <p:nvPr/>
        </p:nvSpPr>
        <p:spPr bwMode="auto">
          <a:xfrm>
            <a:off x="107504" y="1066800"/>
            <a:ext cx="8981562" cy="2347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s-ES_tradnl" sz="36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Código de Conducta </a:t>
            </a:r>
          </a:p>
          <a:p>
            <a:pPr algn="ctr" eaLnBrk="1" hangingPunct="1">
              <a:defRPr/>
            </a:pPr>
            <a:r>
              <a:rPr lang="es-ES" sz="36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a la protección de los niños, niñas y adolescentes frente a la explotación sexual en los viajes y el turismo</a:t>
            </a:r>
          </a:p>
          <a:p>
            <a:pPr eaLnBrk="1" hangingPunct="1">
              <a:defRPr/>
            </a:pPr>
            <a:endParaRPr lang="es-ES_tradnl" sz="4400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6139408"/>
            <a:ext cx="2428834" cy="686604"/>
          </a:xfrm>
          <a:prstGeom prst="rect">
            <a:avLst/>
          </a:prstGeom>
        </p:spPr>
      </p:pic>
      <p:pic>
        <p:nvPicPr>
          <p:cNvPr id="10" name="Imagen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7766" y="2924944"/>
            <a:ext cx="5761038" cy="324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6096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1371600"/>
            <a:ext cx="9144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>
              <a:lnSpc>
                <a:spcPct val="150000"/>
              </a:lnSpc>
            </a:pPr>
            <a:r>
              <a:rPr lang="es-ES_tradnl" altLang="es-ES" sz="1400">
                <a:solidFill>
                  <a:srgbClr val="333399"/>
                </a:solidFill>
              </a:rPr>
              <a:t>	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8" name="7 Rectángulo"/>
          <p:cNvSpPr/>
          <p:nvPr/>
        </p:nvSpPr>
        <p:spPr>
          <a:xfrm>
            <a:off x="0" y="0"/>
            <a:ext cx="88392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2000" b="1" dirty="0">
                <a:latin typeface="Century Gothic" pitchFamily="34" charset="0"/>
              </a:rPr>
              <a:t>MARCO DE TRABAJO</a:t>
            </a:r>
          </a:p>
          <a:p>
            <a:pPr>
              <a:lnSpc>
                <a:spcPct val="150000"/>
              </a:lnSpc>
              <a:defRPr/>
            </a:pPr>
            <a:endParaRPr lang="es-ES" sz="2000" b="1" dirty="0">
              <a:latin typeface="Century Gothic" pitchFamily="34" charset="0"/>
            </a:endParaRPr>
          </a:p>
        </p:txBody>
      </p:sp>
      <p:sp>
        <p:nvSpPr>
          <p:cNvPr id="12" name="11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código de conducta</a:t>
            </a:r>
            <a:endParaRPr lang="es-ES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Imagen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902494"/>
            <a:ext cx="3113088" cy="938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uadroTexto 10"/>
          <p:cNvSpPr txBox="1">
            <a:spLocks noChangeArrowheads="1"/>
          </p:cNvSpPr>
          <p:nvPr/>
        </p:nvSpPr>
        <p:spPr bwMode="auto">
          <a:xfrm>
            <a:off x="3109219" y="728734"/>
            <a:ext cx="6034781" cy="170816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>
              <a:lnSpc>
                <a:spcPct val="150000"/>
              </a:lnSpc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s una herramienta de </a:t>
            </a:r>
            <a:r>
              <a:rPr lang="es-ES" sz="1400" b="1" dirty="0">
                <a:latin typeface="Arial" panose="020B0604020202020204" pitchFamily="34" charset="0"/>
                <a:cs typeface="Arial" panose="020B0604020202020204" pitchFamily="34" charset="0"/>
              </a:rPr>
              <a:t>Responsabilidad Social Empresarial </a:t>
            </a: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diseñada por empresas del sector turístico para empresas del sector turístico con el objetivo de fomentar la participación </a:t>
            </a: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de este sector implicado en los viajes </a:t>
            </a: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n la </a:t>
            </a:r>
            <a:r>
              <a:rPr lang="es-ES" sz="1400" b="1" dirty="0">
                <a:latin typeface="Arial" panose="020B0604020202020204" pitchFamily="34" charset="0"/>
                <a:cs typeface="Arial" panose="020B0604020202020204" pitchFamily="34" charset="0"/>
              </a:rPr>
              <a:t>promoción de los Derechos de la Infancia y la prevención </a:t>
            </a: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de la vulneración de tales derechos.</a:t>
            </a:r>
          </a:p>
        </p:txBody>
      </p:sp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554" y="2849564"/>
            <a:ext cx="994020" cy="795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uadroTexto 16"/>
          <p:cNvSpPr txBox="1">
            <a:spLocks noChangeArrowheads="1"/>
          </p:cNvSpPr>
          <p:nvPr/>
        </p:nvSpPr>
        <p:spPr bwMode="auto">
          <a:xfrm>
            <a:off x="123737" y="2561735"/>
            <a:ext cx="7676697" cy="106182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171450" indent="-1714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>
              <a:lnSpc>
                <a:spcPct val="150000"/>
              </a:lnSpc>
              <a:buFont typeface="Wingdings" charset="0"/>
              <a:buChar char="ü"/>
            </a:pP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Creada </a:t>
            </a: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n 1.998 por ECPAT Suecia con el apoyo de UNICEF y la Organización Mundial del Turismo. </a:t>
            </a: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</a:p>
          <a:p>
            <a:pPr marL="0" indent="0" algn="just" eaLnBrk="1" hangingPunct="1">
              <a:lnSpc>
                <a:spcPct val="150000"/>
              </a:lnSpc>
            </a:pP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                     </a:t>
            </a:r>
            <a:endParaRPr lang="es-E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123" y="2961544"/>
            <a:ext cx="1858962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ángulo 7"/>
          <p:cNvSpPr>
            <a:spLocks noChangeArrowheads="1"/>
          </p:cNvSpPr>
          <p:nvPr/>
        </p:nvSpPr>
        <p:spPr bwMode="auto">
          <a:xfrm>
            <a:off x="925125" y="3886200"/>
            <a:ext cx="7926388" cy="1061829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marL="171450" indent="-171450" algn="just">
              <a:lnSpc>
                <a:spcPct val="150000"/>
              </a:lnSpc>
              <a:buFont typeface="Wingdings" charset="0"/>
              <a:buChar char="ü"/>
            </a:pPr>
            <a:r>
              <a:rPr lang="es-ES_tradnl" sz="1400" dirty="0">
                <a:latin typeface="Arial" panose="020B0604020202020204" pitchFamily="34" charset="0"/>
                <a:cs typeface="Arial" panose="020B0604020202020204" pitchFamily="34" charset="0"/>
              </a:rPr>
              <a:t>Hoy en día, The Code es una organización multisectorial que </a:t>
            </a:r>
            <a:r>
              <a:rPr lang="es-ES_tradnl" sz="1400" b="1" dirty="0">
                <a:latin typeface="Arial" panose="020B0604020202020204" pitchFamily="34" charset="0"/>
                <a:cs typeface="Arial" panose="020B0604020202020204" pitchFamily="34" charset="0"/>
              </a:rPr>
              <a:t>provee herramientas y apoyo para las diferentes compañías del sector turístico</a:t>
            </a:r>
            <a:r>
              <a:rPr lang="es-ES_tradnl" sz="1400" dirty="0">
                <a:latin typeface="Arial" panose="020B0604020202020204" pitchFamily="34" charset="0"/>
                <a:cs typeface="Arial" panose="020B0604020202020204" pitchFamily="34" charset="0"/>
              </a:rPr>
              <a:t> con el objetivo de combatir la explotación sexual infantil     </a:t>
            </a:r>
          </a:p>
        </p:txBody>
      </p:sp>
      <p:sp>
        <p:nvSpPr>
          <p:cNvPr id="16" name="Rectángulo 7"/>
          <p:cNvSpPr>
            <a:spLocks noChangeArrowheads="1"/>
          </p:cNvSpPr>
          <p:nvPr/>
        </p:nvSpPr>
        <p:spPr bwMode="auto">
          <a:xfrm>
            <a:off x="154346" y="5022733"/>
            <a:ext cx="7926388" cy="170816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marL="171450" indent="-171450" algn="just">
              <a:lnSpc>
                <a:spcPct val="150000"/>
              </a:lnSpc>
              <a:buFont typeface="Wingdings" charset="0"/>
              <a:buChar char="ü"/>
            </a:pPr>
            <a:r>
              <a:rPr lang="es-ES_tradnl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En España su impacto:</a:t>
            </a:r>
          </a:p>
          <a:p>
            <a:pPr marL="628650" lvl="1" indent="-171450" algn="just">
              <a:lnSpc>
                <a:spcPct val="150000"/>
              </a:lnSpc>
              <a:buFont typeface="Wingdings" charset="0"/>
              <a:buChar char="ü"/>
            </a:pP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ás de 7 millones de clientes informados</a:t>
            </a:r>
          </a:p>
          <a:p>
            <a:pPr marL="628650" lvl="1" indent="-171450" algn="just">
              <a:lnSpc>
                <a:spcPct val="150000"/>
              </a:lnSpc>
              <a:buFont typeface="Wingdings" charset="0"/>
              <a:buChar char="ü"/>
            </a:pP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ás de 32,000 proveedores</a:t>
            </a:r>
          </a:p>
          <a:p>
            <a:pPr marL="628650" lvl="1" indent="-171450" algn="just">
              <a:lnSpc>
                <a:spcPct val="150000"/>
              </a:lnSpc>
              <a:buFont typeface="Wingdings" charset="0"/>
              <a:buChar char="ü"/>
            </a:pP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ás de 7000 profesionales con formación específica</a:t>
            </a:r>
          </a:p>
          <a:p>
            <a:pPr marL="628650" lvl="1" indent="-171450" algn="just">
              <a:lnSpc>
                <a:spcPct val="150000"/>
              </a:lnSpc>
              <a:buFont typeface="Wingdings" charset="0"/>
              <a:buChar char="ü"/>
            </a:pP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Más de 800 socios y colaboradores</a:t>
            </a:r>
            <a:endParaRPr lang="es-ES_tradnl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94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CuadroTexto 6"/>
          <p:cNvSpPr txBox="1">
            <a:spLocks noChangeArrowheads="1"/>
          </p:cNvSpPr>
          <p:nvPr/>
        </p:nvSpPr>
        <p:spPr bwMode="auto">
          <a:xfrm>
            <a:off x="177133" y="836712"/>
            <a:ext cx="8784976" cy="545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285750" indent="-285750"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¿Te has parado a pensar alguna vez en qué papel juegas en la protección de la infancia? ¿qué implicaciones tiene tu futuro rol profesional? ¿cuál es tu responsabilidad?</a:t>
            </a:r>
          </a:p>
          <a:p>
            <a:pPr marL="285750" indent="-285750"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¿Sabes lo que es la explotación sexual comercial de niños, niñas y adolescentes? </a:t>
            </a:r>
          </a:p>
          <a:p>
            <a:pPr marL="285750" indent="-285750"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¿A qué te suena el turismo sexual?¿dónde lo ubicas?</a:t>
            </a:r>
          </a:p>
          <a:p>
            <a:pPr marL="285750" indent="-285750"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¿Has leído/ escuchado alguna noticia sobre estos temas en la prensa de nuestro país? </a:t>
            </a:r>
            <a:endParaRPr lang="es-ES" sz="2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sz="2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¿Sabes lo que tienes que hacer si te encontraras frente a una situación de este tipo?</a:t>
            </a:r>
          </a:p>
          <a:p>
            <a:pPr algn="just" eaLnBrk="1" hangingPunct="1">
              <a:lnSpc>
                <a:spcPct val="150000"/>
              </a:lnSpc>
            </a:pPr>
            <a:endParaRPr lang="es-E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0" y="0"/>
            <a:ext cx="9143999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¿Asumes tu responsabilidad?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2" name="1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193" y="6012264"/>
            <a:ext cx="2877806" cy="8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62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1371600"/>
            <a:ext cx="9144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>
              <a:lnSpc>
                <a:spcPct val="150000"/>
              </a:lnSpc>
            </a:pPr>
            <a:r>
              <a:rPr lang="es-ES_tradnl" altLang="es-ES" sz="1400">
                <a:solidFill>
                  <a:srgbClr val="333399"/>
                </a:solidFill>
              </a:rPr>
              <a:t>	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8" name="7 Rectángulo"/>
          <p:cNvSpPr/>
          <p:nvPr/>
        </p:nvSpPr>
        <p:spPr>
          <a:xfrm>
            <a:off x="0" y="0"/>
            <a:ext cx="88392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2000" b="1" dirty="0">
                <a:latin typeface="Century Gothic" pitchFamily="34" charset="0"/>
              </a:rPr>
              <a:t>MARCO DE TRABAJO</a:t>
            </a:r>
          </a:p>
          <a:p>
            <a:pPr>
              <a:lnSpc>
                <a:spcPct val="150000"/>
              </a:lnSpc>
              <a:defRPr/>
            </a:pPr>
            <a:endParaRPr lang="es-ES" sz="2000" b="1" dirty="0">
              <a:latin typeface="Century Gothic" pitchFamily="34" charset="0"/>
            </a:endParaRPr>
          </a:p>
        </p:txBody>
      </p:sp>
      <p:sp>
        <p:nvSpPr>
          <p:cNvPr id="12" name="11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 código de conducta</a:t>
            </a:r>
            <a:endParaRPr lang="es-ES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Imagen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6438"/>
            <a:ext cx="2235200" cy="673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5" name="Diagrama 20"/>
          <p:cNvGraphicFramePr/>
          <p:nvPr>
            <p:extLst>
              <p:ext uri="{D42A27DB-BD31-4B8C-83A1-F6EECF244321}">
                <p14:modId xmlns:p14="http://schemas.microsoft.com/office/powerpoint/2010/main" val="2960173108"/>
              </p:ext>
            </p:extLst>
          </p:nvPr>
        </p:nvGraphicFramePr>
        <p:xfrm>
          <a:off x="-771161" y="1627043"/>
          <a:ext cx="5190761" cy="44554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Llamada de flecha a la derecha 25"/>
          <p:cNvSpPr/>
          <p:nvPr/>
        </p:nvSpPr>
        <p:spPr>
          <a:xfrm rot="5400000">
            <a:off x="4077148" y="1676503"/>
            <a:ext cx="4502993" cy="4695620"/>
          </a:xfrm>
          <a:prstGeom prst="rightArrowCallout">
            <a:avLst>
              <a:gd name="adj1" fmla="val 26075"/>
              <a:gd name="adj2" fmla="val 22850"/>
              <a:gd name="adj3" fmla="val 12635"/>
              <a:gd name="adj4" fmla="val 88542"/>
            </a:avLst>
          </a:prstGeom>
          <a:solidFill>
            <a:schemeClr val="accent1">
              <a:lumMod val="75000"/>
            </a:schemeClr>
          </a:solidFill>
          <a:ln>
            <a:solidFill>
              <a:srgbClr val="10253F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18" name="CuadroTexto 26"/>
          <p:cNvSpPr txBox="1"/>
          <p:nvPr/>
        </p:nvSpPr>
        <p:spPr>
          <a:xfrm>
            <a:off x="4211960" y="1988840"/>
            <a:ext cx="4110398" cy="781526"/>
          </a:xfrm>
          <a:prstGeom prst="roundRect">
            <a:avLst>
              <a:gd name="adj" fmla="val 9519"/>
            </a:avLst>
          </a:prstGeom>
          <a:solidFill>
            <a:schemeClr val="bg1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La explotación sexual de la Infancia y la Adolescencia no es aceptable en el </a:t>
            </a: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turismo</a:t>
            </a:r>
            <a:endParaRPr lang="es-E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uadroTexto 27"/>
          <p:cNvSpPr txBox="1"/>
          <p:nvPr/>
        </p:nvSpPr>
        <p:spPr>
          <a:xfrm>
            <a:off x="4211960" y="2924944"/>
            <a:ext cx="4110398" cy="1532334"/>
          </a:xfrm>
          <a:prstGeom prst="roundRect">
            <a:avLst/>
          </a:prstGeom>
          <a:solidFill>
            <a:srgbClr val="FFFFFF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>
              <a:lnSpc>
                <a:spcPct val="150000"/>
              </a:lnSpc>
              <a:defRPr sz="1400"/>
            </a:lvl1pPr>
          </a:lstStyle>
          <a:p>
            <a:pPr>
              <a:defRPr/>
            </a:pPr>
            <a:r>
              <a:rPr lang="es-ES" dirty="0" smtClean="0">
                <a:latin typeface="Arial" panose="020B0604020202020204" pitchFamily="34" charset="0"/>
                <a:cs typeface="Arial" panose="020B0604020202020204" pitchFamily="34" charset="0"/>
              </a:rPr>
              <a:t>Sensibilización  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y </a:t>
            </a:r>
            <a:r>
              <a:rPr lang="es-ES" dirty="0" smtClean="0">
                <a:latin typeface="Arial" panose="020B0604020202020204" pitchFamily="34" charset="0"/>
                <a:cs typeface="Arial" panose="020B0604020202020204" pitchFamily="34" charset="0"/>
              </a:rPr>
              <a:t>formación de todos los agentes y profesionales implicados: directores, recepcionistas, camareras de pisos, socorristas, etc.</a:t>
            </a:r>
            <a:endParaRPr lang="es-E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uadroTexto 28"/>
          <p:cNvSpPr txBox="1"/>
          <p:nvPr/>
        </p:nvSpPr>
        <p:spPr>
          <a:xfrm>
            <a:off x="4292600" y="4704124"/>
            <a:ext cx="4029758" cy="459700"/>
          </a:xfrm>
          <a:prstGeom prst="roundRect">
            <a:avLst/>
          </a:prstGeom>
          <a:solidFill>
            <a:srgbClr val="FFFFFF"/>
          </a:solidFill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>
            <a:defPPr>
              <a:defRPr lang="en-US"/>
            </a:defPPr>
            <a:lvl1pPr lvl="0">
              <a:lnSpc>
                <a:spcPct val="150000"/>
              </a:lnSpc>
              <a:defRPr sz="1400"/>
            </a:lvl1pPr>
          </a:lstStyle>
          <a:p>
            <a:pPr>
              <a:defRPr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Reportan posibles casos a las </a:t>
            </a:r>
            <a:r>
              <a:rPr lang="es-ES" dirty="0" smtClean="0">
                <a:latin typeface="Arial" panose="020B0604020202020204" pitchFamily="34" charset="0"/>
                <a:cs typeface="Arial" panose="020B0604020202020204" pitchFamily="34" charset="0"/>
              </a:rPr>
              <a:t>autoridades</a:t>
            </a:r>
            <a:endParaRPr lang="es-E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CuadroTexto 24"/>
          <p:cNvSpPr txBox="1"/>
          <p:nvPr/>
        </p:nvSpPr>
        <p:spPr>
          <a:xfrm>
            <a:off x="4593526" y="6303519"/>
            <a:ext cx="3793603" cy="5232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s-ES" sz="28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urismo responsable</a:t>
            </a:r>
          </a:p>
        </p:txBody>
      </p:sp>
      <p:sp>
        <p:nvSpPr>
          <p:cNvPr id="2" name="1 Flecha derecha"/>
          <p:cNvSpPr/>
          <p:nvPr/>
        </p:nvSpPr>
        <p:spPr>
          <a:xfrm>
            <a:off x="3113088" y="2379603"/>
            <a:ext cx="594816" cy="17473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2" name="21 Flecha derecha"/>
          <p:cNvSpPr/>
          <p:nvPr/>
        </p:nvSpPr>
        <p:spPr>
          <a:xfrm>
            <a:off x="2713483" y="3886200"/>
            <a:ext cx="1028492" cy="17473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23" name="22 Flecha derecha"/>
          <p:cNvSpPr/>
          <p:nvPr/>
        </p:nvSpPr>
        <p:spPr>
          <a:xfrm>
            <a:off x="3198493" y="4989085"/>
            <a:ext cx="594816" cy="17473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27927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26" name="25 Rectángulo"/>
          <p:cNvSpPr/>
          <p:nvPr/>
        </p:nvSpPr>
        <p:spPr>
          <a:xfrm>
            <a:off x="1117600" y="6629400"/>
            <a:ext cx="4673600" cy="228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es-ES" sz="12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18 Documento"/>
          <p:cNvSpPr/>
          <p:nvPr/>
        </p:nvSpPr>
        <p:spPr>
          <a:xfrm>
            <a:off x="0" y="0"/>
            <a:ext cx="9144000" cy="838200"/>
          </a:xfrm>
          <a:prstGeom prst="flowChartDocumen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es-ES" b="1" dirty="0">
                <a:solidFill>
                  <a:schemeClr val="bg1"/>
                </a:solidFill>
                <a:latin typeface="Century Gothic" panose="020B0502020202020204" pitchFamily="34" charset="0"/>
              </a:rPr>
              <a:t>Los 6 criterios</a:t>
            </a:r>
          </a:p>
        </p:txBody>
      </p:sp>
      <p:sp>
        <p:nvSpPr>
          <p:cNvPr id="28" name="27 Rectángulo"/>
          <p:cNvSpPr/>
          <p:nvPr/>
        </p:nvSpPr>
        <p:spPr>
          <a:xfrm>
            <a:off x="0" y="5486400"/>
            <a:ext cx="9144000" cy="137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 dirty="0"/>
          </a:p>
        </p:txBody>
      </p:sp>
      <p:sp>
        <p:nvSpPr>
          <p:cNvPr id="8198" name="CuadroTexto 8"/>
          <p:cNvSpPr txBox="1">
            <a:spLocks noChangeArrowheads="1"/>
          </p:cNvSpPr>
          <p:nvPr/>
        </p:nvSpPr>
        <p:spPr bwMode="auto">
          <a:xfrm>
            <a:off x="609600" y="1066800"/>
            <a:ext cx="7877175" cy="5157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85750" indent="-285750"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s-ES_tradnl" altLang="es-ES" sz="1500" dirty="0">
                <a:solidFill>
                  <a:srgbClr val="003300"/>
                </a:solidFill>
                <a:latin typeface="Century Gothic" panose="020B0502020202020204" pitchFamily="34" charset="0"/>
                <a:ea typeface="MS PGothic" panose="020B0600070205080204" pitchFamily="34" charset="-128"/>
              </a:rPr>
              <a:t>Establecer una política ética corporativa contra la ESCIA.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endParaRPr lang="es-ES_tradnl" altLang="es-ES" sz="1500" dirty="0">
              <a:solidFill>
                <a:srgbClr val="0033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s-ES_tradnl" altLang="es-ES" sz="1500" dirty="0">
                <a:solidFill>
                  <a:srgbClr val="003300"/>
                </a:solidFill>
                <a:latin typeface="Century Gothic" panose="020B0502020202020204" pitchFamily="34" charset="0"/>
                <a:ea typeface="MS PGothic" panose="020B0600070205080204" pitchFamily="34" charset="-128"/>
              </a:rPr>
              <a:t>Formar a su </a:t>
            </a:r>
            <a:r>
              <a:rPr lang="es-ES_tradnl" altLang="es-ES" sz="1500" dirty="0" smtClean="0">
                <a:solidFill>
                  <a:srgbClr val="003300"/>
                </a:solidFill>
                <a:latin typeface="Century Gothic" panose="020B0502020202020204" pitchFamily="34" charset="0"/>
                <a:ea typeface="MS PGothic" panose="020B0600070205080204" pitchFamily="34" charset="-128"/>
              </a:rPr>
              <a:t>personal.</a:t>
            </a:r>
            <a:endParaRPr lang="es-ES_tradnl" altLang="es-ES" sz="1500" dirty="0">
              <a:solidFill>
                <a:srgbClr val="0033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endParaRPr lang="es-ES_tradnl" altLang="es-ES" sz="1500" dirty="0">
              <a:solidFill>
                <a:srgbClr val="0033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s-ES_tradnl" altLang="es-ES" sz="1500" dirty="0">
                <a:solidFill>
                  <a:srgbClr val="003300"/>
                </a:solidFill>
                <a:latin typeface="Century Gothic" panose="020B0502020202020204" pitchFamily="34" charset="0"/>
                <a:ea typeface="MS PGothic" panose="020B0600070205080204" pitchFamily="34" charset="-128"/>
              </a:rPr>
              <a:t>Introducir una cláusula en los contratos con proveedores estableciendo el rechazo común de la ESCIA.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endParaRPr lang="es-ES_tradnl" altLang="es-ES" sz="1500" dirty="0">
              <a:solidFill>
                <a:srgbClr val="0033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s-ES_tradnl" altLang="es-ES" sz="1500" dirty="0">
                <a:solidFill>
                  <a:srgbClr val="003300"/>
                </a:solidFill>
                <a:latin typeface="Century Gothic" panose="020B0502020202020204" pitchFamily="34" charset="0"/>
                <a:ea typeface="MS PGothic" panose="020B0600070205080204" pitchFamily="34" charset="-128"/>
              </a:rPr>
              <a:t>Proporcionar información a los usuarios (turistas) por medio de catálogos, folletos, vídeos durante los vuelos, etiquetas en los billetes, páginas web, etc.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endParaRPr lang="es-ES_tradnl" altLang="es-ES" sz="1500" dirty="0">
              <a:solidFill>
                <a:srgbClr val="0033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s-ES_tradnl" altLang="es-ES" sz="1500" dirty="0">
                <a:solidFill>
                  <a:srgbClr val="003300"/>
                </a:solidFill>
                <a:latin typeface="Century Gothic" panose="020B0502020202020204" pitchFamily="34" charset="0"/>
                <a:ea typeface="MS PGothic" panose="020B0600070205080204" pitchFamily="34" charset="-128"/>
              </a:rPr>
              <a:t>Proporcionar información a los “agentes locales clave” en cada destino.</a:t>
            </a: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endParaRPr lang="es-ES_tradnl" altLang="es-ES" sz="1500" dirty="0">
              <a:solidFill>
                <a:srgbClr val="003300"/>
              </a:solidFill>
              <a:latin typeface="Century Gothic" panose="020B0502020202020204" pitchFamily="34" charset="0"/>
              <a:ea typeface="MS PGothic" panose="020B0600070205080204" pitchFamily="34" charset="-128"/>
            </a:endParaRPr>
          </a:p>
          <a:p>
            <a:pPr algn="just" eaLnBrk="1" hangingPunct="1">
              <a:lnSpc>
                <a:spcPct val="15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es-ES_tradnl" altLang="es-ES" sz="1500" dirty="0">
                <a:solidFill>
                  <a:srgbClr val="003300"/>
                </a:solidFill>
                <a:latin typeface="Century Gothic" panose="020B0502020202020204" pitchFamily="34" charset="0"/>
                <a:ea typeface="MS PGothic" panose="020B0600070205080204" pitchFamily="34" charset="-128"/>
              </a:rPr>
              <a:t>Informar anualmente sobre la implementación de estos puntos.</a:t>
            </a:r>
          </a:p>
        </p:txBody>
      </p:sp>
      <p:pic>
        <p:nvPicPr>
          <p:cNvPr id="8199" name="12 Imag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00" y="6400800"/>
            <a:ext cx="5334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0" name="Picture 2" descr="C:\Users\T\Desktop\Hercules_30-09-12\Proceso_Com Externa_00_Gral\COE_Procedim_GIC_Gestión de la Imagen Corporativa\GIC_AD_01_Logos_Nuevos_Verctorizados\Ecpat ESPAÑA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6324600"/>
            <a:ext cx="3810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1" name="Picture 3" descr="C:\Users\T\Desktop\Hercules_30-09-12\Proceso_Com Externa_00_Gral\COE_Procedim_GIC_Gestión de la Imagen Corporativa\GIC_AD_01_Logos_Nuevos_Verctorizados\Fapmi_peqeñ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00800"/>
            <a:ext cx="4572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2259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ángulo 3"/>
          <p:cNvSpPr>
            <a:spLocks noChangeArrowheads="1"/>
          </p:cNvSpPr>
          <p:nvPr/>
        </p:nvSpPr>
        <p:spPr bwMode="auto">
          <a:xfrm>
            <a:off x="1525588" y="1052736"/>
            <a:ext cx="6096000" cy="8720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s de 30 millones de turistas usan los servicios de compañías signatarias del Código de Conducta.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384175" y="166688"/>
            <a:ext cx="8464550" cy="786357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70000"/>
              </a:lnSpc>
              <a:defRPr/>
            </a:pPr>
            <a:r>
              <a:rPr lang="es-ES" sz="2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ultados: el Código de conducta</a:t>
            </a:r>
            <a:endParaRPr lang="es-ES" sz="2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987" name="Rectángulo 14"/>
          <p:cNvSpPr>
            <a:spLocks noChangeArrowheads="1"/>
          </p:cNvSpPr>
          <p:nvPr/>
        </p:nvSpPr>
        <p:spPr bwMode="auto">
          <a:xfrm>
            <a:off x="577850" y="3419475"/>
            <a:ext cx="4854575" cy="698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Forma parte de la agenda política de varios países como República Dominicana, Holanda, España, etc.</a:t>
            </a:r>
          </a:p>
        </p:txBody>
      </p:sp>
      <p:pic>
        <p:nvPicPr>
          <p:cNvPr id="41988" name="Imagen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3849" y="5345178"/>
            <a:ext cx="522287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89" name="Imagen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893" y="5345178"/>
            <a:ext cx="676275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90" name="CuadroTexto 17"/>
          <p:cNvSpPr txBox="1">
            <a:spLocks noChangeArrowheads="1"/>
          </p:cNvSpPr>
          <p:nvPr/>
        </p:nvSpPr>
        <p:spPr bwMode="auto">
          <a:xfrm>
            <a:off x="627045" y="4697413"/>
            <a:ext cx="4868862" cy="698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s un requisito para la obtención de determinadas certificaciones</a:t>
            </a:r>
          </a:p>
        </p:txBody>
      </p:sp>
      <p:sp>
        <p:nvSpPr>
          <p:cNvPr id="41991" name="CuadroTexto 18"/>
          <p:cNvSpPr txBox="1">
            <a:spLocks noChangeArrowheads="1"/>
          </p:cNvSpPr>
          <p:nvPr/>
        </p:nvSpPr>
        <p:spPr bwMode="auto">
          <a:xfrm>
            <a:off x="611765" y="2030703"/>
            <a:ext cx="4868862" cy="698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>
              <a:lnSpc>
                <a:spcPct val="150000"/>
              </a:lnSpc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s reconocido internacionalmente como buena práctica en cuanto a turismo responsable</a:t>
            </a:r>
          </a:p>
        </p:txBody>
      </p:sp>
      <p:pic>
        <p:nvPicPr>
          <p:cNvPr id="41992" name="Imagen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51" y="2780928"/>
            <a:ext cx="1531937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6782" y="2884909"/>
            <a:ext cx="792162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4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196" y="2702347"/>
            <a:ext cx="774700" cy="608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5" name="Imagen 2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8343" y="4163436"/>
            <a:ext cx="1414463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6" name="Imagen 2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627" y="2271646"/>
            <a:ext cx="3540324" cy="35593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17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6139408"/>
            <a:ext cx="2428834" cy="68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24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09" name="Imagen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8" y="3087688"/>
            <a:ext cx="2036762" cy="111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0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3" y="4338638"/>
            <a:ext cx="4319587" cy="735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1" name="Imagen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9263" y="6049963"/>
            <a:ext cx="4679950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2" name="Imagen 1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7413" y="5099050"/>
            <a:ext cx="2298700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3" name="Imagen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9038" y="3740150"/>
            <a:ext cx="1970087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4" name="Imagen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988" y="1820863"/>
            <a:ext cx="1609725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5" name="Imagen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0775" y="1900238"/>
            <a:ext cx="1196975" cy="1195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6" name="Imagen 1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3" y="1874838"/>
            <a:ext cx="13208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7" name="Imagen 18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1125" y="1831975"/>
            <a:ext cx="1778000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8" name="Imagen 19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450" y="3851275"/>
            <a:ext cx="2324100" cy="44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9" name="Imagen 21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6450" y="5319713"/>
            <a:ext cx="16764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20" name="Imagen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5294313"/>
            <a:ext cx="2070100" cy="677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22" name="Imagen 20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7438" y="2668588"/>
            <a:ext cx="1501775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23" name="Imagen 21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1763" y="2500313"/>
            <a:ext cx="2025650" cy="75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24" name="Imagen 2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4950" y="4460875"/>
            <a:ext cx="2527300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25" name="Imagen 2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4450" y="3367088"/>
            <a:ext cx="2311400" cy="355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CuadroTexto 13"/>
          <p:cNvSpPr txBox="1"/>
          <p:nvPr/>
        </p:nvSpPr>
        <p:spPr>
          <a:xfrm>
            <a:off x="384175" y="166688"/>
            <a:ext cx="8464550" cy="786357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70000"/>
              </a:lnSpc>
              <a:defRPr/>
            </a:pPr>
            <a:r>
              <a:rPr lang="es-ES" sz="24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resas firmantes Código de Conducta en España</a:t>
            </a:r>
            <a:endParaRPr lang="es-ES" sz="24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311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 smtClean="0"/>
              <a:t>Vídeo de formación</a:t>
            </a: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s-ES" dirty="0" err="1" smtClean="0"/>
              <a:t>The</a:t>
            </a:r>
            <a:r>
              <a:rPr lang="es-ES" dirty="0" smtClean="0"/>
              <a:t> </a:t>
            </a:r>
            <a:r>
              <a:rPr lang="es-ES" dirty="0" err="1" smtClean="0"/>
              <a:t>Code</a:t>
            </a:r>
            <a:endParaRPr lang="es-ES" dirty="0" smtClean="0"/>
          </a:p>
          <a:p>
            <a:pPr marL="0" indent="0">
              <a:buNone/>
            </a:pPr>
            <a:r>
              <a:rPr lang="es-ES" dirty="0" err="1" smtClean="0"/>
              <a:t>Accor</a:t>
            </a:r>
            <a:endParaRPr lang="es-ES" dirty="0" smtClean="0"/>
          </a:p>
          <a:p>
            <a:pPr marL="0" indent="0"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38866324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1371599"/>
            <a:ext cx="9144000" cy="5479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>
              <a:lnSpc>
                <a:spcPct val="150000"/>
              </a:lnSpc>
            </a:pPr>
            <a:r>
              <a:rPr lang="es-ES_tradnl" altLang="es-ES" sz="1400">
                <a:solidFill>
                  <a:srgbClr val="333399"/>
                </a:solidFill>
              </a:rPr>
              <a:t>	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8" name="7 Rectángulo"/>
          <p:cNvSpPr/>
          <p:nvPr/>
        </p:nvSpPr>
        <p:spPr>
          <a:xfrm>
            <a:off x="0" y="0"/>
            <a:ext cx="88392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2000" b="1" dirty="0">
                <a:latin typeface="Century Gothic" pitchFamily="34" charset="0"/>
              </a:rPr>
              <a:t>MARCO DE TRABAJO</a:t>
            </a:r>
          </a:p>
          <a:p>
            <a:pPr>
              <a:lnSpc>
                <a:spcPct val="150000"/>
              </a:lnSpc>
              <a:defRPr/>
            </a:pPr>
            <a:endParaRPr lang="es-ES" sz="2000" b="1" dirty="0">
              <a:latin typeface="Century Gothic" pitchFamily="34" charset="0"/>
            </a:endParaRPr>
          </a:p>
        </p:txBody>
      </p:sp>
      <p:sp>
        <p:nvSpPr>
          <p:cNvPr id="12" name="11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ativas de prevención/protección</a:t>
            </a:r>
            <a:endParaRPr lang="es-ES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7" name="Picture 16" descr="C:\Users\T\Desktop\Hercules_07-09-13\ESIA_ECPAT España_Actividades_2013\ESIA_ECPAT España_2013_Jornada_Tráfico\RED-ESCIA_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628651"/>
            <a:ext cx="5688632" cy="1467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7" y="1686589"/>
            <a:ext cx="8128593" cy="5164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5394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1371600"/>
            <a:ext cx="9144000" cy="502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>
              <a:lnSpc>
                <a:spcPct val="150000"/>
              </a:lnSpc>
            </a:pPr>
            <a:r>
              <a:rPr lang="es-ES_tradnl" altLang="es-ES" sz="1400">
                <a:solidFill>
                  <a:srgbClr val="333399"/>
                </a:solidFill>
              </a:rPr>
              <a:t>	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8" name="7 Rectángulo"/>
          <p:cNvSpPr/>
          <p:nvPr/>
        </p:nvSpPr>
        <p:spPr>
          <a:xfrm>
            <a:off x="0" y="0"/>
            <a:ext cx="88392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2000" b="1" dirty="0">
                <a:latin typeface="Century Gothic" pitchFamily="34" charset="0"/>
              </a:rPr>
              <a:t>MARCO DE TRABAJO</a:t>
            </a:r>
          </a:p>
          <a:p>
            <a:pPr>
              <a:lnSpc>
                <a:spcPct val="150000"/>
              </a:lnSpc>
              <a:defRPr/>
            </a:pPr>
            <a:endParaRPr lang="es-ES" sz="2000" b="1" dirty="0">
              <a:latin typeface="Century Gothic" pitchFamily="34" charset="0"/>
            </a:endParaRPr>
          </a:p>
        </p:txBody>
      </p:sp>
      <p:sp>
        <p:nvSpPr>
          <p:cNvPr id="12" name="11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CIA</a:t>
            </a:r>
            <a:endParaRPr lang="es-ES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6" y="685800"/>
            <a:ext cx="8829684" cy="5572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Rectángulo"/>
          <p:cNvSpPr/>
          <p:nvPr/>
        </p:nvSpPr>
        <p:spPr>
          <a:xfrm>
            <a:off x="8028384" y="5805264"/>
            <a:ext cx="504056" cy="45278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sp>
        <p:nvSpPr>
          <p:cNvPr id="3" name="2 CuadroTexto"/>
          <p:cNvSpPr txBox="1"/>
          <p:nvPr/>
        </p:nvSpPr>
        <p:spPr>
          <a:xfrm>
            <a:off x="562413" y="6313722"/>
            <a:ext cx="80191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¡Únete a la RESCIA para seguir sumando esfuerzos!</a:t>
            </a:r>
            <a:endParaRPr lang="es-ES_tradnl" sz="2400" b="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394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1371599"/>
            <a:ext cx="9144000" cy="5479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/>
          <a:lstStyle/>
          <a:p>
            <a:pPr>
              <a:lnSpc>
                <a:spcPct val="150000"/>
              </a:lnSpc>
            </a:pPr>
            <a:r>
              <a:rPr lang="es-ES_tradnl" altLang="es-ES" sz="1400">
                <a:solidFill>
                  <a:srgbClr val="333399"/>
                </a:solidFill>
              </a:rPr>
              <a:t>	</a:t>
            </a:r>
          </a:p>
        </p:txBody>
      </p:sp>
      <p:sp>
        <p:nvSpPr>
          <p:cNvPr id="6" name="5 Rectángulo"/>
          <p:cNvSpPr/>
          <p:nvPr/>
        </p:nvSpPr>
        <p:spPr>
          <a:xfrm>
            <a:off x="2235200" y="114300"/>
            <a:ext cx="6604000" cy="514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1600" dirty="0">
                <a:solidFill>
                  <a:schemeClr val="bg1"/>
                </a:solidFill>
                <a:latin typeface="Calibri" pitchFamily="34" charset="0"/>
              </a:rPr>
              <a:t>DEBATE SOBRE </a:t>
            </a:r>
            <a:r>
              <a:rPr lang="es-ES" sz="1600" b="1" dirty="0">
                <a:solidFill>
                  <a:schemeClr val="bg1"/>
                </a:solidFill>
                <a:latin typeface="Calibri" pitchFamily="34" charset="0"/>
              </a:rPr>
              <a:t>TURISMO Y RESPONSABILIDAD SOCIAL</a:t>
            </a:r>
          </a:p>
          <a:p>
            <a:pPr>
              <a:lnSpc>
                <a:spcPct val="150000"/>
              </a:lnSpc>
              <a:defRPr/>
            </a:pPr>
            <a:r>
              <a:rPr lang="es-ES" sz="1400" dirty="0">
                <a:solidFill>
                  <a:schemeClr val="bg1"/>
                </a:solidFill>
                <a:latin typeface="Calibri" pitchFamily="34" charset="0"/>
              </a:rPr>
              <a:t>Actos de celebración del Día Mundial del Turismo 2012</a:t>
            </a:r>
          </a:p>
        </p:txBody>
      </p:sp>
      <p:sp>
        <p:nvSpPr>
          <p:cNvPr id="8" name="7 Rectángulo"/>
          <p:cNvSpPr/>
          <p:nvPr/>
        </p:nvSpPr>
        <p:spPr>
          <a:xfrm>
            <a:off x="0" y="0"/>
            <a:ext cx="8839200" cy="106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es-ES" sz="2000" b="1" dirty="0">
                <a:latin typeface="Century Gothic" pitchFamily="34" charset="0"/>
              </a:rPr>
              <a:t>MARCO DE TRABAJO</a:t>
            </a:r>
          </a:p>
          <a:p>
            <a:pPr>
              <a:lnSpc>
                <a:spcPct val="150000"/>
              </a:lnSpc>
              <a:defRPr/>
            </a:pPr>
            <a:endParaRPr lang="es-ES" sz="2000" b="1" dirty="0">
              <a:latin typeface="Century Gothic" pitchFamily="34" charset="0"/>
            </a:endParaRPr>
          </a:p>
        </p:txBody>
      </p:sp>
      <p:sp>
        <p:nvSpPr>
          <p:cNvPr id="12" name="11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cursos y enlaces de interés</a:t>
            </a:r>
            <a:endParaRPr lang="es-ES" sz="24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Rectángulo 3"/>
          <p:cNvSpPr>
            <a:spLocks noChangeArrowheads="1"/>
          </p:cNvSpPr>
          <p:nvPr/>
        </p:nvSpPr>
        <p:spPr bwMode="auto">
          <a:xfrm>
            <a:off x="179512" y="935582"/>
            <a:ext cx="8784976" cy="4662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ágina web ECPAT España</a:t>
            </a:r>
            <a:r>
              <a:rPr lang="es-ES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ES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://</a:t>
            </a:r>
            <a:r>
              <a:rPr lang="es-ES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www.ecpat-spain.org/</a:t>
            </a:r>
            <a:endParaRPr lang="es-ES" dirty="0" smtClean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hesión al Código </a:t>
            </a:r>
            <a:r>
              <a:rPr lang="es-ES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Conducta</a:t>
            </a:r>
            <a:r>
              <a:rPr lang="es-ES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ES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</a:t>
            </a:r>
            <a:r>
              <a:rPr lang="es-ES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www.ecpat-spain.org/programas.asp</a:t>
            </a:r>
            <a:endParaRPr lang="es-ES" dirty="0" smtClean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hesión a la RESCIA</a:t>
            </a:r>
            <a:r>
              <a:rPr lang="es-ES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s-ES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://</a:t>
            </a:r>
            <a:r>
              <a:rPr lang="es-ES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www.ecpat-spain.org/empresa.asp?sec=13</a:t>
            </a:r>
            <a:endParaRPr lang="es-ES" dirty="0" smtClean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enas prácticas: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sensibilización y formación industria hotelera </a:t>
            </a:r>
            <a:r>
              <a:rPr lang="es-ES" b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Mallorca): </a:t>
            </a:r>
            <a:r>
              <a:rPr lang="es-ES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https://</a:t>
            </a:r>
            <a:r>
              <a:rPr lang="es-ES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ww.youtube.com/watch?v=FNNe3j3DKKk&amp;feature=youtu.be</a:t>
            </a:r>
            <a:endParaRPr lang="es-ES" dirty="0" smtClean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b="1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dad social corporativa en empresa hotelera: </a:t>
            </a:r>
            <a:r>
              <a:rPr lang="es-ES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http</a:t>
            </a:r>
            <a:r>
              <a:rPr lang="es-ES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://</a:t>
            </a:r>
            <a:r>
              <a:rPr lang="es-ES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7"/>
              </a:rPr>
              <a:t>www.riu.com/es/sostenibilidad/inicio.jsp</a:t>
            </a:r>
            <a:endParaRPr lang="es-ES" dirty="0" smtClean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s-ES" dirty="0" smtClean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s-ES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ras buenas prácticas </a:t>
            </a:r>
            <a:r>
              <a:rPr lang="es-ES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relación a la ESCNNA-T: </a:t>
            </a:r>
            <a:r>
              <a:rPr lang="es-ES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http://</a:t>
            </a:r>
            <a:r>
              <a:rPr lang="es-ES" dirty="0" smtClean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  <a:hlinkClick r:id="rId8"/>
              </a:rPr>
              <a:t>www.ecpat-spain.org/code.asp?sec=9</a:t>
            </a:r>
            <a:endParaRPr lang="es-ES" dirty="0" smtClean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0232" y="6139408"/>
            <a:ext cx="2428834" cy="6866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391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4"/>
          <p:cNvSpPr txBox="1"/>
          <p:nvPr/>
        </p:nvSpPr>
        <p:spPr>
          <a:xfrm>
            <a:off x="4216400" y="4478338"/>
            <a:ext cx="4606925" cy="2276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defRPr/>
            </a:pPr>
            <a:r>
              <a:rPr lang="es-ES_tradnl" sz="2400" b="1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rPr>
              <a:t>Porque es responsabilidad de todos asegurar un entorno protector para Niños/as y Adolescentes </a:t>
            </a:r>
          </a:p>
        </p:txBody>
      </p:sp>
      <p:sp>
        <p:nvSpPr>
          <p:cNvPr id="6" name="Documento 5"/>
          <p:cNvSpPr/>
          <p:nvPr/>
        </p:nvSpPr>
        <p:spPr>
          <a:xfrm>
            <a:off x="0" y="42863"/>
            <a:ext cx="9144000" cy="2073275"/>
          </a:xfrm>
          <a:prstGeom prst="flowChartDocumen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/>
          </a:p>
        </p:txBody>
      </p:sp>
      <p:sp>
        <p:nvSpPr>
          <p:cNvPr id="7" name="Documento 6"/>
          <p:cNvSpPr/>
          <p:nvPr/>
        </p:nvSpPr>
        <p:spPr>
          <a:xfrm flipH="1">
            <a:off x="0" y="0"/>
            <a:ext cx="9144000" cy="1404938"/>
          </a:xfrm>
          <a:prstGeom prst="flowChartDocument">
            <a:avLst/>
          </a:prstGeom>
          <a:solidFill>
            <a:srgbClr val="10253F"/>
          </a:solidFill>
          <a:ln>
            <a:solidFill>
              <a:srgbClr val="10253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/>
          </a:p>
        </p:txBody>
      </p:sp>
      <p:pic>
        <p:nvPicPr>
          <p:cNvPr id="56324" name="Imagen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575" y="2224088"/>
            <a:ext cx="4075113" cy="403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325" name="Título 1"/>
          <p:cNvSpPr txBox="1">
            <a:spLocks/>
          </p:cNvSpPr>
          <p:nvPr/>
        </p:nvSpPr>
        <p:spPr bwMode="auto">
          <a:xfrm>
            <a:off x="3844925" y="2435225"/>
            <a:ext cx="5257800" cy="1525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anchor="ctr"/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ES_tradnl" sz="4000" b="1">
                <a:solidFill>
                  <a:srgbClr val="10253F"/>
                </a:solidFill>
                <a:latin typeface="Calibri" charset="0"/>
              </a:rPr>
              <a:t>Unidos contra la Explotación Sexual de la Infancia y la Adolescencia</a:t>
            </a:r>
          </a:p>
        </p:txBody>
      </p:sp>
      <p:sp>
        <p:nvSpPr>
          <p:cNvPr id="56326" name="Rectángulo 3"/>
          <p:cNvSpPr>
            <a:spLocks noChangeArrowheads="1"/>
          </p:cNvSpPr>
          <p:nvPr/>
        </p:nvSpPr>
        <p:spPr bwMode="auto">
          <a:xfrm>
            <a:off x="266700" y="5951538"/>
            <a:ext cx="423386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ca-ES" sz="2000">
                <a:hlinkClick r:id="rId3"/>
              </a:rPr>
              <a:t>http://www.reportchildsextourism.eu</a:t>
            </a:r>
            <a:r>
              <a:rPr lang="ca-ES" sz="20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35208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ocumento 23"/>
          <p:cNvSpPr/>
          <p:nvPr/>
        </p:nvSpPr>
        <p:spPr>
          <a:xfrm flipH="1">
            <a:off x="600075" y="346075"/>
            <a:ext cx="8124825" cy="5351463"/>
          </a:xfrm>
          <a:prstGeom prst="flowChartDocument">
            <a:avLst/>
          </a:prstGeom>
          <a:noFill/>
          <a:ln w="38100" cmpd="sng">
            <a:solidFill>
              <a:srgbClr val="10253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/>
          </a:p>
        </p:txBody>
      </p:sp>
      <p:sp>
        <p:nvSpPr>
          <p:cNvPr id="25" name="Documento 24"/>
          <p:cNvSpPr/>
          <p:nvPr/>
        </p:nvSpPr>
        <p:spPr>
          <a:xfrm>
            <a:off x="600075" y="346075"/>
            <a:ext cx="8128000" cy="2081213"/>
          </a:xfrm>
          <a:prstGeom prst="flowChartDocument">
            <a:avLst/>
          </a:prstGeom>
          <a:solidFill>
            <a:srgbClr val="10253F"/>
          </a:solidFill>
          <a:ln>
            <a:solidFill>
              <a:srgbClr val="10253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/>
          </a:p>
        </p:txBody>
      </p:sp>
      <p:sp>
        <p:nvSpPr>
          <p:cNvPr id="60419" name="Rectángulo 5"/>
          <p:cNvSpPr>
            <a:spLocks noChangeArrowheads="1"/>
          </p:cNvSpPr>
          <p:nvPr/>
        </p:nvSpPr>
        <p:spPr bwMode="auto">
          <a:xfrm>
            <a:off x="1154113" y="730250"/>
            <a:ext cx="6419850" cy="76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s-ES_tradnl" sz="4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¡Gracias</a:t>
            </a:r>
            <a:r>
              <a:rPr lang="es-ES_tradnl" sz="4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es-ES" sz="4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420" name="CuadroTexto 6"/>
          <p:cNvSpPr txBox="1">
            <a:spLocks noChangeArrowheads="1"/>
          </p:cNvSpPr>
          <p:nvPr/>
        </p:nvSpPr>
        <p:spPr bwMode="auto">
          <a:xfrm>
            <a:off x="2451100" y="4452938"/>
            <a:ext cx="4489450" cy="16002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s-ES" sz="1400" dirty="0">
                <a:solidFill>
                  <a:srgbClr val="19503B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Federación de Asociaciones </a:t>
            </a:r>
          </a:p>
          <a:p>
            <a:pPr algn="ctr" eaLnBrk="1" hangingPunct="1"/>
            <a:r>
              <a:rPr lang="es-ES" sz="1400" dirty="0">
                <a:solidFill>
                  <a:srgbClr val="19503B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para la Prevención del Maltrato Infantil (FAPMI)</a:t>
            </a:r>
          </a:p>
          <a:p>
            <a:pPr algn="ctr" eaLnBrk="1" hangingPunct="1"/>
            <a:endParaRPr lang="es-ES" sz="1400" dirty="0">
              <a:solidFill>
                <a:srgbClr val="19503B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  <a:p>
            <a:pPr algn="ctr" eaLnBrk="1" hangingPunct="1"/>
            <a:r>
              <a:rPr lang="es-ES" sz="1400" dirty="0">
                <a:solidFill>
                  <a:srgbClr val="19503B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C/ Delicias, 8 entreplanta</a:t>
            </a:r>
          </a:p>
          <a:p>
            <a:pPr algn="ctr" eaLnBrk="1" hangingPunct="1"/>
            <a:r>
              <a:rPr lang="es-ES" sz="1400" dirty="0">
                <a:solidFill>
                  <a:srgbClr val="19503B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28045, Madrid</a:t>
            </a:r>
          </a:p>
          <a:p>
            <a:pPr algn="ctr" eaLnBrk="1" hangingPunct="1"/>
            <a:r>
              <a:rPr lang="es-ES" sz="1400" dirty="0">
                <a:solidFill>
                  <a:srgbClr val="19503B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Telf. 914682662 · Fax. 915277626</a:t>
            </a:r>
          </a:p>
          <a:p>
            <a:pPr algn="ctr" eaLnBrk="1" hangingPunct="1"/>
            <a:r>
              <a:rPr lang="es-ES" sz="1400" dirty="0">
                <a:solidFill>
                  <a:srgbClr val="19503B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E-correo: fapmi@fapmi.es</a:t>
            </a:r>
            <a:endParaRPr lang="es-ES" sz="8000" dirty="0">
              <a:solidFill>
                <a:srgbClr val="19503B"/>
              </a:solidFill>
              <a:latin typeface="Arial" panose="020B0604020202020204" pitchFamily="34" charset="0"/>
              <a:ea typeface="MS PGothic" charset="0"/>
              <a:cs typeface="Arial" panose="020B0604020202020204" pitchFamily="34" charset="0"/>
            </a:endParaRPr>
          </a:p>
        </p:txBody>
      </p:sp>
      <p:pic>
        <p:nvPicPr>
          <p:cNvPr id="60421" name="Imagen 3" descr="LogoECPATnou(transparent)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9F7F8"/>
              </a:clrFrom>
              <a:clrTo>
                <a:srgbClr val="F9F7F8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5400" y="2427288"/>
            <a:ext cx="722313" cy="950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22" name="Imagen 2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4988" y="2554288"/>
            <a:ext cx="18002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423" name="Imagen 2" descr="the code 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9100" y="3378200"/>
            <a:ext cx="876300" cy="77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Rectángulo 30"/>
          <p:cNvSpPr/>
          <p:nvPr/>
        </p:nvSpPr>
        <p:spPr>
          <a:xfrm>
            <a:off x="600075" y="6208713"/>
            <a:ext cx="8128000" cy="501650"/>
          </a:xfrm>
          <a:prstGeom prst="rect">
            <a:avLst/>
          </a:prstGeom>
          <a:solidFill>
            <a:srgbClr val="10253F"/>
          </a:solidFill>
          <a:ln>
            <a:solidFill>
              <a:srgbClr val="10253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ES"/>
          </a:p>
        </p:txBody>
      </p:sp>
      <p:sp>
        <p:nvSpPr>
          <p:cNvPr id="60425" name="CuadroTexto 12"/>
          <p:cNvSpPr txBox="1">
            <a:spLocks noChangeArrowheads="1"/>
          </p:cNvSpPr>
          <p:nvPr/>
        </p:nvSpPr>
        <p:spPr bwMode="auto">
          <a:xfrm>
            <a:off x="2727325" y="6264275"/>
            <a:ext cx="467333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s-ES" sz="2000" b="1" dirty="0">
                <a:solidFill>
                  <a:schemeClr val="bg1"/>
                </a:solidFill>
                <a:latin typeface="Arial" panose="020B0604020202020204" pitchFamily="34" charset="0"/>
                <a:ea typeface="MS PGothic" charset="0"/>
                <a:cs typeface="Arial" panose="020B0604020202020204" pitchFamily="34" charset="0"/>
              </a:rPr>
              <a:t>www.fapmi.es · www.ecpat-spain.org</a:t>
            </a:r>
          </a:p>
        </p:txBody>
      </p:sp>
    </p:spTree>
    <p:extLst>
      <p:ext uri="{BB962C8B-B14F-4D97-AF65-F5344CB8AC3E}">
        <p14:creationId xmlns:p14="http://schemas.microsoft.com/office/powerpoint/2010/main" val="2489624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9"/>
          <p:cNvSpPr txBox="1">
            <a:spLocks noChangeArrowheads="1"/>
          </p:cNvSpPr>
          <p:nvPr/>
        </p:nvSpPr>
        <p:spPr bwMode="auto">
          <a:xfrm>
            <a:off x="172732" y="836712"/>
            <a:ext cx="8712968" cy="4859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457200" lvl="1" indent="0" algn="just" eaLnBrk="1" hangingPunct="1">
              <a:lnSpc>
                <a:spcPct val="150000"/>
              </a:lnSpc>
              <a:defRPr/>
            </a:pPr>
            <a:endParaRPr lang="en-AU" sz="1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 eaLnBrk="1" hangingPunct="1">
              <a:lnSpc>
                <a:spcPct val="150000"/>
              </a:lnSpc>
              <a:defRPr/>
            </a:pPr>
            <a:r>
              <a:rPr lang="es-E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a Red ECPAT Internacional </a:t>
            </a:r>
            <a:r>
              <a:rPr lang="es-ES_tradn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es </a:t>
            </a:r>
            <a:r>
              <a:rPr lang="es-ES_tradnl" sz="1800" dirty="0">
                <a:latin typeface="Arial" panose="020B0604020202020204" pitchFamily="34" charset="0"/>
                <a:cs typeface="Arial" panose="020B0604020202020204" pitchFamily="34" charset="0"/>
              </a:rPr>
              <a:t>una </a:t>
            </a:r>
            <a:r>
              <a:rPr lang="es-ES_tradnl" sz="1800" b="1" dirty="0">
                <a:latin typeface="Arial" panose="020B0604020202020204" pitchFamily="34" charset="0"/>
                <a:cs typeface="Arial" panose="020B0604020202020204" pitchFamily="34" charset="0"/>
              </a:rPr>
              <a:t>red mundial</a:t>
            </a:r>
            <a:r>
              <a:rPr lang="es-ES_tradnl" sz="1800" dirty="0">
                <a:latin typeface="Arial" panose="020B0604020202020204" pitchFamily="34" charset="0"/>
                <a:cs typeface="Arial" panose="020B0604020202020204" pitchFamily="34" charset="0"/>
              </a:rPr>
              <a:t> de organizaciones y personas que trabajan juntas para poner fin a la </a:t>
            </a:r>
            <a:r>
              <a:rPr lang="es-ES_tradnl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prostitución, la pornografía y la trata de </a:t>
            </a:r>
            <a:r>
              <a:rPr lang="es-ES_tradnl" sz="1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niños/as </a:t>
            </a:r>
            <a:r>
              <a:rPr lang="es-ES_tradnl" sz="1800" b="1" i="1" dirty="0">
                <a:latin typeface="Arial" panose="020B0604020202020204" pitchFamily="34" charset="0"/>
                <a:cs typeface="Arial" panose="020B0604020202020204" pitchFamily="34" charset="0"/>
              </a:rPr>
              <a:t>y adolescentes con fines sexuales</a:t>
            </a:r>
            <a:r>
              <a:rPr lang="es-ES_tradnl" sz="18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s-ES_tradn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lienta </a:t>
            </a:r>
            <a:r>
              <a:rPr lang="es-ES_tradnl" sz="1800" dirty="0">
                <a:latin typeface="Arial" panose="020B0604020202020204" pitchFamily="34" charset="0"/>
                <a:cs typeface="Arial" panose="020B0604020202020204" pitchFamily="34" charset="0"/>
              </a:rPr>
              <a:t>a la comunidad internacional a </a:t>
            </a:r>
            <a:r>
              <a:rPr lang="es-ES_tradn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asegurar </a:t>
            </a:r>
            <a:r>
              <a:rPr lang="es-ES_tradnl" sz="1800" dirty="0">
                <a:latin typeface="Arial" panose="020B0604020202020204" pitchFamily="34" charset="0"/>
                <a:cs typeface="Arial" panose="020B0604020202020204" pitchFamily="34" charset="0"/>
              </a:rPr>
              <a:t>que los </a:t>
            </a:r>
            <a:r>
              <a:rPr lang="es-ES_tradnl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niños/as </a:t>
            </a:r>
            <a:r>
              <a:rPr lang="es-ES_tradnl" sz="1800" dirty="0">
                <a:latin typeface="Arial" panose="020B0604020202020204" pitchFamily="34" charset="0"/>
                <a:cs typeface="Arial" panose="020B0604020202020204" pitchFamily="34" charset="0"/>
              </a:rPr>
              <a:t>de todas partes del mundo gocen de sus derechos fundamentales, libres de toda forma de explotación. </a:t>
            </a:r>
            <a:endParaRPr lang="es-ES_tradnl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 eaLnBrk="1" hangingPunct="1">
              <a:lnSpc>
                <a:spcPct val="150000"/>
              </a:lnSpc>
              <a:defRPr/>
            </a:pPr>
            <a:endParaRPr lang="es-ES_tradnl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 eaLnBrk="1" hangingPunct="1">
              <a:lnSpc>
                <a:spcPct val="150000"/>
              </a:lnSpc>
              <a:defRPr/>
            </a:pPr>
            <a:r>
              <a:rPr lang="es-E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Están implicados más de 86 países con afiliados y grupos nacionales. En España </a:t>
            </a:r>
            <a:r>
              <a:rPr lang="es-E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APMI ostenta su representación como grupo nacional </a:t>
            </a:r>
            <a:r>
              <a:rPr lang="es-ES_tradnl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acional </a:t>
            </a:r>
            <a:r>
              <a:rPr lang="es-ES_tradnl" sz="1800" b="1" dirty="0">
                <a:latin typeface="Arial" panose="020B0604020202020204" pitchFamily="34" charset="0"/>
                <a:cs typeface="Arial" panose="020B0604020202020204" pitchFamily="34" charset="0"/>
              </a:rPr>
              <a:t>y del Código de Conducta</a:t>
            </a:r>
            <a:r>
              <a:rPr lang="es-ES_tradnl" sz="1800" dirty="0">
                <a:latin typeface="Arial" panose="020B0604020202020204" pitchFamily="34" charset="0"/>
                <a:cs typeface="Arial" panose="020B0604020202020204" pitchFamily="34" charset="0"/>
              </a:rPr>
              <a:t> para la Defensa de los Niños, Niñas y Adolescentes frente a la Explotación Sexual en el Turismo y en los Viajes (The Code)</a:t>
            </a:r>
          </a:p>
          <a:p>
            <a:pPr marL="0" indent="0" eaLnBrk="1" hangingPunct="1">
              <a:lnSpc>
                <a:spcPct val="150000"/>
              </a:lnSpc>
              <a:defRPr/>
            </a:pPr>
            <a:endParaRPr lang="en-A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193" y="6012264"/>
            <a:ext cx="2877806" cy="813523"/>
          </a:xfrm>
          <a:prstGeom prst="rect">
            <a:avLst/>
          </a:prstGeom>
        </p:spPr>
      </p:pic>
      <p:sp>
        <p:nvSpPr>
          <p:cNvPr id="9" name="CuadroTexto 9"/>
          <p:cNvSpPr txBox="1"/>
          <p:nvPr/>
        </p:nvSpPr>
        <p:spPr>
          <a:xfrm>
            <a:off x="0" y="0"/>
            <a:ext cx="9143999" cy="70984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La Red ECPAT Internacional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4248958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uadroTexto 9"/>
          <p:cNvSpPr txBox="1">
            <a:spLocks noChangeArrowheads="1"/>
          </p:cNvSpPr>
          <p:nvPr/>
        </p:nvSpPr>
        <p:spPr bwMode="auto">
          <a:xfrm>
            <a:off x="352489" y="908720"/>
            <a:ext cx="8424517" cy="507831"/>
          </a:xfrm>
          <a:prstGeom prst="rect">
            <a:avLst/>
          </a:prstGeom>
          <a:noFill/>
          <a:ln w="9525">
            <a:solidFill>
              <a:schemeClr val="accent1">
                <a:lumMod val="50000"/>
              </a:schemeClr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marL="2857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indent="0" algn="ctr" eaLnBrk="1" hangingPunct="1">
              <a:lnSpc>
                <a:spcPct val="150000"/>
              </a:lnSpc>
              <a:defRPr/>
            </a:pPr>
            <a:r>
              <a:rPr lang="es-ES" sz="1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Forma contemporánea de esclavitud de niños, niñas y adolescentes</a:t>
            </a:r>
            <a:endParaRPr lang="en-A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6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193" y="6012264"/>
            <a:ext cx="2877806" cy="813523"/>
          </a:xfrm>
          <a:prstGeom prst="rect">
            <a:avLst/>
          </a:prstGeom>
        </p:spPr>
      </p:pic>
      <p:sp>
        <p:nvSpPr>
          <p:cNvPr id="9" name="CuadroTexto 9"/>
          <p:cNvSpPr txBox="1"/>
          <p:nvPr/>
        </p:nvSpPr>
        <p:spPr>
          <a:xfrm>
            <a:off x="1" y="0"/>
            <a:ext cx="9143999" cy="8026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400" b="1" dirty="0" smtClean="0">
                <a:solidFill>
                  <a:schemeClr val="bg1"/>
                </a:solidFill>
                <a:latin typeface="Verdana"/>
                <a:cs typeface="Verdana"/>
              </a:rPr>
              <a:t>Explotación sexual comercial (ESCNNA)</a:t>
            </a:r>
            <a:endParaRPr lang="es-ES" sz="24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6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445" y="1772816"/>
            <a:ext cx="2578943" cy="3186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uadroTexto 15"/>
          <p:cNvSpPr txBox="1">
            <a:spLocks noChangeArrowheads="1"/>
          </p:cNvSpPr>
          <p:nvPr/>
        </p:nvSpPr>
        <p:spPr bwMode="auto">
          <a:xfrm>
            <a:off x="413734" y="4959550"/>
            <a:ext cx="2546654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just" eaLnBrk="1" hangingPunct="1"/>
            <a:r>
              <a:rPr lang="en-AU" sz="1400" dirty="0">
                <a:latin typeface="Century Gothic" panose="020B0502020202020204" pitchFamily="34" charset="0"/>
                <a:ea typeface="MS PGothic" charset="0"/>
                <a:cs typeface="MS PGothic" charset="0"/>
              </a:rPr>
              <a:t>The Body Shop (2009). “</a:t>
            </a:r>
            <a:r>
              <a:rPr lang="en-AU" altLang="ja-JP" sz="1400" i="1" dirty="0">
                <a:latin typeface="Century Gothic" panose="020B0502020202020204" pitchFamily="34" charset="0"/>
                <a:ea typeface="MS PGothic" charset="0"/>
                <a:cs typeface="MS PGothic" charset="0"/>
              </a:rPr>
              <a:t>Stop Sex Trafficking of Children and Young People” Campaign</a:t>
            </a:r>
            <a:endParaRPr lang="en-AU" sz="1400" i="1" dirty="0">
              <a:latin typeface="Century Gothic" panose="020B0502020202020204" pitchFamily="34" charset="0"/>
              <a:ea typeface="MS PGothic" charset="0"/>
              <a:cs typeface="MS PGothic" charset="0"/>
            </a:endParaRPr>
          </a:p>
        </p:txBody>
      </p:sp>
      <p:graphicFrame>
        <p:nvGraphicFramePr>
          <p:cNvPr id="2" name="1 Diagrama"/>
          <p:cNvGraphicFramePr/>
          <p:nvPr>
            <p:extLst>
              <p:ext uri="{D42A27DB-BD31-4B8C-83A1-F6EECF244321}">
                <p14:modId xmlns:p14="http://schemas.microsoft.com/office/powerpoint/2010/main" val="330360358"/>
              </p:ext>
            </p:extLst>
          </p:nvPr>
        </p:nvGraphicFramePr>
        <p:xfrm>
          <a:off x="3131840" y="1772816"/>
          <a:ext cx="5780532" cy="40064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27945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3360841700"/>
              </p:ext>
            </p:extLst>
          </p:nvPr>
        </p:nvGraphicFramePr>
        <p:xfrm>
          <a:off x="1403648" y="980728"/>
          <a:ext cx="6093071" cy="43512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2 Documento"/>
          <p:cNvSpPr/>
          <p:nvPr/>
        </p:nvSpPr>
        <p:spPr>
          <a:xfrm>
            <a:off x="0" y="0"/>
            <a:ext cx="9144000" cy="68580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s-ES" sz="24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lotación Sexual Comercial Infantil</a:t>
            </a:r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193" y="6012264"/>
            <a:ext cx="2877806" cy="813523"/>
          </a:xfrm>
          <a:prstGeom prst="rect">
            <a:avLst/>
          </a:prstGeom>
        </p:spPr>
      </p:pic>
      <p:pic>
        <p:nvPicPr>
          <p:cNvPr id="6" name="5 Imagen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033" y="4873270"/>
            <a:ext cx="5450129" cy="198473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4313501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411163" y="157163"/>
            <a:ext cx="8543925" cy="610630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000" b="1" dirty="0">
                <a:solidFill>
                  <a:schemeClr val="bg1"/>
                </a:solidFill>
                <a:latin typeface="Verdana"/>
                <a:cs typeface="Verdana"/>
              </a:rPr>
              <a:t>Trata de niños/as con fines de explotación </a:t>
            </a:r>
            <a:r>
              <a:rPr lang="es-ES" sz="2000" b="1" dirty="0" smtClean="0">
                <a:solidFill>
                  <a:schemeClr val="bg1"/>
                </a:solidFill>
                <a:latin typeface="Verdana"/>
                <a:cs typeface="Verdana"/>
              </a:rPr>
              <a:t>sexual</a:t>
            </a:r>
            <a:endParaRPr lang="es-ES" sz="20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sp>
        <p:nvSpPr>
          <p:cNvPr id="11" name="CuadroTexto 10"/>
          <p:cNvSpPr txBox="1"/>
          <p:nvPr/>
        </p:nvSpPr>
        <p:spPr>
          <a:xfrm>
            <a:off x="5674654" y="908720"/>
            <a:ext cx="3280434" cy="4450050"/>
          </a:xfrm>
          <a:prstGeom prst="roundRect">
            <a:avLst>
              <a:gd name="adj" fmla="val 3853"/>
            </a:avLst>
          </a:prstGeom>
          <a:noFill/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charset="2"/>
              <a:buChar char="v"/>
              <a:defRPr/>
            </a:pPr>
            <a:r>
              <a:rPr lang="es-ES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,5 millones de personas víctimas de la trata (OIT, 2012). De ellas, 5,5 millones son personas menores de edad.</a:t>
            </a:r>
          </a:p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charset="2"/>
              <a:buChar char="v"/>
              <a:defRPr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spaña figura entre los principales países de destino de la trata, sobre todo de mujeres y niñas con fines de explotación sexual, aunque también destaca su condición de país de tránsito. Estos menores generalmente, tienen  entre 14 y 17 años y son mayoritariamente chicas.</a:t>
            </a:r>
          </a:p>
        </p:txBody>
      </p:sp>
      <p:graphicFrame>
        <p:nvGraphicFramePr>
          <p:cNvPr id="16" name="Tabla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3141153"/>
              </p:ext>
            </p:extLst>
          </p:nvPr>
        </p:nvGraphicFramePr>
        <p:xfrm>
          <a:off x="408706" y="908720"/>
          <a:ext cx="4837262" cy="40454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6051"/>
                <a:gridCol w="3881211"/>
              </a:tblGrid>
              <a:tr h="524993">
                <a:tc gridSpan="2"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ementos </a:t>
                      </a:r>
                      <a:r>
                        <a:rPr lang="es-E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 la trata de </a:t>
                      </a: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onas menores de edad</a:t>
                      </a:r>
                      <a:endParaRPr lang="es-ES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ＭＳ 明朝"/>
                        <a:cs typeface="Arial" panose="020B0604020202020204" pitchFamily="34" charset="0"/>
                      </a:endParaRPr>
                    </a:p>
                  </a:txBody>
                  <a:tcPr marL="118649" marR="118649" marT="0" marB="0"/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</a:tr>
              <a:tr h="898889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S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cción</a:t>
                      </a:r>
                      <a:endParaRPr lang="es-ES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ＭＳ 明朝"/>
                        <a:cs typeface="Arial" panose="020B0604020202020204" pitchFamily="34" charset="0"/>
                      </a:endParaRPr>
                    </a:p>
                  </a:txBody>
                  <a:tcPr marL="118649" marR="118649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tación, transporte, traslado, acogida o recepción de </a:t>
                      </a: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sonas</a:t>
                      </a:r>
                    </a:p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tro o fuera del país</a:t>
                      </a:r>
                      <a:endParaRPr lang="es-ES" sz="14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明朝"/>
                        <a:cs typeface="Arial" panose="020B0604020202020204" pitchFamily="34" charset="0"/>
                      </a:endParaRPr>
                    </a:p>
                  </a:txBody>
                  <a:tcPr marL="118649" marR="118649" marT="0" marB="0"/>
                </a:tc>
              </a:tr>
              <a:tr h="898889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S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os</a:t>
                      </a:r>
                      <a:endParaRPr lang="es-ES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ＭＳ 明朝"/>
                        <a:cs typeface="Arial" panose="020B0604020202020204" pitchFamily="34" charset="0"/>
                      </a:endParaRPr>
                    </a:p>
                  </a:txBody>
                  <a:tcPr marL="118649" marR="118649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acción, engaño, intimidación, uso de la fuerza o la violencia. No requerido para menores</a:t>
                      </a:r>
                      <a:endParaRPr lang="es-ES" sz="1400" dirty="0">
                        <a:solidFill>
                          <a:srgbClr val="365F91"/>
                        </a:solidFill>
                        <a:effectLst/>
                        <a:latin typeface="Arial" panose="020B0604020202020204" pitchFamily="34" charset="0"/>
                        <a:ea typeface="ＭＳ 明朝"/>
                        <a:cs typeface="Arial" panose="020B0604020202020204" pitchFamily="34" charset="0"/>
                      </a:endParaRPr>
                    </a:p>
                  </a:txBody>
                  <a:tcPr marL="118649" marR="118649" marT="0" marB="0"/>
                </a:tc>
              </a:tr>
              <a:tr h="1574975"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S" sz="14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es</a:t>
                      </a:r>
                      <a:endParaRPr lang="es-ES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ＭＳ 明朝"/>
                        <a:cs typeface="Arial" panose="020B0604020202020204" pitchFamily="34" charset="0"/>
                      </a:endParaRPr>
                    </a:p>
                  </a:txBody>
                  <a:tcPr marL="118649" marR="118649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lotación</a:t>
                      </a:r>
                      <a:r>
                        <a:rPr lang="es-ES" sz="14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es-ES" sz="1400" u="sng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stitución </a:t>
                      </a:r>
                      <a:r>
                        <a:rPr lang="es-ES" sz="14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jena u otras formas de explotación </a:t>
                      </a:r>
                      <a:r>
                        <a:rPr lang="es-ES" sz="1400" u="sng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xual</a:t>
                      </a: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mendicidad </a:t>
                      </a:r>
                      <a:r>
                        <a:rPr lang="es-E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zosa, actividades delictivas</a:t>
                      </a: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s-ES" sz="1400" u="sng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opción ilegal</a:t>
                      </a: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s-ES" sz="14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ES" sz="1400" u="sng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bajos </a:t>
                      </a:r>
                      <a:r>
                        <a:rPr lang="es-ES" sz="14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 servicios forzados</a:t>
                      </a:r>
                      <a:r>
                        <a:rPr lang="es-ES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sclavitud,</a:t>
                      </a:r>
                      <a:r>
                        <a:rPr lang="es-ES" sz="14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s-ES" sz="1400" u="sng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tracción </a:t>
                      </a:r>
                      <a:r>
                        <a:rPr lang="es-ES" sz="1400" u="sng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 </a:t>
                      </a:r>
                      <a:r>
                        <a:rPr lang="es-ES" sz="1400" u="sng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órganos</a:t>
                      </a:r>
                      <a:r>
                        <a:rPr lang="es-ES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s-ES" sz="1400" dirty="0">
                        <a:solidFill>
                          <a:srgbClr val="365F91"/>
                        </a:solidFill>
                        <a:effectLst/>
                        <a:latin typeface="Arial" panose="020B0604020202020204" pitchFamily="34" charset="0"/>
                        <a:ea typeface="ＭＳ 明朝"/>
                        <a:cs typeface="Arial" panose="020B0604020202020204" pitchFamily="34" charset="0"/>
                      </a:endParaRPr>
                    </a:p>
                  </a:txBody>
                  <a:tcPr marL="118649" marR="118649" marT="0" marB="0"/>
                </a:tc>
              </a:tr>
            </a:tbl>
          </a:graphicData>
        </a:graphic>
      </p:graphicFrame>
      <p:sp>
        <p:nvSpPr>
          <p:cNvPr id="27667" name="CuadroTexto 16"/>
          <p:cNvSpPr txBox="1">
            <a:spLocks noChangeArrowheads="1"/>
          </p:cNvSpPr>
          <p:nvPr/>
        </p:nvSpPr>
        <p:spPr bwMode="auto">
          <a:xfrm>
            <a:off x="414338" y="5599113"/>
            <a:ext cx="229076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s-ES" sz="1200">
                <a:latin typeface="Verdana" charset="0"/>
                <a:cs typeface="Verdana" charset="0"/>
              </a:rPr>
              <a:t>Human Trafficking UN.GIFT</a:t>
            </a:r>
          </a:p>
        </p:txBody>
      </p:sp>
      <p:sp>
        <p:nvSpPr>
          <p:cNvPr id="18" name="Botón de acción: Hacia delante o Siguiente 17">
            <a:hlinkClick r:id="rId2" highlightClick="1"/>
          </p:cNvPr>
          <p:cNvSpPr/>
          <p:nvPr/>
        </p:nvSpPr>
        <p:spPr>
          <a:xfrm>
            <a:off x="2705100" y="5599113"/>
            <a:ext cx="244475" cy="277812"/>
          </a:xfrm>
          <a:prstGeom prst="actionButtonForwardNext">
            <a:avLst/>
          </a:prstGeom>
          <a:solidFill>
            <a:schemeClr val="tx2">
              <a:lumMod val="5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sp>
        <p:nvSpPr>
          <p:cNvPr id="27669" name="CuadroTexto 18"/>
          <p:cNvSpPr txBox="1">
            <a:spLocks noChangeArrowheads="1"/>
          </p:cNvSpPr>
          <p:nvPr/>
        </p:nvSpPr>
        <p:spPr bwMode="auto">
          <a:xfrm>
            <a:off x="414338" y="5900738"/>
            <a:ext cx="44592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s-ES" sz="1200">
                <a:latin typeface="Verdana" charset="0"/>
                <a:cs typeface="Verdana" charset="0"/>
              </a:rPr>
              <a:t>Human Trafficking for Sexual purposes. The Body Shop	</a:t>
            </a:r>
          </a:p>
        </p:txBody>
      </p:sp>
      <p:sp>
        <p:nvSpPr>
          <p:cNvPr id="20" name="Botón de acción: Hacia delante o Siguiente 19">
            <a:hlinkClick r:id="rId3" highlightClick="1"/>
          </p:cNvPr>
          <p:cNvSpPr/>
          <p:nvPr/>
        </p:nvSpPr>
        <p:spPr>
          <a:xfrm>
            <a:off x="4845050" y="5900738"/>
            <a:ext cx="311150" cy="276225"/>
          </a:xfrm>
          <a:prstGeom prst="actionButtonForwardNext">
            <a:avLst/>
          </a:prstGeom>
          <a:solidFill>
            <a:srgbClr val="10253F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/>
          </a:p>
        </p:txBody>
      </p:sp>
      <p:pic>
        <p:nvPicPr>
          <p:cNvPr id="15" name="14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193" y="6012264"/>
            <a:ext cx="2877806" cy="8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434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uadroTexto 12"/>
          <p:cNvSpPr txBox="1"/>
          <p:nvPr/>
        </p:nvSpPr>
        <p:spPr>
          <a:xfrm>
            <a:off x="868363" y="1729799"/>
            <a:ext cx="7440612" cy="1569660"/>
          </a:xfrm>
          <a:prstGeom prst="rect">
            <a:avLst/>
          </a:prstGeom>
          <a:solidFill>
            <a:srgbClr val="EBF1DE"/>
          </a:solidFill>
        </p:spPr>
        <p:txBody>
          <a:bodyPr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es-ES" sz="1400" i="1" dirty="0">
                <a:solidFill>
                  <a:srgbClr val="1025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Todo material que represente de forma visual a un niño o niña manteniendo una conducta sexualmente explícita, real o simulada, o toda representación de los órganos sexuales de un niño o niña con fines sexuales”.</a:t>
            </a:r>
          </a:p>
          <a:p>
            <a:pPr algn="just">
              <a:lnSpc>
                <a:spcPct val="150000"/>
              </a:lnSpc>
              <a:defRPr/>
            </a:pPr>
            <a:r>
              <a:rPr lang="es-ES_tradnl" sz="1100" dirty="0">
                <a:latin typeface="Arial" panose="020B0604020202020204" pitchFamily="34" charset="0"/>
                <a:cs typeface="Arial" panose="020B0604020202020204" pitchFamily="34" charset="0"/>
              </a:rPr>
              <a:t>Protocolo facultativo de la Convención sobre los Derechos del Niño relativo a la venta de niños, la prostitución infantil y la utilización de niños en la pornografía. </a:t>
            </a:r>
            <a:endParaRPr lang="es-ES" sz="1200" dirty="0">
              <a:solidFill>
                <a:srgbClr val="1025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uadroTexto 13"/>
          <p:cNvSpPr txBox="1"/>
          <p:nvPr/>
        </p:nvSpPr>
        <p:spPr>
          <a:xfrm>
            <a:off x="868363" y="3448050"/>
            <a:ext cx="7337425" cy="2749126"/>
          </a:xfrm>
          <a:prstGeom prst="roundRect">
            <a:avLst>
              <a:gd name="adj" fmla="val 8696"/>
            </a:avLst>
          </a:prstGeom>
          <a:noFill/>
          <a:ln>
            <a:solidFill>
              <a:schemeClr val="tx2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charset="2"/>
              <a:buChar char="v"/>
              <a:defRPr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s la evidencia empírica del ASI.</a:t>
            </a:r>
          </a:p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charset="2"/>
              <a:buChar char="v"/>
              <a:defRPr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La producción y tenencia material pornográfico presupone un acto criminal abusivo, humillante y degradante cometido sobre la infancia y adolescencia. Estos materiales objetivan a la infancia y adolescencia reduciéndolas a la categoría de simples mercancías</a:t>
            </a:r>
          </a:p>
          <a:p>
            <a:pPr marL="171450" indent="-171450" algn="just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Wingdings" charset="2"/>
              <a:buChar char="v"/>
              <a:defRPr/>
            </a:pPr>
            <a:r>
              <a:rPr lang="es-E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La </a:t>
            </a: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producción de pornografía infantil criminal, que muestra abuso de niños, tiene un valor estimado entre US$3 billones y US$20 billones</a:t>
            </a:r>
            <a:r>
              <a:rPr lang="es-ES_tradnl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ES" sz="1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411163" y="157163"/>
            <a:ext cx="8543925" cy="1230312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000" b="1" dirty="0">
                <a:solidFill>
                  <a:schemeClr val="bg1"/>
                </a:solidFill>
                <a:latin typeface="Verdana"/>
                <a:cs typeface="Verdana"/>
              </a:rPr>
              <a:t>Pornografía infantil</a:t>
            </a:r>
          </a:p>
          <a:p>
            <a:pPr algn="ctr">
              <a:lnSpc>
                <a:spcPct val="150000"/>
              </a:lnSpc>
              <a:defRPr/>
            </a:pPr>
            <a:endParaRPr lang="es-ES" sz="20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296" y="6286502"/>
            <a:ext cx="1907702" cy="539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468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411163" y="157163"/>
            <a:ext cx="8543925" cy="1230312"/>
          </a:xfrm>
          <a:prstGeom prst="flowChartDocument">
            <a:avLst/>
          </a:prstGeom>
          <a:solidFill>
            <a:schemeClr val="tx2">
              <a:lumMod val="50000"/>
            </a:schemeClr>
          </a:solidFill>
          <a:ln>
            <a:solidFill>
              <a:srgbClr val="10253F"/>
            </a:solidFill>
          </a:ln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es-ES" sz="2000" b="1" dirty="0">
                <a:solidFill>
                  <a:schemeClr val="bg1"/>
                </a:solidFill>
                <a:latin typeface="Verdana"/>
                <a:cs typeface="Verdana"/>
              </a:rPr>
              <a:t>Prostitución infantil</a:t>
            </a:r>
          </a:p>
          <a:p>
            <a:pPr algn="ctr">
              <a:lnSpc>
                <a:spcPct val="150000"/>
              </a:lnSpc>
              <a:defRPr/>
            </a:pPr>
            <a:endParaRPr lang="es-ES" sz="2000" b="1" dirty="0">
              <a:solidFill>
                <a:schemeClr val="bg1"/>
              </a:solidFill>
              <a:latin typeface="Verdana"/>
              <a:cs typeface="Verdana"/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411163" y="1728788"/>
            <a:ext cx="8543925" cy="156966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es-ES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rostitución infantil es la “</a:t>
            </a:r>
            <a:r>
              <a:rPr lang="es-ES" sz="1400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ilización de un niño (o niña) en actividades sexuales a cambio de remuneración o de cualquier otra retribución”</a:t>
            </a:r>
            <a:r>
              <a:rPr lang="es-ES" sz="1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algn="just">
              <a:lnSpc>
                <a:spcPct val="150000"/>
              </a:lnSpc>
              <a:defRPr/>
            </a:pPr>
            <a:endParaRPr lang="es-ES" sz="1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es-ES_tradnl" sz="1100" dirty="0">
                <a:latin typeface="Arial" panose="020B0604020202020204" pitchFamily="34" charset="0"/>
                <a:cs typeface="Arial" panose="020B0604020202020204" pitchFamily="34" charset="0"/>
              </a:rPr>
              <a:t>Protocolo Facultativo de la Convención sobre los Derechos de la Infancia relativo a la venta de niños y niñas, la prostitución infantil y la utilización de niños y niñas en la pornografía </a:t>
            </a:r>
            <a:endParaRPr lang="es-ES" sz="11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CuadroTexto 9"/>
          <p:cNvSpPr txBox="1"/>
          <p:nvPr/>
        </p:nvSpPr>
        <p:spPr>
          <a:xfrm>
            <a:off x="395464" y="3540125"/>
            <a:ext cx="8559624" cy="2090261"/>
          </a:xfrm>
          <a:prstGeom prst="roundRect">
            <a:avLst>
              <a:gd name="adj" fmla="val 5824"/>
            </a:avLst>
          </a:prstGeom>
          <a:noFill/>
          <a:ln>
            <a:solidFill>
              <a:schemeClr val="tx2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Font typeface="Wingdings" charset="2"/>
              <a:buChar char="v"/>
              <a:defRPr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Cada año al menos un millón de niños, sobre todo, niñas, comienzan a ejercer la prostitución</a:t>
            </a:r>
            <a:r>
              <a:rPr lang="es-ES_tradnl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E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charset="2"/>
              <a:buChar char="v"/>
              <a:defRPr/>
            </a:pPr>
            <a:endParaRPr lang="es-E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lnSpc>
                <a:spcPct val="150000"/>
              </a:lnSpc>
              <a:buFont typeface="Wingdings" charset="2"/>
              <a:buChar char="v"/>
              <a:defRPr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n España son desarticuladas redes de corrupción de menores todos los años, a quienes además se les incautan miles de fotografías y vídeos de menores, que serán vendidas de particular a particular o mediante catálogo y casi siempre en países distintos al de procedencia para evitar su posible identificación.</a:t>
            </a:r>
          </a:p>
        </p:txBody>
      </p:sp>
      <p:pic>
        <p:nvPicPr>
          <p:cNvPr id="11" name="10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7" y="6164366"/>
            <a:ext cx="2339751" cy="661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169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heme/theme1.xml><?xml version="1.0" encoding="utf-8"?>
<a:theme xmlns:a="http://schemas.openxmlformats.org/drawingml/2006/main" name="Tema de Office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90</TotalTime>
  <Words>2683</Words>
  <Application>Microsoft Office PowerPoint</Application>
  <PresentationFormat>Presentación en pantalla (4:3)</PresentationFormat>
  <Paragraphs>286</Paragraphs>
  <Slides>39</Slides>
  <Notes>11</Notes>
  <HiddenSlides>3</HiddenSlides>
  <MMClips>0</MMClips>
  <ScaleCrop>false</ScaleCrop>
  <HeadingPairs>
    <vt:vector size="6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39</vt:i4>
      </vt:variant>
    </vt:vector>
  </HeadingPairs>
  <TitlesOfParts>
    <vt:vector size="49" baseType="lpstr">
      <vt:lpstr>ＭＳ 明朝</vt:lpstr>
      <vt:lpstr>MS PGothic</vt:lpstr>
      <vt:lpstr>MS PGothic</vt:lpstr>
      <vt:lpstr>Arial</vt:lpstr>
      <vt:lpstr>Calibri</vt:lpstr>
      <vt:lpstr>Century Gothic</vt:lpstr>
      <vt:lpstr>Times New Roman</vt:lpstr>
      <vt:lpstr>Verdana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Vídeo de formación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NA</dc:creator>
  <cp:lastModifiedBy>eiruga</cp:lastModifiedBy>
  <cp:revision>80</cp:revision>
  <dcterms:created xsi:type="dcterms:W3CDTF">2017-02-17T12:34:51Z</dcterms:created>
  <dcterms:modified xsi:type="dcterms:W3CDTF">2017-11-02T11:11:53Z</dcterms:modified>
</cp:coreProperties>
</file>